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handoutMasterIdLst>
    <p:handoutMasterId r:id="rId19"/>
  </p:handoutMasterIdLst>
  <p:sldIdLst>
    <p:sldId id="256" r:id="rId2"/>
    <p:sldId id="4795" r:id="rId3"/>
    <p:sldId id="4796" r:id="rId4"/>
    <p:sldId id="4786" r:id="rId5"/>
    <p:sldId id="4787" r:id="rId6"/>
    <p:sldId id="4797" r:id="rId7"/>
    <p:sldId id="4791" r:id="rId8"/>
    <p:sldId id="4792" r:id="rId9"/>
    <p:sldId id="4790" r:id="rId10"/>
    <p:sldId id="4789" r:id="rId11"/>
    <p:sldId id="4782" r:id="rId12"/>
    <p:sldId id="4798" r:id="rId13"/>
    <p:sldId id="4784" r:id="rId14"/>
    <p:sldId id="4785" r:id="rId15"/>
    <p:sldId id="4793" r:id="rId16"/>
    <p:sldId id="4794" r:id="rId1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4713A996-1E99-4B76-81EE-A1990CFC0C7F}">
          <p14:sldIdLst>
            <p14:sldId id="256"/>
            <p14:sldId id="4795"/>
            <p14:sldId id="4796"/>
            <p14:sldId id="4786"/>
            <p14:sldId id="4787"/>
            <p14:sldId id="4797"/>
            <p14:sldId id="4791"/>
            <p14:sldId id="4792"/>
            <p14:sldId id="4790"/>
            <p14:sldId id="4789"/>
            <p14:sldId id="4782"/>
          </p14:sldIdLst>
        </p14:section>
        <p14:section name="Backup" id="{2EB11D7A-B70D-4481-A5C6-C2C231670173}">
          <p14:sldIdLst>
            <p14:sldId id="4798"/>
            <p14:sldId id="4784"/>
            <p14:sldId id="4785"/>
            <p14:sldId id="4793"/>
            <p14:sldId id="479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hanna Wurst" initials="JW" lastIdx="2" clrIdx="0">
    <p:extLst>
      <p:ext uri="{19B8F6BF-5375-455C-9EA6-DF929625EA0E}">
        <p15:presenceInfo xmlns:p15="http://schemas.microsoft.com/office/powerpoint/2012/main" userId="S-1-5-21-623463670-1030170091-2213812130-1266" providerId="AD"/>
      </p:ext>
    </p:extLst>
  </p:cmAuthor>
  <p:cmAuthor id="2" name="Jannik Schneider" initials="JS" lastIdx="1" clrIdx="1">
    <p:extLst>
      <p:ext uri="{19B8F6BF-5375-455C-9EA6-DF929625EA0E}">
        <p15:presenceInfo xmlns:p15="http://schemas.microsoft.com/office/powerpoint/2012/main" userId="S-1-5-21-623463670-1030170091-2213812130-12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23476"/>
    <a:srgbClr val="9BA4BF"/>
    <a:srgbClr val="CDCDCD"/>
    <a:srgbClr val="666699"/>
    <a:srgbClr val="ABAB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69" autoAdjust="0"/>
    <p:restoredTop sz="97440" autoAdjust="0"/>
  </p:normalViewPr>
  <p:slideViewPr>
    <p:cSldViewPr snapToGrid="0">
      <p:cViewPr varScale="1">
        <p:scale>
          <a:sx n="78" d="100"/>
          <a:sy n="78" d="100"/>
        </p:scale>
        <p:origin x="653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2" d="100"/>
          <a:sy n="62" d="100"/>
        </p:scale>
        <p:origin x="315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100</c:v>
                </c:pt>
                <c:pt idx="1">
                  <c:v>1000</c:v>
                </c:pt>
                <c:pt idx="2">
                  <c:v>10000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1.5</c:v>
                </c:pt>
                <c:pt idx="1">
                  <c:v>0.05</c:v>
                </c:pt>
                <c:pt idx="2">
                  <c:v>3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27-42EF-83B6-F9F316BBE3E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100</c:v>
                </c:pt>
                <c:pt idx="1">
                  <c:v>1000</c:v>
                </c:pt>
                <c:pt idx="2">
                  <c:v>10000</c:v>
                </c:pt>
              </c:numCache>
            </c:num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9</c:v>
                </c:pt>
                <c:pt idx="1">
                  <c:v>0.06</c:v>
                </c:pt>
                <c:pt idx="2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27-42EF-83B6-F9F316BBE3E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52462639"/>
        <c:axId val="1952468879"/>
      </c:barChart>
      <c:catAx>
        <c:axId val="195246263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Number of poin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2468879"/>
        <c:crosses val="autoZero"/>
        <c:auto val="1"/>
        <c:lblAlgn val="ctr"/>
        <c:lblOffset val="100"/>
        <c:noMultiLvlLbl val="0"/>
      </c:catAx>
      <c:valAx>
        <c:axId val="19524688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dirty="0"/>
                  <a:t>Error [%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24626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100</c:v>
                </c:pt>
                <c:pt idx="1">
                  <c:v>1000</c:v>
                </c:pt>
                <c:pt idx="2">
                  <c:v>10000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1.5</c:v>
                </c:pt>
                <c:pt idx="1">
                  <c:v>0.05</c:v>
                </c:pt>
                <c:pt idx="2">
                  <c:v>3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FB-4A78-BB1C-D8F8A6429CC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100</c:v>
                </c:pt>
                <c:pt idx="1">
                  <c:v>1000</c:v>
                </c:pt>
                <c:pt idx="2">
                  <c:v>10000</c:v>
                </c:pt>
              </c:numCache>
            </c:num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9</c:v>
                </c:pt>
                <c:pt idx="1">
                  <c:v>0.06</c:v>
                </c:pt>
                <c:pt idx="2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FB-4A78-BB1C-D8F8A6429CC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52462639"/>
        <c:axId val="1952468879"/>
      </c:barChart>
      <c:catAx>
        <c:axId val="195246263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Number of poin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2468879"/>
        <c:crosses val="autoZero"/>
        <c:auto val="1"/>
        <c:lblAlgn val="ctr"/>
        <c:lblOffset val="100"/>
        <c:noMultiLvlLbl val="0"/>
      </c:catAx>
      <c:valAx>
        <c:axId val="19524688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Error [%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24626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C4AACAA7-E8BA-4F15-9BFB-8FE05248C05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5F7C014-383D-4952-AD25-AF78BB687F7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225309-7B7D-41D2-AE37-CB35CC7BB6AE}" type="datetimeFigureOut">
              <a:rPr lang="de-DE" smtClean="0"/>
              <a:t>15.04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CB29A7-3781-4E24-9799-28D393457A0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55ADC3-B514-4E1E-982B-79A884323DE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D92415-2438-4B09-9922-775215EF1AA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78123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3EBA7F-3B7A-471F-986C-F163C7746E1E}" type="datetimeFigureOut">
              <a:rPr lang="de-DE" smtClean="0"/>
              <a:t>15.04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B630C6-19E5-4B54-96FB-4BAABFB3FAA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57087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microsoft.com/office/2007/relationships/hdphoto" Target="../media/hdphoto1.wdp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4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slideMaster" Target="../slideMasters/slideMaster1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031"/>
          <p:cNvSpPr>
            <a:spLocks noChangeArrowheads="1"/>
          </p:cNvSpPr>
          <p:nvPr userDrawn="1"/>
        </p:nvSpPr>
        <p:spPr bwMode="auto">
          <a:xfrm>
            <a:off x="0" y="2235051"/>
            <a:ext cx="12192000" cy="16837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6" name="Titel 6"/>
          <p:cNvSpPr txBox="1">
            <a:spLocks/>
          </p:cNvSpPr>
          <p:nvPr userDrawn="1"/>
        </p:nvSpPr>
        <p:spPr>
          <a:xfrm>
            <a:off x="4621835" y="4086027"/>
            <a:ext cx="6625167" cy="9366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B1C91F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27277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272775"/>
                </a:solidFill>
                <a:latin typeface="Agfa Rotis Sans Serif" pitchFamily="2" charset="0"/>
                <a:ea typeface="ＭＳ Ｐゴシック" pitchFamily="34" charset="-128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272775"/>
                </a:solidFill>
                <a:latin typeface="Agfa Rotis Sans Serif" pitchFamily="2" charset="0"/>
                <a:ea typeface="ＭＳ Ｐゴシック" pitchFamily="34" charset="-128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272775"/>
                </a:solidFill>
                <a:latin typeface="Agfa Rotis Sans Serif" pitchFamily="2" charset="0"/>
                <a:ea typeface="ＭＳ Ｐゴシック" pitchFamily="34" charset="-128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272775"/>
                </a:solidFill>
                <a:latin typeface="Agfa Rotis Sans Serif" pitchFamily="2" charset="0"/>
                <a:ea typeface="ＭＳ Ｐゴシック" pitchFamily="34" charset="-128"/>
              </a:defRPr>
            </a:lvl5pPr>
            <a:lvl6pPr marL="457200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272775"/>
                </a:solidFill>
                <a:latin typeface="Agfa Rotis Sans Serif" pitchFamily="2" charset="0"/>
                <a:ea typeface="ＭＳ Ｐゴシック" pitchFamily="34" charset="-128"/>
              </a:defRPr>
            </a:lvl6pPr>
            <a:lvl7pPr marL="914400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272775"/>
                </a:solidFill>
                <a:latin typeface="Agfa Rotis Sans Serif" pitchFamily="2" charset="0"/>
                <a:ea typeface="ＭＳ Ｐゴシック" pitchFamily="34" charset="-128"/>
              </a:defRPr>
            </a:lvl7pPr>
            <a:lvl8pPr marL="1371600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272775"/>
                </a:solidFill>
                <a:latin typeface="Agfa Rotis Sans Serif" pitchFamily="2" charset="0"/>
                <a:ea typeface="ＭＳ Ｐゴシック" pitchFamily="34" charset="-128"/>
              </a:defRPr>
            </a:lvl8pPr>
            <a:lvl9pPr marL="1828800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272775"/>
                </a:solidFill>
                <a:latin typeface="Agfa Rotis Sans Serif" pitchFamily="2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GB" sz="1800" kern="0" noProof="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cs typeface="Arial" charset="0"/>
              </a:rPr>
              <a:t>Vaclav Kasal</a:t>
            </a:r>
            <a:br>
              <a:rPr lang="en-GB" sz="1800" kern="0" noProof="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cs typeface="Arial" charset="0"/>
              </a:rPr>
            </a:br>
            <a:br>
              <a:rPr lang="en-GB" sz="1800" kern="0" noProof="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cs typeface="Arial" charset="0"/>
              </a:rPr>
            </a:br>
            <a:r>
              <a:rPr lang="en-GB" sz="1800" kern="0" noProof="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cs typeface="Arial" charset="0"/>
              </a:rPr>
              <a:t>Institute for Product Development</a:t>
            </a:r>
            <a:br>
              <a:rPr lang="en-GB" sz="1800" kern="0" noProof="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cs typeface="Arial" charset="0"/>
              </a:rPr>
            </a:br>
            <a:r>
              <a:rPr lang="en-GB" sz="1800" kern="0" noProof="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cs typeface="Arial" charset="0"/>
              </a:rPr>
              <a:t>Leibniz University Hannover</a:t>
            </a:r>
          </a:p>
        </p:txBody>
      </p:sp>
      <p:sp>
        <p:nvSpPr>
          <p:cNvPr id="19" name="Rectangle 5"/>
          <p:cNvSpPr txBox="1">
            <a:spLocks noChangeArrowheads="1"/>
          </p:cNvSpPr>
          <p:nvPr userDrawn="1"/>
        </p:nvSpPr>
        <p:spPr bwMode="auto">
          <a:xfrm>
            <a:off x="212493" y="6534150"/>
            <a:ext cx="3840164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B1C91F"/>
                </a:solidFill>
                <a:latin typeface="+mn-lt"/>
                <a:ea typeface="ＭＳ Ｐゴシック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 algn="l">
              <a:defRPr/>
            </a:pPr>
            <a:r>
              <a:rPr lang="de-DE" b="0" dirty="0">
                <a:solidFill>
                  <a:prstClr val="white">
                    <a:lumMod val="75000"/>
                  </a:prstClr>
                </a:solidFill>
              </a:rPr>
              <a:t>© 2022 IPeG Prof. Dr.-Ing. Roland Lachmayer</a:t>
            </a:r>
          </a:p>
          <a:p>
            <a:pPr algn="l">
              <a:defRPr/>
            </a:pPr>
            <a:endParaRPr lang="de-DE" b="0" dirty="0">
              <a:solidFill>
                <a:srgbClr val="FFFFFF"/>
              </a:solidFill>
            </a:endParaRPr>
          </a:p>
          <a:p>
            <a:pPr>
              <a:defRPr/>
            </a:pPr>
            <a:endParaRPr lang="de-DE" b="0" dirty="0">
              <a:solidFill>
                <a:srgbClr val="FFFFFF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622803" y="2713077"/>
            <a:ext cx="7236884" cy="1205747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rgbClr val="323476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</a:p>
          <a:p>
            <a:pPr lvl="0"/>
            <a:r>
              <a:rPr lang="en-GB" b="0" noProof="0"/>
              <a:t>Add Undertitle</a:t>
            </a:r>
            <a:endParaRPr lang="en-GB" noProof="0"/>
          </a:p>
          <a:p>
            <a:pPr lvl="0"/>
            <a:endParaRPr lang="en-GB" noProof="0"/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4124" y="221383"/>
            <a:ext cx="1136342" cy="33296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088F806D-A720-4699-A692-8B22CAB2EC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9416" y="226233"/>
            <a:ext cx="1136342" cy="328119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C752D7B4-F814-426D-9C08-83F366FE6629}"/>
              </a:ext>
            </a:extLst>
          </p:cNvPr>
          <p:cNvSpPr/>
          <p:nvPr userDrawn="1"/>
        </p:nvSpPr>
        <p:spPr>
          <a:xfrm>
            <a:off x="4112262" y="6644640"/>
            <a:ext cx="8186417" cy="83820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 15">
            <a:extLst>
              <a:ext uri="{FF2B5EF4-FFF2-40B4-BE49-F238E27FC236}">
                <a16:creationId xmlns:a16="http://schemas.microsoft.com/office/drawing/2014/main" id="{DAA71429-11A2-499C-B33E-34595B7E689F}"/>
              </a:ext>
            </a:extLst>
          </p:cNvPr>
          <p:cNvSpPr>
            <a:spLocks noChangeArrowheads="1"/>
          </p:cNvSpPr>
          <p:nvPr userDrawn="1"/>
        </p:nvSpPr>
        <p:spPr bwMode="auto">
          <a:xfrm rot="18900000">
            <a:off x="7471417" y="4502350"/>
            <a:ext cx="6175803" cy="1832361"/>
          </a:xfrm>
          <a:custGeom>
            <a:avLst/>
            <a:gdLst>
              <a:gd name="connsiteX0" fmla="*/ 8010930 w 8023328"/>
              <a:gd name="connsiteY0" fmla="*/ 2354267 h 2380521"/>
              <a:gd name="connsiteX1" fmla="*/ 8023328 w 8023328"/>
              <a:gd name="connsiteY1" fmla="*/ 2366665 h 2380521"/>
              <a:gd name="connsiteX2" fmla="*/ 8010930 w 8023328"/>
              <a:gd name="connsiteY2" fmla="*/ 2380521 h 2380521"/>
              <a:gd name="connsiteX3" fmla="*/ 7997074 w 8023328"/>
              <a:gd name="connsiteY3" fmla="*/ 2366665 h 2380521"/>
              <a:gd name="connsiteX4" fmla="*/ 8010930 w 8023328"/>
              <a:gd name="connsiteY4" fmla="*/ 2354267 h 2380521"/>
              <a:gd name="connsiteX5" fmla="*/ 7940099 w 8023328"/>
              <a:gd name="connsiteY5" fmla="*/ 2354267 h 2380521"/>
              <a:gd name="connsiteX6" fmla="*/ 7952497 w 8023328"/>
              <a:gd name="connsiteY6" fmla="*/ 2366665 h 2380521"/>
              <a:gd name="connsiteX7" fmla="*/ 7940099 w 8023328"/>
              <a:gd name="connsiteY7" fmla="*/ 2380521 h 2380521"/>
              <a:gd name="connsiteX8" fmla="*/ 7926243 w 8023328"/>
              <a:gd name="connsiteY8" fmla="*/ 2366665 h 2380521"/>
              <a:gd name="connsiteX9" fmla="*/ 7940099 w 8023328"/>
              <a:gd name="connsiteY9" fmla="*/ 2354267 h 2380521"/>
              <a:gd name="connsiteX10" fmla="*/ 7869269 w 8023328"/>
              <a:gd name="connsiteY10" fmla="*/ 2354267 h 2380521"/>
              <a:gd name="connsiteX11" fmla="*/ 7881667 w 8023328"/>
              <a:gd name="connsiteY11" fmla="*/ 2366665 h 2380521"/>
              <a:gd name="connsiteX12" fmla="*/ 7869269 w 8023328"/>
              <a:gd name="connsiteY12" fmla="*/ 2380521 h 2380521"/>
              <a:gd name="connsiteX13" fmla="*/ 7855413 w 8023328"/>
              <a:gd name="connsiteY13" fmla="*/ 2366665 h 2380521"/>
              <a:gd name="connsiteX14" fmla="*/ 7869269 w 8023328"/>
              <a:gd name="connsiteY14" fmla="*/ 2354267 h 2380521"/>
              <a:gd name="connsiteX15" fmla="*/ 7796980 w 8023328"/>
              <a:gd name="connsiteY15" fmla="*/ 2354267 h 2380521"/>
              <a:gd name="connsiteX16" fmla="*/ 7810836 w 8023328"/>
              <a:gd name="connsiteY16" fmla="*/ 2366665 h 2380521"/>
              <a:gd name="connsiteX17" fmla="*/ 7796980 w 8023328"/>
              <a:gd name="connsiteY17" fmla="*/ 2380521 h 2380521"/>
              <a:gd name="connsiteX18" fmla="*/ 7784582 w 8023328"/>
              <a:gd name="connsiteY18" fmla="*/ 2366665 h 2380521"/>
              <a:gd name="connsiteX19" fmla="*/ 7796980 w 8023328"/>
              <a:gd name="connsiteY19" fmla="*/ 2354267 h 2380521"/>
              <a:gd name="connsiteX20" fmla="*/ 8010930 w 8023328"/>
              <a:gd name="connsiteY20" fmla="*/ 2283438 h 2380521"/>
              <a:gd name="connsiteX21" fmla="*/ 8023328 w 8023328"/>
              <a:gd name="connsiteY21" fmla="*/ 2295835 h 2380521"/>
              <a:gd name="connsiteX22" fmla="*/ 8010930 w 8023328"/>
              <a:gd name="connsiteY22" fmla="*/ 2309691 h 2380521"/>
              <a:gd name="connsiteX23" fmla="*/ 7997074 w 8023328"/>
              <a:gd name="connsiteY23" fmla="*/ 2295835 h 2380521"/>
              <a:gd name="connsiteX24" fmla="*/ 8010930 w 8023328"/>
              <a:gd name="connsiteY24" fmla="*/ 2283438 h 2380521"/>
              <a:gd name="connsiteX25" fmla="*/ 7940099 w 8023328"/>
              <a:gd name="connsiteY25" fmla="*/ 2283438 h 2380521"/>
              <a:gd name="connsiteX26" fmla="*/ 7952497 w 8023328"/>
              <a:gd name="connsiteY26" fmla="*/ 2295835 h 2380521"/>
              <a:gd name="connsiteX27" fmla="*/ 7940099 w 8023328"/>
              <a:gd name="connsiteY27" fmla="*/ 2309691 h 2380521"/>
              <a:gd name="connsiteX28" fmla="*/ 7926243 w 8023328"/>
              <a:gd name="connsiteY28" fmla="*/ 2295835 h 2380521"/>
              <a:gd name="connsiteX29" fmla="*/ 7940099 w 8023328"/>
              <a:gd name="connsiteY29" fmla="*/ 2283438 h 2380521"/>
              <a:gd name="connsiteX30" fmla="*/ 7869269 w 8023328"/>
              <a:gd name="connsiteY30" fmla="*/ 2283438 h 2380521"/>
              <a:gd name="connsiteX31" fmla="*/ 7881667 w 8023328"/>
              <a:gd name="connsiteY31" fmla="*/ 2295835 h 2380521"/>
              <a:gd name="connsiteX32" fmla="*/ 7869269 w 8023328"/>
              <a:gd name="connsiteY32" fmla="*/ 2309691 h 2380521"/>
              <a:gd name="connsiteX33" fmla="*/ 7855413 w 8023328"/>
              <a:gd name="connsiteY33" fmla="*/ 2295835 h 2380521"/>
              <a:gd name="connsiteX34" fmla="*/ 7869269 w 8023328"/>
              <a:gd name="connsiteY34" fmla="*/ 2283438 h 2380521"/>
              <a:gd name="connsiteX35" fmla="*/ 7796980 w 8023328"/>
              <a:gd name="connsiteY35" fmla="*/ 2283438 h 2380521"/>
              <a:gd name="connsiteX36" fmla="*/ 7810836 w 8023328"/>
              <a:gd name="connsiteY36" fmla="*/ 2295835 h 2380521"/>
              <a:gd name="connsiteX37" fmla="*/ 7796980 w 8023328"/>
              <a:gd name="connsiteY37" fmla="*/ 2309691 h 2380521"/>
              <a:gd name="connsiteX38" fmla="*/ 7784582 w 8023328"/>
              <a:gd name="connsiteY38" fmla="*/ 2295835 h 2380521"/>
              <a:gd name="connsiteX39" fmla="*/ 7796980 w 8023328"/>
              <a:gd name="connsiteY39" fmla="*/ 2283438 h 2380521"/>
              <a:gd name="connsiteX40" fmla="*/ 7726151 w 8023328"/>
              <a:gd name="connsiteY40" fmla="*/ 2283438 h 2380521"/>
              <a:gd name="connsiteX41" fmla="*/ 7740007 w 8023328"/>
              <a:gd name="connsiteY41" fmla="*/ 2295835 h 2380521"/>
              <a:gd name="connsiteX42" fmla="*/ 7726151 w 8023328"/>
              <a:gd name="connsiteY42" fmla="*/ 2309691 h 2380521"/>
              <a:gd name="connsiteX43" fmla="*/ 7713753 w 8023328"/>
              <a:gd name="connsiteY43" fmla="*/ 2295835 h 2380521"/>
              <a:gd name="connsiteX44" fmla="*/ 7726151 w 8023328"/>
              <a:gd name="connsiteY44" fmla="*/ 2283438 h 2380521"/>
              <a:gd name="connsiteX45" fmla="*/ 7940099 w 8023328"/>
              <a:gd name="connsiteY45" fmla="*/ 2209234 h 2380521"/>
              <a:gd name="connsiteX46" fmla="*/ 7952497 w 8023328"/>
              <a:gd name="connsiteY46" fmla="*/ 2224022 h 2380521"/>
              <a:gd name="connsiteX47" fmla="*/ 7940099 w 8023328"/>
              <a:gd name="connsiteY47" fmla="*/ 2238810 h 2380521"/>
              <a:gd name="connsiteX48" fmla="*/ 7926243 w 8023328"/>
              <a:gd name="connsiteY48" fmla="*/ 2224022 h 2380521"/>
              <a:gd name="connsiteX49" fmla="*/ 7940099 w 8023328"/>
              <a:gd name="connsiteY49" fmla="*/ 2209234 h 2380521"/>
              <a:gd name="connsiteX50" fmla="*/ 7867811 w 8023328"/>
              <a:gd name="connsiteY50" fmla="*/ 2209234 h 2380521"/>
              <a:gd name="connsiteX51" fmla="*/ 7881667 w 8023328"/>
              <a:gd name="connsiteY51" fmla="*/ 2224022 h 2380521"/>
              <a:gd name="connsiteX52" fmla="*/ 7867811 w 8023328"/>
              <a:gd name="connsiteY52" fmla="*/ 2238810 h 2380521"/>
              <a:gd name="connsiteX53" fmla="*/ 7855413 w 8023328"/>
              <a:gd name="connsiteY53" fmla="*/ 2224022 h 2380521"/>
              <a:gd name="connsiteX54" fmla="*/ 7867811 w 8023328"/>
              <a:gd name="connsiteY54" fmla="*/ 2209234 h 2380521"/>
              <a:gd name="connsiteX55" fmla="*/ 7796980 w 8023328"/>
              <a:gd name="connsiteY55" fmla="*/ 2209234 h 2380521"/>
              <a:gd name="connsiteX56" fmla="*/ 7810836 w 8023328"/>
              <a:gd name="connsiteY56" fmla="*/ 2224022 h 2380521"/>
              <a:gd name="connsiteX57" fmla="*/ 7796980 w 8023328"/>
              <a:gd name="connsiteY57" fmla="*/ 2238810 h 2380521"/>
              <a:gd name="connsiteX58" fmla="*/ 7784582 w 8023328"/>
              <a:gd name="connsiteY58" fmla="*/ 2224022 h 2380521"/>
              <a:gd name="connsiteX59" fmla="*/ 7796980 w 8023328"/>
              <a:gd name="connsiteY59" fmla="*/ 2209234 h 2380521"/>
              <a:gd name="connsiteX60" fmla="*/ 7726151 w 8023328"/>
              <a:gd name="connsiteY60" fmla="*/ 2209234 h 2380521"/>
              <a:gd name="connsiteX61" fmla="*/ 7740007 w 8023328"/>
              <a:gd name="connsiteY61" fmla="*/ 2224022 h 2380521"/>
              <a:gd name="connsiteX62" fmla="*/ 7726151 w 8023328"/>
              <a:gd name="connsiteY62" fmla="*/ 2238810 h 2380521"/>
              <a:gd name="connsiteX63" fmla="*/ 7713753 w 8023328"/>
              <a:gd name="connsiteY63" fmla="*/ 2224022 h 2380521"/>
              <a:gd name="connsiteX64" fmla="*/ 7726151 w 8023328"/>
              <a:gd name="connsiteY64" fmla="*/ 2209234 h 2380521"/>
              <a:gd name="connsiteX65" fmla="*/ 7940099 w 8023328"/>
              <a:gd name="connsiteY65" fmla="*/ 2138403 h 2380521"/>
              <a:gd name="connsiteX66" fmla="*/ 7952497 w 8023328"/>
              <a:gd name="connsiteY66" fmla="*/ 2153192 h 2380521"/>
              <a:gd name="connsiteX67" fmla="*/ 7940099 w 8023328"/>
              <a:gd name="connsiteY67" fmla="*/ 2167981 h 2380521"/>
              <a:gd name="connsiteX68" fmla="*/ 7926243 w 8023328"/>
              <a:gd name="connsiteY68" fmla="*/ 2153192 h 2380521"/>
              <a:gd name="connsiteX69" fmla="*/ 7940099 w 8023328"/>
              <a:gd name="connsiteY69" fmla="*/ 2138403 h 2380521"/>
              <a:gd name="connsiteX70" fmla="*/ 7867811 w 8023328"/>
              <a:gd name="connsiteY70" fmla="*/ 2138403 h 2380521"/>
              <a:gd name="connsiteX71" fmla="*/ 7881667 w 8023328"/>
              <a:gd name="connsiteY71" fmla="*/ 2153192 h 2380521"/>
              <a:gd name="connsiteX72" fmla="*/ 7867811 w 8023328"/>
              <a:gd name="connsiteY72" fmla="*/ 2167981 h 2380521"/>
              <a:gd name="connsiteX73" fmla="*/ 7855413 w 8023328"/>
              <a:gd name="connsiteY73" fmla="*/ 2153192 h 2380521"/>
              <a:gd name="connsiteX74" fmla="*/ 7867811 w 8023328"/>
              <a:gd name="connsiteY74" fmla="*/ 2138403 h 2380521"/>
              <a:gd name="connsiteX75" fmla="*/ 7796980 w 8023328"/>
              <a:gd name="connsiteY75" fmla="*/ 2138403 h 2380521"/>
              <a:gd name="connsiteX76" fmla="*/ 7810836 w 8023328"/>
              <a:gd name="connsiteY76" fmla="*/ 2153192 h 2380521"/>
              <a:gd name="connsiteX77" fmla="*/ 7796980 w 8023328"/>
              <a:gd name="connsiteY77" fmla="*/ 2167981 h 2380521"/>
              <a:gd name="connsiteX78" fmla="*/ 7784582 w 8023328"/>
              <a:gd name="connsiteY78" fmla="*/ 2153192 h 2380521"/>
              <a:gd name="connsiteX79" fmla="*/ 7796980 w 8023328"/>
              <a:gd name="connsiteY79" fmla="*/ 2138403 h 2380521"/>
              <a:gd name="connsiteX80" fmla="*/ 7726151 w 8023328"/>
              <a:gd name="connsiteY80" fmla="*/ 2138403 h 2380521"/>
              <a:gd name="connsiteX81" fmla="*/ 7740007 w 8023328"/>
              <a:gd name="connsiteY81" fmla="*/ 2153192 h 2380521"/>
              <a:gd name="connsiteX82" fmla="*/ 7726151 w 8023328"/>
              <a:gd name="connsiteY82" fmla="*/ 2167981 h 2380521"/>
              <a:gd name="connsiteX83" fmla="*/ 7713753 w 8023328"/>
              <a:gd name="connsiteY83" fmla="*/ 2153192 h 2380521"/>
              <a:gd name="connsiteX84" fmla="*/ 7726151 w 8023328"/>
              <a:gd name="connsiteY84" fmla="*/ 2138403 h 2380521"/>
              <a:gd name="connsiteX85" fmla="*/ 7654337 w 8023328"/>
              <a:gd name="connsiteY85" fmla="*/ 2138403 h 2380521"/>
              <a:gd name="connsiteX86" fmla="*/ 7669126 w 8023328"/>
              <a:gd name="connsiteY86" fmla="*/ 2153192 h 2380521"/>
              <a:gd name="connsiteX87" fmla="*/ 7654337 w 8023328"/>
              <a:gd name="connsiteY87" fmla="*/ 2167981 h 2380521"/>
              <a:gd name="connsiteX88" fmla="*/ 7639549 w 8023328"/>
              <a:gd name="connsiteY88" fmla="*/ 2153192 h 2380521"/>
              <a:gd name="connsiteX89" fmla="*/ 7654337 w 8023328"/>
              <a:gd name="connsiteY89" fmla="*/ 2138403 h 2380521"/>
              <a:gd name="connsiteX90" fmla="*/ 7867811 w 8023328"/>
              <a:gd name="connsiteY90" fmla="*/ 2067574 h 2380521"/>
              <a:gd name="connsiteX91" fmla="*/ 7881667 w 8023328"/>
              <a:gd name="connsiteY91" fmla="*/ 2082362 h 2380521"/>
              <a:gd name="connsiteX92" fmla="*/ 7867811 w 8023328"/>
              <a:gd name="connsiteY92" fmla="*/ 2097150 h 2380521"/>
              <a:gd name="connsiteX93" fmla="*/ 7855413 w 8023328"/>
              <a:gd name="connsiteY93" fmla="*/ 2082362 h 2380521"/>
              <a:gd name="connsiteX94" fmla="*/ 7867811 w 8023328"/>
              <a:gd name="connsiteY94" fmla="*/ 2067574 h 2380521"/>
              <a:gd name="connsiteX95" fmla="*/ 7796980 w 8023328"/>
              <a:gd name="connsiteY95" fmla="*/ 2067574 h 2380521"/>
              <a:gd name="connsiteX96" fmla="*/ 7810836 w 8023328"/>
              <a:gd name="connsiteY96" fmla="*/ 2082362 h 2380521"/>
              <a:gd name="connsiteX97" fmla="*/ 7796980 w 8023328"/>
              <a:gd name="connsiteY97" fmla="*/ 2097150 h 2380521"/>
              <a:gd name="connsiteX98" fmla="*/ 7784582 w 8023328"/>
              <a:gd name="connsiteY98" fmla="*/ 2082362 h 2380521"/>
              <a:gd name="connsiteX99" fmla="*/ 7796980 w 8023328"/>
              <a:gd name="connsiteY99" fmla="*/ 2067574 h 2380521"/>
              <a:gd name="connsiteX100" fmla="*/ 7726151 w 8023328"/>
              <a:gd name="connsiteY100" fmla="*/ 2067574 h 2380521"/>
              <a:gd name="connsiteX101" fmla="*/ 7740007 w 8023328"/>
              <a:gd name="connsiteY101" fmla="*/ 2082362 h 2380521"/>
              <a:gd name="connsiteX102" fmla="*/ 7726151 w 8023328"/>
              <a:gd name="connsiteY102" fmla="*/ 2097150 h 2380521"/>
              <a:gd name="connsiteX103" fmla="*/ 7713753 w 8023328"/>
              <a:gd name="connsiteY103" fmla="*/ 2082362 h 2380521"/>
              <a:gd name="connsiteX104" fmla="*/ 7726151 w 8023328"/>
              <a:gd name="connsiteY104" fmla="*/ 2067574 h 2380521"/>
              <a:gd name="connsiteX105" fmla="*/ 7654337 w 8023328"/>
              <a:gd name="connsiteY105" fmla="*/ 2067574 h 2380521"/>
              <a:gd name="connsiteX106" fmla="*/ 7669126 w 8023328"/>
              <a:gd name="connsiteY106" fmla="*/ 2082362 h 2380521"/>
              <a:gd name="connsiteX107" fmla="*/ 7654337 w 8023328"/>
              <a:gd name="connsiteY107" fmla="*/ 2097150 h 2380521"/>
              <a:gd name="connsiteX108" fmla="*/ 7639549 w 8023328"/>
              <a:gd name="connsiteY108" fmla="*/ 2082362 h 2380521"/>
              <a:gd name="connsiteX109" fmla="*/ 7654337 w 8023328"/>
              <a:gd name="connsiteY109" fmla="*/ 2067574 h 2380521"/>
              <a:gd name="connsiteX110" fmla="*/ 7583507 w 8023328"/>
              <a:gd name="connsiteY110" fmla="*/ 2067574 h 2380521"/>
              <a:gd name="connsiteX111" fmla="*/ 7598297 w 8023328"/>
              <a:gd name="connsiteY111" fmla="*/ 2082362 h 2380521"/>
              <a:gd name="connsiteX112" fmla="*/ 7583507 w 8023328"/>
              <a:gd name="connsiteY112" fmla="*/ 2097150 h 2380521"/>
              <a:gd name="connsiteX113" fmla="*/ 7568718 w 8023328"/>
              <a:gd name="connsiteY113" fmla="*/ 2082362 h 2380521"/>
              <a:gd name="connsiteX114" fmla="*/ 7583507 w 8023328"/>
              <a:gd name="connsiteY114" fmla="*/ 2067574 h 2380521"/>
              <a:gd name="connsiteX115" fmla="*/ 7867811 w 8023328"/>
              <a:gd name="connsiteY115" fmla="*/ 1996742 h 2380521"/>
              <a:gd name="connsiteX116" fmla="*/ 7881667 w 8023328"/>
              <a:gd name="connsiteY116" fmla="*/ 2010598 h 2380521"/>
              <a:gd name="connsiteX117" fmla="*/ 7867811 w 8023328"/>
              <a:gd name="connsiteY117" fmla="*/ 2022995 h 2380521"/>
              <a:gd name="connsiteX118" fmla="*/ 7855413 w 8023328"/>
              <a:gd name="connsiteY118" fmla="*/ 2010598 h 2380521"/>
              <a:gd name="connsiteX119" fmla="*/ 7867811 w 8023328"/>
              <a:gd name="connsiteY119" fmla="*/ 1996742 h 2380521"/>
              <a:gd name="connsiteX120" fmla="*/ 7796980 w 8023328"/>
              <a:gd name="connsiteY120" fmla="*/ 1996742 h 2380521"/>
              <a:gd name="connsiteX121" fmla="*/ 7810836 w 8023328"/>
              <a:gd name="connsiteY121" fmla="*/ 2010598 h 2380521"/>
              <a:gd name="connsiteX122" fmla="*/ 7796980 w 8023328"/>
              <a:gd name="connsiteY122" fmla="*/ 2022995 h 2380521"/>
              <a:gd name="connsiteX123" fmla="*/ 7784582 w 8023328"/>
              <a:gd name="connsiteY123" fmla="*/ 2010598 h 2380521"/>
              <a:gd name="connsiteX124" fmla="*/ 7796980 w 8023328"/>
              <a:gd name="connsiteY124" fmla="*/ 1996742 h 2380521"/>
              <a:gd name="connsiteX125" fmla="*/ 7726151 w 8023328"/>
              <a:gd name="connsiteY125" fmla="*/ 1996742 h 2380521"/>
              <a:gd name="connsiteX126" fmla="*/ 7740007 w 8023328"/>
              <a:gd name="connsiteY126" fmla="*/ 2010598 h 2380521"/>
              <a:gd name="connsiteX127" fmla="*/ 7726151 w 8023328"/>
              <a:gd name="connsiteY127" fmla="*/ 2022995 h 2380521"/>
              <a:gd name="connsiteX128" fmla="*/ 7713753 w 8023328"/>
              <a:gd name="connsiteY128" fmla="*/ 2010598 h 2380521"/>
              <a:gd name="connsiteX129" fmla="*/ 7726151 w 8023328"/>
              <a:gd name="connsiteY129" fmla="*/ 1996742 h 2380521"/>
              <a:gd name="connsiteX130" fmla="*/ 7654337 w 8023328"/>
              <a:gd name="connsiteY130" fmla="*/ 1996742 h 2380521"/>
              <a:gd name="connsiteX131" fmla="*/ 7669126 w 8023328"/>
              <a:gd name="connsiteY131" fmla="*/ 2010598 h 2380521"/>
              <a:gd name="connsiteX132" fmla="*/ 7654337 w 8023328"/>
              <a:gd name="connsiteY132" fmla="*/ 2022995 h 2380521"/>
              <a:gd name="connsiteX133" fmla="*/ 7639549 w 8023328"/>
              <a:gd name="connsiteY133" fmla="*/ 2010598 h 2380521"/>
              <a:gd name="connsiteX134" fmla="*/ 7654337 w 8023328"/>
              <a:gd name="connsiteY134" fmla="*/ 1996742 h 2380521"/>
              <a:gd name="connsiteX135" fmla="*/ 7583507 w 8023328"/>
              <a:gd name="connsiteY135" fmla="*/ 1996742 h 2380521"/>
              <a:gd name="connsiteX136" fmla="*/ 7598297 w 8023328"/>
              <a:gd name="connsiteY136" fmla="*/ 2010598 h 2380521"/>
              <a:gd name="connsiteX137" fmla="*/ 7583507 w 8023328"/>
              <a:gd name="connsiteY137" fmla="*/ 2022995 h 2380521"/>
              <a:gd name="connsiteX138" fmla="*/ 7568718 w 8023328"/>
              <a:gd name="connsiteY138" fmla="*/ 2010598 h 2380521"/>
              <a:gd name="connsiteX139" fmla="*/ 7583507 w 8023328"/>
              <a:gd name="connsiteY139" fmla="*/ 1996742 h 2380521"/>
              <a:gd name="connsiteX140" fmla="*/ 7512677 w 8023328"/>
              <a:gd name="connsiteY140" fmla="*/ 1996742 h 2380521"/>
              <a:gd name="connsiteX141" fmla="*/ 7527466 w 8023328"/>
              <a:gd name="connsiteY141" fmla="*/ 2010598 h 2380521"/>
              <a:gd name="connsiteX142" fmla="*/ 7512677 w 8023328"/>
              <a:gd name="connsiteY142" fmla="*/ 2022995 h 2380521"/>
              <a:gd name="connsiteX143" fmla="*/ 7497889 w 8023328"/>
              <a:gd name="connsiteY143" fmla="*/ 2010598 h 2380521"/>
              <a:gd name="connsiteX144" fmla="*/ 7512677 w 8023328"/>
              <a:gd name="connsiteY144" fmla="*/ 1996742 h 2380521"/>
              <a:gd name="connsiteX145" fmla="*/ 7796980 w 8023328"/>
              <a:gd name="connsiteY145" fmla="*/ 1925913 h 2380521"/>
              <a:gd name="connsiteX146" fmla="*/ 7810836 w 8023328"/>
              <a:gd name="connsiteY146" fmla="*/ 1939769 h 2380521"/>
              <a:gd name="connsiteX147" fmla="*/ 7796980 w 8023328"/>
              <a:gd name="connsiteY147" fmla="*/ 1952166 h 2380521"/>
              <a:gd name="connsiteX148" fmla="*/ 7784582 w 8023328"/>
              <a:gd name="connsiteY148" fmla="*/ 1939769 h 2380521"/>
              <a:gd name="connsiteX149" fmla="*/ 7796980 w 8023328"/>
              <a:gd name="connsiteY149" fmla="*/ 1925913 h 2380521"/>
              <a:gd name="connsiteX150" fmla="*/ 7726151 w 8023328"/>
              <a:gd name="connsiteY150" fmla="*/ 1925913 h 2380521"/>
              <a:gd name="connsiteX151" fmla="*/ 7740007 w 8023328"/>
              <a:gd name="connsiteY151" fmla="*/ 1939769 h 2380521"/>
              <a:gd name="connsiteX152" fmla="*/ 7726151 w 8023328"/>
              <a:gd name="connsiteY152" fmla="*/ 1952166 h 2380521"/>
              <a:gd name="connsiteX153" fmla="*/ 7713753 w 8023328"/>
              <a:gd name="connsiteY153" fmla="*/ 1939769 h 2380521"/>
              <a:gd name="connsiteX154" fmla="*/ 7726151 w 8023328"/>
              <a:gd name="connsiteY154" fmla="*/ 1925913 h 2380521"/>
              <a:gd name="connsiteX155" fmla="*/ 7654337 w 8023328"/>
              <a:gd name="connsiteY155" fmla="*/ 1925913 h 2380521"/>
              <a:gd name="connsiteX156" fmla="*/ 7669126 w 8023328"/>
              <a:gd name="connsiteY156" fmla="*/ 1939769 h 2380521"/>
              <a:gd name="connsiteX157" fmla="*/ 7654337 w 8023328"/>
              <a:gd name="connsiteY157" fmla="*/ 1952166 h 2380521"/>
              <a:gd name="connsiteX158" fmla="*/ 7639549 w 8023328"/>
              <a:gd name="connsiteY158" fmla="*/ 1939769 h 2380521"/>
              <a:gd name="connsiteX159" fmla="*/ 7654337 w 8023328"/>
              <a:gd name="connsiteY159" fmla="*/ 1925913 h 2380521"/>
              <a:gd name="connsiteX160" fmla="*/ 7583507 w 8023328"/>
              <a:gd name="connsiteY160" fmla="*/ 1925913 h 2380521"/>
              <a:gd name="connsiteX161" fmla="*/ 7598297 w 8023328"/>
              <a:gd name="connsiteY161" fmla="*/ 1939769 h 2380521"/>
              <a:gd name="connsiteX162" fmla="*/ 7583507 w 8023328"/>
              <a:gd name="connsiteY162" fmla="*/ 1952166 h 2380521"/>
              <a:gd name="connsiteX163" fmla="*/ 7568718 w 8023328"/>
              <a:gd name="connsiteY163" fmla="*/ 1939769 h 2380521"/>
              <a:gd name="connsiteX164" fmla="*/ 7583507 w 8023328"/>
              <a:gd name="connsiteY164" fmla="*/ 1925913 h 2380521"/>
              <a:gd name="connsiteX165" fmla="*/ 7512677 w 8023328"/>
              <a:gd name="connsiteY165" fmla="*/ 1925913 h 2380521"/>
              <a:gd name="connsiteX166" fmla="*/ 7527466 w 8023328"/>
              <a:gd name="connsiteY166" fmla="*/ 1939769 h 2380521"/>
              <a:gd name="connsiteX167" fmla="*/ 7512677 w 8023328"/>
              <a:gd name="connsiteY167" fmla="*/ 1952166 h 2380521"/>
              <a:gd name="connsiteX168" fmla="*/ 7497889 w 8023328"/>
              <a:gd name="connsiteY168" fmla="*/ 1939769 h 2380521"/>
              <a:gd name="connsiteX169" fmla="*/ 7512677 w 8023328"/>
              <a:gd name="connsiteY169" fmla="*/ 1925913 h 2380521"/>
              <a:gd name="connsiteX170" fmla="*/ 7440913 w 8023328"/>
              <a:gd name="connsiteY170" fmla="*/ 1925913 h 2380521"/>
              <a:gd name="connsiteX171" fmla="*/ 7453310 w 8023328"/>
              <a:gd name="connsiteY171" fmla="*/ 1939769 h 2380521"/>
              <a:gd name="connsiteX172" fmla="*/ 7440913 w 8023328"/>
              <a:gd name="connsiteY172" fmla="*/ 1952166 h 2380521"/>
              <a:gd name="connsiteX173" fmla="*/ 7427057 w 8023328"/>
              <a:gd name="connsiteY173" fmla="*/ 1939769 h 2380521"/>
              <a:gd name="connsiteX174" fmla="*/ 7440913 w 8023328"/>
              <a:gd name="connsiteY174" fmla="*/ 1925913 h 2380521"/>
              <a:gd name="connsiteX175" fmla="*/ 7726151 w 8023328"/>
              <a:gd name="connsiteY175" fmla="*/ 1855081 h 2380521"/>
              <a:gd name="connsiteX176" fmla="*/ 7740007 w 8023328"/>
              <a:gd name="connsiteY176" fmla="*/ 1868937 h 2380521"/>
              <a:gd name="connsiteX177" fmla="*/ 7726151 w 8023328"/>
              <a:gd name="connsiteY177" fmla="*/ 1881334 h 2380521"/>
              <a:gd name="connsiteX178" fmla="*/ 7713753 w 8023328"/>
              <a:gd name="connsiteY178" fmla="*/ 1868937 h 2380521"/>
              <a:gd name="connsiteX179" fmla="*/ 7726151 w 8023328"/>
              <a:gd name="connsiteY179" fmla="*/ 1855081 h 2380521"/>
              <a:gd name="connsiteX180" fmla="*/ 7654337 w 8023328"/>
              <a:gd name="connsiteY180" fmla="*/ 1855081 h 2380521"/>
              <a:gd name="connsiteX181" fmla="*/ 7669126 w 8023328"/>
              <a:gd name="connsiteY181" fmla="*/ 1868937 h 2380521"/>
              <a:gd name="connsiteX182" fmla="*/ 7654337 w 8023328"/>
              <a:gd name="connsiteY182" fmla="*/ 1881334 h 2380521"/>
              <a:gd name="connsiteX183" fmla="*/ 7639549 w 8023328"/>
              <a:gd name="connsiteY183" fmla="*/ 1868937 h 2380521"/>
              <a:gd name="connsiteX184" fmla="*/ 7654337 w 8023328"/>
              <a:gd name="connsiteY184" fmla="*/ 1855081 h 2380521"/>
              <a:gd name="connsiteX185" fmla="*/ 7583507 w 8023328"/>
              <a:gd name="connsiteY185" fmla="*/ 1855081 h 2380521"/>
              <a:gd name="connsiteX186" fmla="*/ 7598297 w 8023328"/>
              <a:gd name="connsiteY186" fmla="*/ 1868937 h 2380521"/>
              <a:gd name="connsiteX187" fmla="*/ 7583507 w 8023328"/>
              <a:gd name="connsiteY187" fmla="*/ 1881334 h 2380521"/>
              <a:gd name="connsiteX188" fmla="*/ 7568718 w 8023328"/>
              <a:gd name="connsiteY188" fmla="*/ 1868937 h 2380521"/>
              <a:gd name="connsiteX189" fmla="*/ 7583507 w 8023328"/>
              <a:gd name="connsiteY189" fmla="*/ 1855081 h 2380521"/>
              <a:gd name="connsiteX190" fmla="*/ 7512677 w 8023328"/>
              <a:gd name="connsiteY190" fmla="*/ 1855081 h 2380521"/>
              <a:gd name="connsiteX191" fmla="*/ 7527466 w 8023328"/>
              <a:gd name="connsiteY191" fmla="*/ 1868937 h 2380521"/>
              <a:gd name="connsiteX192" fmla="*/ 7512677 w 8023328"/>
              <a:gd name="connsiteY192" fmla="*/ 1881334 h 2380521"/>
              <a:gd name="connsiteX193" fmla="*/ 7497889 w 8023328"/>
              <a:gd name="connsiteY193" fmla="*/ 1868937 h 2380521"/>
              <a:gd name="connsiteX194" fmla="*/ 7512677 w 8023328"/>
              <a:gd name="connsiteY194" fmla="*/ 1855081 h 2380521"/>
              <a:gd name="connsiteX195" fmla="*/ 7440913 w 8023328"/>
              <a:gd name="connsiteY195" fmla="*/ 1855081 h 2380521"/>
              <a:gd name="connsiteX196" fmla="*/ 7453310 w 8023328"/>
              <a:gd name="connsiteY196" fmla="*/ 1868937 h 2380521"/>
              <a:gd name="connsiteX197" fmla="*/ 7440913 w 8023328"/>
              <a:gd name="connsiteY197" fmla="*/ 1881334 h 2380521"/>
              <a:gd name="connsiteX198" fmla="*/ 7427057 w 8023328"/>
              <a:gd name="connsiteY198" fmla="*/ 1868937 h 2380521"/>
              <a:gd name="connsiteX199" fmla="*/ 7440913 w 8023328"/>
              <a:gd name="connsiteY199" fmla="*/ 1855081 h 2380521"/>
              <a:gd name="connsiteX200" fmla="*/ 7654337 w 8023328"/>
              <a:gd name="connsiteY200" fmla="*/ 1780878 h 2380521"/>
              <a:gd name="connsiteX201" fmla="*/ 7669126 w 8023328"/>
              <a:gd name="connsiteY201" fmla="*/ 1793275 h 2380521"/>
              <a:gd name="connsiteX202" fmla="*/ 7654337 w 8023328"/>
              <a:gd name="connsiteY202" fmla="*/ 1807131 h 2380521"/>
              <a:gd name="connsiteX203" fmla="*/ 7639549 w 8023328"/>
              <a:gd name="connsiteY203" fmla="*/ 1793275 h 2380521"/>
              <a:gd name="connsiteX204" fmla="*/ 7654337 w 8023328"/>
              <a:gd name="connsiteY204" fmla="*/ 1780878 h 2380521"/>
              <a:gd name="connsiteX205" fmla="*/ 7583507 w 8023328"/>
              <a:gd name="connsiteY205" fmla="*/ 1780878 h 2380521"/>
              <a:gd name="connsiteX206" fmla="*/ 7598297 w 8023328"/>
              <a:gd name="connsiteY206" fmla="*/ 1793275 h 2380521"/>
              <a:gd name="connsiteX207" fmla="*/ 7583507 w 8023328"/>
              <a:gd name="connsiteY207" fmla="*/ 1807131 h 2380521"/>
              <a:gd name="connsiteX208" fmla="*/ 7568718 w 8023328"/>
              <a:gd name="connsiteY208" fmla="*/ 1793275 h 2380521"/>
              <a:gd name="connsiteX209" fmla="*/ 7583507 w 8023328"/>
              <a:gd name="connsiteY209" fmla="*/ 1780878 h 2380521"/>
              <a:gd name="connsiteX210" fmla="*/ 7511745 w 8023328"/>
              <a:gd name="connsiteY210" fmla="*/ 1780878 h 2380521"/>
              <a:gd name="connsiteX211" fmla="*/ 7524143 w 8023328"/>
              <a:gd name="connsiteY211" fmla="*/ 1793275 h 2380521"/>
              <a:gd name="connsiteX212" fmla="*/ 7511745 w 8023328"/>
              <a:gd name="connsiteY212" fmla="*/ 1807131 h 2380521"/>
              <a:gd name="connsiteX213" fmla="*/ 7497889 w 8023328"/>
              <a:gd name="connsiteY213" fmla="*/ 1793275 h 2380521"/>
              <a:gd name="connsiteX214" fmla="*/ 7511745 w 8023328"/>
              <a:gd name="connsiteY214" fmla="*/ 1780878 h 2380521"/>
              <a:gd name="connsiteX215" fmla="*/ 7440913 w 8023328"/>
              <a:gd name="connsiteY215" fmla="*/ 1780878 h 2380521"/>
              <a:gd name="connsiteX216" fmla="*/ 7453310 w 8023328"/>
              <a:gd name="connsiteY216" fmla="*/ 1793275 h 2380521"/>
              <a:gd name="connsiteX217" fmla="*/ 7440913 w 8023328"/>
              <a:gd name="connsiteY217" fmla="*/ 1807131 h 2380521"/>
              <a:gd name="connsiteX218" fmla="*/ 7427057 w 8023328"/>
              <a:gd name="connsiteY218" fmla="*/ 1793275 h 2380521"/>
              <a:gd name="connsiteX219" fmla="*/ 7440913 w 8023328"/>
              <a:gd name="connsiteY219" fmla="*/ 1780878 h 2380521"/>
              <a:gd name="connsiteX220" fmla="*/ 7370084 w 8023328"/>
              <a:gd name="connsiteY220" fmla="*/ 1780878 h 2380521"/>
              <a:gd name="connsiteX221" fmla="*/ 7382481 w 8023328"/>
              <a:gd name="connsiteY221" fmla="*/ 1793275 h 2380521"/>
              <a:gd name="connsiteX222" fmla="*/ 7370084 w 8023328"/>
              <a:gd name="connsiteY222" fmla="*/ 1807131 h 2380521"/>
              <a:gd name="connsiteX223" fmla="*/ 7356228 w 8023328"/>
              <a:gd name="connsiteY223" fmla="*/ 1793275 h 2380521"/>
              <a:gd name="connsiteX224" fmla="*/ 7370084 w 8023328"/>
              <a:gd name="connsiteY224" fmla="*/ 1780878 h 2380521"/>
              <a:gd name="connsiteX225" fmla="*/ 7294422 w 8023328"/>
              <a:gd name="connsiteY225" fmla="*/ 1780878 h 2380521"/>
              <a:gd name="connsiteX226" fmla="*/ 7308278 w 8023328"/>
              <a:gd name="connsiteY226" fmla="*/ 1793275 h 2380521"/>
              <a:gd name="connsiteX227" fmla="*/ 7294422 w 8023328"/>
              <a:gd name="connsiteY227" fmla="*/ 1807131 h 2380521"/>
              <a:gd name="connsiteX228" fmla="*/ 7282025 w 8023328"/>
              <a:gd name="connsiteY228" fmla="*/ 1793275 h 2380521"/>
              <a:gd name="connsiteX229" fmla="*/ 7294422 w 8023328"/>
              <a:gd name="connsiteY229" fmla="*/ 1780878 h 2380521"/>
              <a:gd name="connsiteX230" fmla="*/ 7654337 w 8023328"/>
              <a:gd name="connsiteY230" fmla="*/ 1710049 h 2380521"/>
              <a:gd name="connsiteX231" fmla="*/ 7669126 w 8023328"/>
              <a:gd name="connsiteY231" fmla="*/ 1722446 h 2380521"/>
              <a:gd name="connsiteX232" fmla="*/ 7654337 w 8023328"/>
              <a:gd name="connsiteY232" fmla="*/ 1736302 h 2380521"/>
              <a:gd name="connsiteX233" fmla="*/ 7639549 w 8023328"/>
              <a:gd name="connsiteY233" fmla="*/ 1722446 h 2380521"/>
              <a:gd name="connsiteX234" fmla="*/ 7654337 w 8023328"/>
              <a:gd name="connsiteY234" fmla="*/ 1710049 h 2380521"/>
              <a:gd name="connsiteX235" fmla="*/ 7583507 w 8023328"/>
              <a:gd name="connsiteY235" fmla="*/ 1710049 h 2380521"/>
              <a:gd name="connsiteX236" fmla="*/ 7598297 w 8023328"/>
              <a:gd name="connsiteY236" fmla="*/ 1722446 h 2380521"/>
              <a:gd name="connsiteX237" fmla="*/ 7583507 w 8023328"/>
              <a:gd name="connsiteY237" fmla="*/ 1736302 h 2380521"/>
              <a:gd name="connsiteX238" fmla="*/ 7568718 w 8023328"/>
              <a:gd name="connsiteY238" fmla="*/ 1722446 h 2380521"/>
              <a:gd name="connsiteX239" fmla="*/ 7583507 w 8023328"/>
              <a:gd name="connsiteY239" fmla="*/ 1710049 h 2380521"/>
              <a:gd name="connsiteX240" fmla="*/ 7511745 w 8023328"/>
              <a:gd name="connsiteY240" fmla="*/ 1710049 h 2380521"/>
              <a:gd name="connsiteX241" fmla="*/ 7524143 w 8023328"/>
              <a:gd name="connsiteY241" fmla="*/ 1722446 h 2380521"/>
              <a:gd name="connsiteX242" fmla="*/ 7511745 w 8023328"/>
              <a:gd name="connsiteY242" fmla="*/ 1736302 h 2380521"/>
              <a:gd name="connsiteX243" fmla="*/ 7497889 w 8023328"/>
              <a:gd name="connsiteY243" fmla="*/ 1722446 h 2380521"/>
              <a:gd name="connsiteX244" fmla="*/ 7511745 w 8023328"/>
              <a:gd name="connsiteY244" fmla="*/ 1710049 h 2380521"/>
              <a:gd name="connsiteX245" fmla="*/ 7440913 w 8023328"/>
              <a:gd name="connsiteY245" fmla="*/ 1710049 h 2380521"/>
              <a:gd name="connsiteX246" fmla="*/ 7453310 w 8023328"/>
              <a:gd name="connsiteY246" fmla="*/ 1722446 h 2380521"/>
              <a:gd name="connsiteX247" fmla="*/ 7440913 w 8023328"/>
              <a:gd name="connsiteY247" fmla="*/ 1736302 h 2380521"/>
              <a:gd name="connsiteX248" fmla="*/ 7427057 w 8023328"/>
              <a:gd name="connsiteY248" fmla="*/ 1722446 h 2380521"/>
              <a:gd name="connsiteX249" fmla="*/ 7440913 w 8023328"/>
              <a:gd name="connsiteY249" fmla="*/ 1710049 h 2380521"/>
              <a:gd name="connsiteX250" fmla="*/ 7370084 w 8023328"/>
              <a:gd name="connsiteY250" fmla="*/ 1710049 h 2380521"/>
              <a:gd name="connsiteX251" fmla="*/ 7382481 w 8023328"/>
              <a:gd name="connsiteY251" fmla="*/ 1722446 h 2380521"/>
              <a:gd name="connsiteX252" fmla="*/ 7370084 w 8023328"/>
              <a:gd name="connsiteY252" fmla="*/ 1736302 h 2380521"/>
              <a:gd name="connsiteX253" fmla="*/ 7356228 w 8023328"/>
              <a:gd name="connsiteY253" fmla="*/ 1722446 h 2380521"/>
              <a:gd name="connsiteX254" fmla="*/ 7370084 w 8023328"/>
              <a:gd name="connsiteY254" fmla="*/ 1710049 h 2380521"/>
              <a:gd name="connsiteX255" fmla="*/ 7294422 w 8023328"/>
              <a:gd name="connsiteY255" fmla="*/ 1710049 h 2380521"/>
              <a:gd name="connsiteX256" fmla="*/ 7308278 w 8023328"/>
              <a:gd name="connsiteY256" fmla="*/ 1722446 h 2380521"/>
              <a:gd name="connsiteX257" fmla="*/ 7294422 w 8023328"/>
              <a:gd name="connsiteY257" fmla="*/ 1736302 h 2380521"/>
              <a:gd name="connsiteX258" fmla="*/ 7282025 w 8023328"/>
              <a:gd name="connsiteY258" fmla="*/ 1722446 h 2380521"/>
              <a:gd name="connsiteX259" fmla="*/ 7294422 w 8023328"/>
              <a:gd name="connsiteY259" fmla="*/ 1710049 h 2380521"/>
              <a:gd name="connsiteX260" fmla="*/ 7223591 w 8023328"/>
              <a:gd name="connsiteY260" fmla="*/ 1710049 h 2380521"/>
              <a:gd name="connsiteX261" fmla="*/ 7237447 w 8023328"/>
              <a:gd name="connsiteY261" fmla="*/ 1722446 h 2380521"/>
              <a:gd name="connsiteX262" fmla="*/ 7223591 w 8023328"/>
              <a:gd name="connsiteY262" fmla="*/ 1736302 h 2380521"/>
              <a:gd name="connsiteX263" fmla="*/ 7211194 w 8023328"/>
              <a:gd name="connsiteY263" fmla="*/ 1722446 h 2380521"/>
              <a:gd name="connsiteX264" fmla="*/ 7223591 w 8023328"/>
              <a:gd name="connsiteY264" fmla="*/ 1710049 h 2380521"/>
              <a:gd name="connsiteX265" fmla="*/ 7583507 w 8023328"/>
              <a:gd name="connsiteY265" fmla="*/ 1639217 h 2380521"/>
              <a:gd name="connsiteX266" fmla="*/ 7598297 w 8023328"/>
              <a:gd name="connsiteY266" fmla="*/ 1651614 h 2380521"/>
              <a:gd name="connsiteX267" fmla="*/ 7583507 w 8023328"/>
              <a:gd name="connsiteY267" fmla="*/ 1665470 h 2380521"/>
              <a:gd name="connsiteX268" fmla="*/ 7568718 w 8023328"/>
              <a:gd name="connsiteY268" fmla="*/ 1651614 h 2380521"/>
              <a:gd name="connsiteX269" fmla="*/ 7583507 w 8023328"/>
              <a:gd name="connsiteY269" fmla="*/ 1639217 h 2380521"/>
              <a:gd name="connsiteX270" fmla="*/ 7511745 w 8023328"/>
              <a:gd name="connsiteY270" fmla="*/ 1639217 h 2380521"/>
              <a:gd name="connsiteX271" fmla="*/ 7524143 w 8023328"/>
              <a:gd name="connsiteY271" fmla="*/ 1651614 h 2380521"/>
              <a:gd name="connsiteX272" fmla="*/ 7511745 w 8023328"/>
              <a:gd name="connsiteY272" fmla="*/ 1665470 h 2380521"/>
              <a:gd name="connsiteX273" fmla="*/ 7497889 w 8023328"/>
              <a:gd name="connsiteY273" fmla="*/ 1651614 h 2380521"/>
              <a:gd name="connsiteX274" fmla="*/ 7511745 w 8023328"/>
              <a:gd name="connsiteY274" fmla="*/ 1639217 h 2380521"/>
              <a:gd name="connsiteX275" fmla="*/ 7440913 w 8023328"/>
              <a:gd name="connsiteY275" fmla="*/ 1639217 h 2380521"/>
              <a:gd name="connsiteX276" fmla="*/ 7453310 w 8023328"/>
              <a:gd name="connsiteY276" fmla="*/ 1651614 h 2380521"/>
              <a:gd name="connsiteX277" fmla="*/ 7440913 w 8023328"/>
              <a:gd name="connsiteY277" fmla="*/ 1665470 h 2380521"/>
              <a:gd name="connsiteX278" fmla="*/ 7427057 w 8023328"/>
              <a:gd name="connsiteY278" fmla="*/ 1651614 h 2380521"/>
              <a:gd name="connsiteX279" fmla="*/ 7440913 w 8023328"/>
              <a:gd name="connsiteY279" fmla="*/ 1639217 h 2380521"/>
              <a:gd name="connsiteX280" fmla="*/ 7370084 w 8023328"/>
              <a:gd name="connsiteY280" fmla="*/ 1639217 h 2380521"/>
              <a:gd name="connsiteX281" fmla="*/ 7382481 w 8023328"/>
              <a:gd name="connsiteY281" fmla="*/ 1651614 h 2380521"/>
              <a:gd name="connsiteX282" fmla="*/ 7370084 w 8023328"/>
              <a:gd name="connsiteY282" fmla="*/ 1665470 h 2380521"/>
              <a:gd name="connsiteX283" fmla="*/ 7356228 w 8023328"/>
              <a:gd name="connsiteY283" fmla="*/ 1651614 h 2380521"/>
              <a:gd name="connsiteX284" fmla="*/ 7370084 w 8023328"/>
              <a:gd name="connsiteY284" fmla="*/ 1639217 h 2380521"/>
              <a:gd name="connsiteX285" fmla="*/ 7294422 w 8023328"/>
              <a:gd name="connsiteY285" fmla="*/ 1639217 h 2380521"/>
              <a:gd name="connsiteX286" fmla="*/ 7308278 w 8023328"/>
              <a:gd name="connsiteY286" fmla="*/ 1651614 h 2380521"/>
              <a:gd name="connsiteX287" fmla="*/ 7294422 w 8023328"/>
              <a:gd name="connsiteY287" fmla="*/ 1665470 h 2380521"/>
              <a:gd name="connsiteX288" fmla="*/ 7282025 w 8023328"/>
              <a:gd name="connsiteY288" fmla="*/ 1651614 h 2380521"/>
              <a:gd name="connsiteX289" fmla="*/ 7294422 w 8023328"/>
              <a:gd name="connsiteY289" fmla="*/ 1639217 h 2380521"/>
              <a:gd name="connsiteX290" fmla="*/ 7223591 w 8023328"/>
              <a:gd name="connsiteY290" fmla="*/ 1639217 h 2380521"/>
              <a:gd name="connsiteX291" fmla="*/ 7237447 w 8023328"/>
              <a:gd name="connsiteY291" fmla="*/ 1651614 h 2380521"/>
              <a:gd name="connsiteX292" fmla="*/ 7223591 w 8023328"/>
              <a:gd name="connsiteY292" fmla="*/ 1665470 h 2380521"/>
              <a:gd name="connsiteX293" fmla="*/ 7211194 w 8023328"/>
              <a:gd name="connsiteY293" fmla="*/ 1651614 h 2380521"/>
              <a:gd name="connsiteX294" fmla="*/ 7223591 w 8023328"/>
              <a:gd name="connsiteY294" fmla="*/ 1639217 h 2380521"/>
              <a:gd name="connsiteX295" fmla="*/ 7152761 w 8023328"/>
              <a:gd name="connsiteY295" fmla="*/ 1639217 h 2380521"/>
              <a:gd name="connsiteX296" fmla="*/ 7166617 w 8023328"/>
              <a:gd name="connsiteY296" fmla="*/ 1651614 h 2380521"/>
              <a:gd name="connsiteX297" fmla="*/ 7152761 w 8023328"/>
              <a:gd name="connsiteY297" fmla="*/ 1665470 h 2380521"/>
              <a:gd name="connsiteX298" fmla="*/ 7140364 w 8023328"/>
              <a:gd name="connsiteY298" fmla="*/ 1651614 h 2380521"/>
              <a:gd name="connsiteX299" fmla="*/ 7152761 w 8023328"/>
              <a:gd name="connsiteY299" fmla="*/ 1639217 h 2380521"/>
              <a:gd name="connsiteX300" fmla="*/ 7511745 w 8023328"/>
              <a:gd name="connsiteY300" fmla="*/ 1568388 h 2380521"/>
              <a:gd name="connsiteX301" fmla="*/ 7524143 w 8023328"/>
              <a:gd name="connsiteY301" fmla="*/ 1583176 h 2380521"/>
              <a:gd name="connsiteX302" fmla="*/ 7511745 w 8023328"/>
              <a:gd name="connsiteY302" fmla="*/ 1597964 h 2380521"/>
              <a:gd name="connsiteX303" fmla="*/ 7497889 w 8023328"/>
              <a:gd name="connsiteY303" fmla="*/ 1583176 h 2380521"/>
              <a:gd name="connsiteX304" fmla="*/ 7511745 w 8023328"/>
              <a:gd name="connsiteY304" fmla="*/ 1568388 h 2380521"/>
              <a:gd name="connsiteX305" fmla="*/ 7440913 w 8023328"/>
              <a:gd name="connsiteY305" fmla="*/ 1568388 h 2380521"/>
              <a:gd name="connsiteX306" fmla="*/ 7453310 w 8023328"/>
              <a:gd name="connsiteY306" fmla="*/ 1583176 h 2380521"/>
              <a:gd name="connsiteX307" fmla="*/ 7440913 w 8023328"/>
              <a:gd name="connsiteY307" fmla="*/ 1597964 h 2380521"/>
              <a:gd name="connsiteX308" fmla="*/ 7427057 w 8023328"/>
              <a:gd name="connsiteY308" fmla="*/ 1583176 h 2380521"/>
              <a:gd name="connsiteX309" fmla="*/ 7440913 w 8023328"/>
              <a:gd name="connsiteY309" fmla="*/ 1568388 h 2380521"/>
              <a:gd name="connsiteX310" fmla="*/ 7370084 w 8023328"/>
              <a:gd name="connsiteY310" fmla="*/ 1568388 h 2380521"/>
              <a:gd name="connsiteX311" fmla="*/ 7382481 w 8023328"/>
              <a:gd name="connsiteY311" fmla="*/ 1583176 h 2380521"/>
              <a:gd name="connsiteX312" fmla="*/ 7370084 w 8023328"/>
              <a:gd name="connsiteY312" fmla="*/ 1597964 h 2380521"/>
              <a:gd name="connsiteX313" fmla="*/ 7356228 w 8023328"/>
              <a:gd name="connsiteY313" fmla="*/ 1583176 h 2380521"/>
              <a:gd name="connsiteX314" fmla="*/ 7370084 w 8023328"/>
              <a:gd name="connsiteY314" fmla="*/ 1568388 h 2380521"/>
              <a:gd name="connsiteX315" fmla="*/ 7294422 w 8023328"/>
              <a:gd name="connsiteY315" fmla="*/ 1568388 h 2380521"/>
              <a:gd name="connsiteX316" fmla="*/ 7308278 w 8023328"/>
              <a:gd name="connsiteY316" fmla="*/ 1583176 h 2380521"/>
              <a:gd name="connsiteX317" fmla="*/ 7294422 w 8023328"/>
              <a:gd name="connsiteY317" fmla="*/ 1597964 h 2380521"/>
              <a:gd name="connsiteX318" fmla="*/ 7282025 w 8023328"/>
              <a:gd name="connsiteY318" fmla="*/ 1583176 h 2380521"/>
              <a:gd name="connsiteX319" fmla="*/ 7294422 w 8023328"/>
              <a:gd name="connsiteY319" fmla="*/ 1568388 h 2380521"/>
              <a:gd name="connsiteX320" fmla="*/ 7223591 w 8023328"/>
              <a:gd name="connsiteY320" fmla="*/ 1568388 h 2380521"/>
              <a:gd name="connsiteX321" fmla="*/ 7237447 w 8023328"/>
              <a:gd name="connsiteY321" fmla="*/ 1583176 h 2380521"/>
              <a:gd name="connsiteX322" fmla="*/ 7223591 w 8023328"/>
              <a:gd name="connsiteY322" fmla="*/ 1597964 h 2380521"/>
              <a:gd name="connsiteX323" fmla="*/ 7211194 w 8023328"/>
              <a:gd name="connsiteY323" fmla="*/ 1583176 h 2380521"/>
              <a:gd name="connsiteX324" fmla="*/ 7223591 w 8023328"/>
              <a:gd name="connsiteY324" fmla="*/ 1568388 h 2380521"/>
              <a:gd name="connsiteX325" fmla="*/ 7152761 w 8023328"/>
              <a:gd name="connsiteY325" fmla="*/ 1568388 h 2380521"/>
              <a:gd name="connsiteX326" fmla="*/ 7166617 w 8023328"/>
              <a:gd name="connsiteY326" fmla="*/ 1580785 h 2380521"/>
              <a:gd name="connsiteX327" fmla="*/ 7152761 w 8023328"/>
              <a:gd name="connsiteY327" fmla="*/ 1594641 h 2380521"/>
              <a:gd name="connsiteX328" fmla="*/ 7140364 w 8023328"/>
              <a:gd name="connsiteY328" fmla="*/ 1580785 h 2380521"/>
              <a:gd name="connsiteX329" fmla="*/ 7152761 w 8023328"/>
              <a:gd name="connsiteY329" fmla="*/ 1568388 h 2380521"/>
              <a:gd name="connsiteX330" fmla="*/ 7084322 w 8023328"/>
              <a:gd name="connsiteY330" fmla="*/ 1568388 h 2380521"/>
              <a:gd name="connsiteX331" fmla="*/ 7099111 w 8023328"/>
              <a:gd name="connsiteY331" fmla="*/ 1580785 h 2380521"/>
              <a:gd name="connsiteX332" fmla="*/ 7084322 w 8023328"/>
              <a:gd name="connsiteY332" fmla="*/ 1594641 h 2380521"/>
              <a:gd name="connsiteX333" fmla="*/ 7069533 w 8023328"/>
              <a:gd name="connsiteY333" fmla="*/ 1580785 h 2380521"/>
              <a:gd name="connsiteX334" fmla="*/ 7084322 w 8023328"/>
              <a:gd name="connsiteY334" fmla="*/ 1568388 h 2380521"/>
              <a:gd name="connsiteX335" fmla="*/ 7440913 w 8023328"/>
              <a:gd name="connsiteY335" fmla="*/ 1494185 h 2380521"/>
              <a:gd name="connsiteX336" fmla="*/ 7453310 w 8023328"/>
              <a:gd name="connsiteY336" fmla="*/ 1508973 h 2380521"/>
              <a:gd name="connsiteX337" fmla="*/ 7440913 w 8023328"/>
              <a:gd name="connsiteY337" fmla="*/ 1523761 h 2380521"/>
              <a:gd name="connsiteX338" fmla="*/ 7427057 w 8023328"/>
              <a:gd name="connsiteY338" fmla="*/ 1508973 h 2380521"/>
              <a:gd name="connsiteX339" fmla="*/ 7440913 w 8023328"/>
              <a:gd name="connsiteY339" fmla="*/ 1494185 h 2380521"/>
              <a:gd name="connsiteX340" fmla="*/ 7370084 w 8023328"/>
              <a:gd name="connsiteY340" fmla="*/ 1494185 h 2380521"/>
              <a:gd name="connsiteX341" fmla="*/ 7382481 w 8023328"/>
              <a:gd name="connsiteY341" fmla="*/ 1508973 h 2380521"/>
              <a:gd name="connsiteX342" fmla="*/ 7370084 w 8023328"/>
              <a:gd name="connsiteY342" fmla="*/ 1523761 h 2380521"/>
              <a:gd name="connsiteX343" fmla="*/ 7356228 w 8023328"/>
              <a:gd name="connsiteY343" fmla="*/ 1508973 h 2380521"/>
              <a:gd name="connsiteX344" fmla="*/ 7370084 w 8023328"/>
              <a:gd name="connsiteY344" fmla="*/ 1494185 h 2380521"/>
              <a:gd name="connsiteX345" fmla="*/ 7294422 w 8023328"/>
              <a:gd name="connsiteY345" fmla="*/ 1494185 h 2380521"/>
              <a:gd name="connsiteX346" fmla="*/ 7308278 w 8023328"/>
              <a:gd name="connsiteY346" fmla="*/ 1508973 h 2380521"/>
              <a:gd name="connsiteX347" fmla="*/ 7294422 w 8023328"/>
              <a:gd name="connsiteY347" fmla="*/ 1523761 h 2380521"/>
              <a:gd name="connsiteX348" fmla="*/ 7282025 w 8023328"/>
              <a:gd name="connsiteY348" fmla="*/ 1508973 h 2380521"/>
              <a:gd name="connsiteX349" fmla="*/ 7294422 w 8023328"/>
              <a:gd name="connsiteY349" fmla="*/ 1494185 h 2380521"/>
              <a:gd name="connsiteX350" fmla="*/ 7223591 w 8023328"/>
              <a:gd name="connsiteY350" fmla="*/ 1494185 h 2380521"/>
              <a:gd name="connsiteX351" fmla="*/ 7237447 w 8023328"/>
              <a:gd name="connsiteY351" fmla="*/ 1508973 h 2380521"/>
              <a:gd name="connsiteX352" fmla="*/ 7223591 w 8023328"/>
              <a:gd name="connsiteY352" fmla="*/ 1523761 h 2380521"/>
              <a:gd name="connsiteX353" fmla="*/ 7211194 w 8023328"/>
              <a:gd name="connsiteY353" fmla="*/ 1508973 h 2380521"/>
              <a:gd name="connsiteX354" fmla="*/ 7223591 w 8023328"/>
              <a:gd name="connsiteY354" fmla="*/ 1494185 h 2380521"/>
              <a:gd name="connsiteX355" fmla="*/ 7152761 w 8023328"/>
              <a:gd name="connsiteY355" fmla="*/ 1494185 h 2380521"/>
              <a:gd name="connsiteX356" fmla="*/ 7166617 w 8023328"/>
              <a:gd name="connsiteY356" fmla="*/ 1508973 h 2380521"/>
              <a:gd name="connsiteX357" fmla="*/ 7152761 w 8023328"/>
              <a:gd name="connsiteY357" fmla="*/ 1523761 h 2380521"/>
              <a:gd name="connsiteX358" fmla="*/ 7140364 w 8023328"/>
              <a:gd name="connsiteY358" fmla="*/ 1508973 h 2380521"/>
              <a:gd name="connsiteX359" fmla="*/ 7152761 w 8023328"/>
              <a:gd name="connsiteY359" fmla="*/ 1494185 h 2380521"/>
              <a:gd name="connsiteX360" fmla="*/ 7084322 w 8023328"/>
              <a:gd name="connsiteY360" fmla="*/ 1494185 h 2380521"/>
              <a:gd name="connsiteX361" fmla="*/ 7099111 w 8023328"/>
              <a:gd name="connsiteY361" fmla="*/ 1508973 h 2380521"/>
              <a:gd name="connsiteX362" fmla="*/ 7084322 w 8023328"/>
              <a:gd name="connsiteY362" fmla="*/ 1523761 h 2380521"/>
              <a:gd name="connsiteX363" fmla="*/ 7069533 w 8023328"/>
              <a:gd name="connsiteY363" fmla="*/ 1508973 h 2380521"/>
              <a:gd name="connsiteX364" fmla="*/ 7084322 w 8023328"/>
              <a:gd name="connsiteY364" fmla="*/ 1494185 h 2380521"/>
              <a:gd name="connsiteX365" fmla="*/ 7013492 w 8023328"/>
              <a:gd name="connsiteY365" fmla="*/ 1494185 h 2380521"/>
              <a:gd name="connsiteX366" fmla="*/ 7028280 w 8023328"/>
              <a:gd name="connsiteY366" fmla="*/ 1508973 h 2380521"/>
              <a:gd name="connsiteX367" fmla="*/ 7013492 w 8023328"/>
              <a:gd name="connsiteY367" fmla="*/ 1523761 h 2380521"/>
              <a:gd name="connsiteX368" fmla="*/ 6998704 w 8023328"/>
              <a:gd name="connsiteY368" fmla="*/ 1508973 h 2380521"/>
              <a:gd name="connsiteX369" fmla="*/ 7013492 w 8023328"/>
              <a:gd name="connsiteY369" fmla="*/ 1494185 h 2380521"/>
              <a:gd name="connsiteX370" fmla="*/ 6939085 w 8023328"/>
              <a:gd name="connsiteY370" fmla="*/ 1494185 h 2380521"/>
              <a:gd name="connsiteX371" fmla="*/ 6950753 w 8023328"/>
              <a:gd name="connsiteY371" fmla="*/ 1508973 h 2380521"/>
              <a:gd name="connsiteX372" fmla="*/ 6939085 w 8023328"/>
              <a:gd name="connsiteY372" fmla="*/ 1523761 h 2380521"/>
              <a:gd name="connsiteX373" fmla="*/ 6924500 w 8023328"/>
              <a:gd name="connsiteY373" fmla="*/ 1508973 h 2380521"/>
              <a:gd name="connsiteX374" fmla="*/ 6939085 w 8023328"/>
              <a:gd name="connsiteY374" fmla="*/ 1494185 h 2380521"/>
              <a:gd name="connsiteX375" fmla="*/ 83229 w 8023328"/>
              <a:gd name="connsiteY375" fmla="*/ 1426727 h 2380521"/>
              <a:gd name="connsiteX376" fmla="*/ 97085 w 8023328"/>
              <a:gd name="connsiteY376" fmla="*/ 1439124 h 2380521"/>
              <a:gd name="connsiteX377" fmla="*/ 83229 w 8023328"/>
              <a:gd name="connsiteY377" fmla="*/ 1452980 h 2380521"/>
              <a:gd name="connsiteX378" fmla="*/ 70831 w 8023328"/>
              <a:gd name="connsiteY378" fmla="*/ 1439124 h 2380521"/>
              <a:gd name="connsiteX379" fmla="*/ 83229 w 8023328"/>
              <a:gd name="connsiteY379" fmla="*/ 1426727 h 2380521"/>
              <a:gd name="connsiteX380" fmla="*/ 11993 w 8023328"/>
              <a:gd name="connsiteY380" fmla="*/ 1426727 h 2380521"/>
              <a:gd name="connsiteX381" fmla="*/ 26234 w 8023328"/>
              <a:gd name="connsiteY381" fmla="*/ 1439124 h 2380521"/>
              <a:gd name="connsiteX382" fmla="*/ 11993 w 8023328"/>
              <a:gd name="connsiteY382" fmla="*/ 1452980 h 2380521"/>
              <a:gd name="connsiteX383" fmla="*/ 0 w 8023328"/>
              <a:gd name="connsiteY383" fmla="*/ 1439124 h 2380521"/>
              <a:gd name="connsiteX384" fmla="*/ 11993 w 8023328"/>
              <a:gd name="connsiteY384" fmla="*/ 1426727 h 2380521"/>
              <a:gd name="connsiteX385" fmla="*/ 7370084 w 8023328"/>
              <a:gd name="connsiteY385" fmla="*/ 1423353 h 2380521"/>
              <a:gd name="connsiteX386" fmla="*/ 7382481 w 8023328"/>
              <a:gd name="connsiteY386" fmla="*/ 1438142 h 2380521"/>
              <a:gd name="connsiteX387" fmla="*/ 7370084 w 8023328"/>
              <a:gd name="connsiteY387" fmla="*/ 1452931 h 2380521"/>
              <a:gd name="connsiteX388" fmla="*/ 7356228 w 8023328"/>
              <a:gd name="connsiteY388" fmla="*/ 1438142 h 2380521"/>
              <a:gd name="connsiteX389" fmla="*/ 7370084 w 8023328"/>
              <a:gd name="connsiteY389" fmla="*/ 1423353 h 2380521"/>
              <a:gd name="connsiteX390" fmla="*/ 7294422 w 8023328"/>
              <a:gd name="connsiteY390" fmla="*/ 1423353 h 2380521"/>
              <a:gd name="connsiteX391" fmla="*/ 7308278 w 8023328"/>
              <a:gd name="connsiteY391" fmla="*/ 1438142 h 2380521"/>
              <a:gd name="connsiteX392" fmla="*/ 7294422 w 8023328"/>
              <a:gd name="connsiteY392" fmla="*/ 1452931 h 2380521"/>
              <a:gd name="connsiteX393" fmla="*/ 7282025 w 8023328"/>
              <a:gd name="connsiteY393" fmla="*/ 1438142 h 2380521"/>
              <a:gd name="connsiteX394" fmla="*/ 7294422 w 8023328"/>
              <a:gd name="connsiteY394" fmla="*/ 1423353 h 2380521"/>
              <a:gd name="connsiteX395" fmla="*/ 7223591 w 8023328"/>
              <a:gd name="connsiteY395" fmla="*/ 1423353 h 2380521"/>
              <a:gd name="connsiteX396" fmla="*/ 7237447 w 8023328"/>
              <a:gd name="connsiteY396" fmla="*/ 1438142 h 2380521"/>
              <a:gd name="connsiteX397" fmla="*/ 7223591 w 8023328"/>
              <a:gd name="connsiteY397" fmla="*/ 1452931 h 2380521"/>
              <a:gd name="connsiteX398" fmla="*/ 7211194 w 8023328"/>
              <a:gd name="connsiteY398" fmla="*/ 1438142 h 2380521"/>
              <a:gd name="connsiteX399" fmla="*/ 7223591 w 8023328"/>
              <a:gd name="connsiteY399" fmla="*/ 1423353 h 2380521"/>
              <a:gd name="connsiteX400" fmla="*/ 7155152 w 8023328"/>
              <a:gd name="connsiteY400" fmla="*/ 1423353 h 2380521"/>
              <a:gd name="connsiteX401" fmla="*/ 7169940 w 8023328"/>
              <a:gd name="connsiteY401" fmla="*/ 1438142 h 2380521"/>
              <a:gd name="connsiteX402" fmla="*/ 7155152 w 8023328"/>
              <a:gd name="connsiteY402" fmla="*/ 1452931 h 2380521"/>
              <a:gd name="connsiteX403" fmla="*/ 7141920 w 8023328"/>
              <a:gd name="connsiteY403" fmla="*/ 1438142 h 2380521"/>
              <a:gd name="connsiteX404" fmla="*/ 7155152 w 8023328"/>
              <a:gd name="connsiteY404" fmla="*/ 1423353 h 2380521"/>
              <a:gd name="connsiteX405" fmla="*/ 7084322 w 8023328"/>
              <a:gd name="connsiteY405" fmla="*/ 1423353 h 2380521"/>
              <a:gd name="connsiteX406" fmla="*/ 7099111 w 8023328"/>
              <a:gd name="connsiteY406" fmla="*/ 1438142 h 2380521"/>
              <a:gd name="connsiteX407" fmla="*/ 7084322 w 8023328"/>
              <a:gd name="connsiteY407" fmla="*/ 1452931 h 2380521"/>
              <a:gd name="connsiteX408" fmla="*/ 7069533 w 8023328"/>
              <a:gd name="connsiteY408" fmla="*/ 1438142 h 2380521"/>
              <a:gd name="connsiteX409" fmla="*/ 7084322 w 8023328"/>
              <a:gd name="connsiteY409" fmla="*/ 1423353 h 2380521"/>
              <a:gd name="connsiteX410" fmla="*/ 7013492 w 8023328"/>
              <a:gd name="connsiteY410" fmla="*/ 1423353 h 2380521"/>
              <a:gd name="connsiteX411" fmla="*/ 7028280 w 8023328"/>
              <a:gd name="connsiteY411" fmla="*/ 1438142 h 2380521"/>
              <a:gd name="connsiteX412" fmla="*/ 7013492 w 8023328"/>
              <a:gd name="connsiteY412" fmla="*/ 1452931 h 2380521"/>
              <a:gd name="connsiteX413" fmla="*/ 6998704 w 8023328"/>
              <a:gd name="connsiteY413" fmla="*/ 1438142 h 2380521"/>
              <a:gd name="connsiteX414" fmla="*/ 7013492 w 8023328"/>
              <a:gd name="connsiteY414" fmla="*/ 1423353 h 2380521"/>
              <a:gd name="connsiteX415" fmla="*/ 6939085 w 8023328"/>
              <a:gd name="connsiteY415" fmla="*/ 1423353 h 2380521"/>
              <a:gd name="connsiteX416" fmla="*/ 6950753 w 8023328"/>
              <a:gd name="connsiteY416" fmla="*/ 1438142 h 2380521"/>
              <a:gd name="connsiteX417" fmla="*/ 6939085 w 8023328"/>
              <a:gd name="connsiteY417" fmla="*/ 1452931 h 2380521"/>
              <a:gd name="connsiteX418" fmla="*/ 6924500 w 8023328"/>
              <a:gd name="connsiteY418" fmla="*/ 1438142 h 2380521"/>
              <a:gd name="connsiteX419" fmla="*/ 6939085 w 8023328"/>
              <a:gd name="connsiteY419" fmla="*/ 1423353 h 2380521"/>
              <a:gd name="connsiteX420" fmla="*/ 6867525 w 8023328"/>
              <a:gd name="connsiteY420" fmla="*/ 1423353 h 2380521"/>
              <a:gd name="connsiteX421" fmla="*/ 6879922 w 8023328"/>
              <a:gd name="connsiteY421" fmla="*/ 1438142 h 2380521"/>
              <a:gd name="connsiteX422" fmla="*/ 6867525 w 8023328"/>
              <a:gd name="connsiteY422" fmla="*/ 1452931 h 2380521"/>
              <a:gd name="connsiteX423" fmla="*/ 6853669 w 8023328"/>
              <a:gd name="connsiteY423" fmla="*/ 1438142 h 2380521"/>
              <a:gd name="connsiteX424" fmla="*/ 6867525 w 8023328"/>
              <a:gd name="connsiteY424" fmla="*/ 1423353 h 2380521"/>
              <a:gd name="connsiteX425" fmla="*/ 6796696 w 8023328"/>
              <a:gd name="connsiteY425" fmla="*/ 1423353 h 2380521"/>
              <a:gd name="connsiteX426" fmla="*/ 6809093 w 8023328"/>
              <a:gd name="connsiteY426" fmla="*/ 1438142 h 2380521"/>
              <a:gd name="connsiteX427" fmla="*/ 6796696 w 8023328"/>
              <a:gd name="connsiteY427" fmla="*/ 1452931 h 2380521"/>
              <a:gd name="connsiteX428" fmla="*/ 6782840 w 8023328"/>
              <a:gd name="connsiteY428" fmla="*/ 1438142 h 2380521"/>
              <a:gd name="connsiteX429" fmla="*/ 6796696 w 8023328"/>
              <a:gd name="connsiteY429" fmla="*/ 1423353 h 2380521"/>
              <a:gd name="connsiteX430" fmla="*/ 155518 w 8023328"/>
              <a:gd name="connsiteY430" fmla="*/ 1355896 h 2380521"/>
              <a:gd name="connsiteX431" fmla="*/ 167916 w 8023328"/>
              <a:gd name="connsiteY431" fmla="*/ 1368293 h 2380521"/>
              <a:gd name="connsiteX432" fmla="*/ 155518 w 8023328"/>
              <a:gd name="connsiteY432" fmla="*/ 1382149 h 2380521"/>
              <a:gd name="connsiteX433" fmla="*/ 141662 w 8023328"/>
              <a:gd name="connsiteY433" fmla="*/ 1368293 h 2380521"/>
              <a:gd name="connsiteX434" fmla="*/ 155518 w 8023328"/>
              <a:gd name="connsiteY434" fmla="*/ 1355896 h 2380521"/>
              <a:gd name="connsiteX435" fmla="*/ 83230 w 8023328"/>
              <a:gd name="connsiteY435" fmla="*/ 1355896 h 2380521"/>
              <a:gd name="connsiteX436" fmla="*/ 97086 w 8023328"/>
              <a:gd name="connsiteY436" fmla="*/ 1368293 h 2380521"/>
              <a:gd name="connsiteX437" fmla="*/ 83230 w 8023328"/>
              <a:gd name="connsiteY437" fmla="*/ 1382149 h 2380521"/>
              <a:gd name="connsiteX438" fmla="*/ 70832 w 8023328"/>
              <a:gd name="connsiteY438" fmla="*/ 1368293 h 2380521"/>
              <a:gd name="connsiteX439" fmla="*/ 83230 w 8023328"/>
              <a:gd name="connsiteY439" fmla="*/ 1355896 h 2380521"/>
              <a:gd name="connsiteX440" fmla="*/ 11994 w 8023328"/>
              <a:gd name="connsiteY440" fmla="*/ 1355896 h 2380521"/>
              <a:gd name="connsiteX441" fmla="*/ 26235 w 8023328"/>
              <a:gd name="connsiteY441" fmla="*/ 1368293 h 2380521"/>
              <a:gd name="connsiteX442" fmla="*/ 11994 w 8023328"/>
              <a:gd name="connsiteY442" fmla="*/ 1382149 h 2380521"/>
              <a:gd name="connsiteX443" fmla="*/ 2 w 8023328"/>
              <a:gd name="connsiteY443" fmla="*/ 1368293 h 2380521"/>
              <a:gd name="connsiteX444" fmla="*/ 11994 w 8023328"/>
              <a:gd name="connsiteY444" fmla="*/ 1355896 h 2380521"/>
              <a:gd name="connsiteX445" fmla="*/ 7294422 w 8023328"/>
              <a:gd name="connsiteY445" fmla="*/ 1352524 h 2380521"/>
              <a:gd name="connsiteX446" fmla="*/ 7308278 w 8023328"/>
              <a:gd name="connsiteY446" fmla="*/ 1367109 h 2380521"/>
              <a:gd name="connsiteX447" fmla="*/ 7294422 w 8023328"/>
              <a:gd name="connsiteY447" fmla="*/ 1378777 h 2380521"/>
              <a:gd name="connsiteX448" fmla="*/ 7282025 w 8023328"/>
              <a:gd name="connsiteY448" fmla="*/ 1367109 h 2380521"/>
              <a:gd name="connsiteX449" fmla="*/ 7294422 w 8023328"/>
              <a:gd name="connsiteY449" fmla="*/ 1352524 h 2380521"/>
              <a:gd name="connsiteX450" fmla="*/ 7223591 w 8023328"/>
              <a:gd name="connsiteY450" fmla="*/ 1352524 h 2380521"/>
              <a:gd name="connsiteX451" fmla="*/ 7237447 w 8023328"/>
              <a:gd name="connsiteY451" fmla="*/ 1367109 h 2380521"/>
              <a:gd name="connsiteX452" fmla="*/ 7223591 w 8023328"/>
              <a:gd name="connsiteY452" fmla="*/ 1378777 h 2380521"/>
              <a:gd name="connsiteX453" fmla="*/ 7211194 w 8023328"/>
              <a:gd name="connsiteY453" fmla="*/ 1367109 h 2380521"/>
              <a:gd name="connsiteX454" fmla="*/ 7223591 w 8023328"/>
              <a:gd name="connsiteY454" fmla="*/ 1352524 h 2380521"/>
              <a:gd name="connsiteX455" fmla="*/ 7155152 w 8023328"/>
              <a:gd name="connsiteY455" fmla="*/ 1352524 h 2380521"/>
              <a:gd name="connsiteX456" fmla="*/ 7169940 w 8023328"/>
              <a:gd name="connsiteY456" fmla="*/ 1367109 h 2380521"/>
              <a:gd name="connsiteX457" fmla="*/ 7155152 w 8023328"/>
              <a:gd name="connsiteY457" fmla="*/ 1378777 h 2380521"/>
              <a:gd name="connsiteX458" fmla="*/ 7140364 w 8023328"/>
              <a:gd name="connsiteY458" fmla="*/ 1367109 h 2380521"/>
              <a:gd name="connsiteX459" fmla="*/ 7155152 w 8023328"/>
              <a:gd name="connsiteY459" fmla="*/ 1352524 h 2380521"/>
              <a:gd name="connsiteX460" fmla="*/ 7084322 w 8023328"/>
              <a:gd name="connsiteY460" fmla="*/ 1352524 h 2380521"/>
              <a:gd name="connsiteX461" fmla="*/ 7099111 w 8023328"/>
              <a:gd name="connsiteY461" fmla="*/ 1367109 h 2380521"/>
              <a:gd name="connsiteX462" fmla="*/ 7084322 w 8023328"/>
              <a:gd name="connsiteY462" fmla="*/ 1378777 h 2380521"/>
              <a:gd name="connsiteX463" fmla="*/ 7069533 w 8023328"/>
              <a:gd name="connsiteY463" fmla="*/ 1367109 h 2380521"/>
              <a:gd name="connsiteX464" fmla="*/ 7084322 w 8023328"/>
              <a:gd name="connsiteY464" fmla="*/ 1352524 h 2380521"/>
              <a:gd name="connsiteX465" fmla="*/ 7013492 w 8023328"/>
              <a:gd name="connsiteY465" fmla="*/ 1352524 h 2380521"/>
              <a:gd name="connsiteX466" fmla="*/ 7028280 w 8023328"/>
              <a:gd name="connsiteY466" fmla="*/ 1367109 h 2380521"/>
              <a:gd name="connsiteX467" fmla="*/ 7013492 w 8023328"/>
              <a:gd name="connsiteY467" fmla="*/ 1378777 h 2380521"/>
              <a:gd name="connsiteX468" fmla="*/ 6998704 w 8023328"/>
              <a:gd name="connsiteY468" fmla="*/ 1367109 h 2380521"/>
              <a:gd name="connsiteX469" fmla="*/ 7013492 w 8023328"/>
              <a:gd name="connsiteY469" fmla="*/ 1352524 h 2380521"/>
              <a:gd name="connsiteX470" fmla="*/ 6939085 w 8023328"/>
              <a:gd name="connsiteY470" fmla="*/ 1352524 h 2380521"/>
              <a:gd name="connsiteX471" fmla="*/ 6950753 w 8023328"/>
              <a:gd name="connsiteY471" fmla="*/ 1367701 h 2380521"/>
              <a:gd name="connsiteX472" fmla="*/ 6939085 w 8023328"/>
              <a:gd name="connsiteY472" fmla="*/ 1382120 h 2380521"/>
              <a:gd name="connsiteX473" fmla="*/ 6924500 w 8023328"/>
              <a:gd name="connsiteY473" fmla="*/ 1367701 h 2380521"/>
              <a:gd name="connsiteX474" fmla="*/ 6939085 w 8023328"/>
              <a:gd name="connsiteY474" fmla="*/ 1352524 h 2380521"/>
              <a:gd name="connsiteX475" fmla="*/ 6867525 w 8023328"/>
              <a:gd name="connsiteY475" fmla="*/ 1352524 h 2380521"/>
              <a:gd name="connsiteX476" fmla="*/ 6879922 w 8023328"/>
              <a:gd name="connsiteY476" fmla="*/ 1367701 h 2380521"/>
              <a:gd name="connsiteX477" fmla="*/ 6867525 w 8023328"/>
              <a:gd name="connsiteY477" fmla="*/ 1382120 h 2380521"/>
              <a:gd name="connsiteX478" fmla="*/ 6853669 w 8023328"/>
              <a:gd name="connsiteY478" fmla="*/ 1367701 h 2380521"/>
              <a:gd name="connsiteX479" fmla="*/ 6867525 w 8023328"/>
              <a:gd name="connsiteY479" fmla="*/ 1352524 h 2380521"/>
              <a:gd name="connsiteX480" fmla="*/ 6796696 w 8023328"/>
              <a:gd name="connsiteY480" fmla="*/ 1352524 h 2380521"/>
              <a:gd name="connsiteX481" fmla="*/ 6809093 w 8023328"/>
              <a:gd name="connsiteY481" fmla="*/ 1367701 h 2380521"/>
              <a:gd name="connsiteX482" fmla="*/ 6796696 w 8023328"/>
              <a:gd name="connsiteY482" fmla="*/ 1382120 h 2380521"/>
              <a:gd name="connsiteX483" fmla="*/ 6782840 w 8023328"/>
              <a:gd name="connsiteY483" fmla="*/ 1367701 h 2380521"/>
              <a:gd name="connsiteX484" fmla="*/ 6796696 w 8023328"/>
              <a:gd name="connsiteY484" fmla="*/ 1352524 h 2380521"/>
              <a:gd name="connsiteX485" fmla="*/ 6724405 w 8023328"/>
              <a:gd name="connsiteY485" fmla="*/ 1352524 h 2380521"/>
              <a:gd name="connsiteX486" fmla="*/ 6738261 w 8023328"/>
              <a:gd name="connsiteY486" fmla="*/ 1367701 h 2380521"/>
              <a:gd name="connsiteX487" fmla="*/ 6724405 w 8023328"/>
              <a:gd name="connsiteY487" fmla="*/ 1382120 h 2380521"/>
              <a:gd name="connsiteX488" fmla="*/ 6712008 w 8023328"/>
              <a:gd name="connsiteY488" fmla="*/ 1367701 h 2380521"/>
              <a:gd name="connsiteX489" fmla="*/ 6724405 w 8023328"/>
              <a:gd name="connsiteY489" fmla="*/ 1352524 h 2380521"/>
              <a:gd name="connsiteX490" fmla="*/ 6653576 w 8023328"/>
              <a:gd name="connsiteY490" fmla="*/ 1352524 h 2380521"/>
              <a:gd name="connsiteX491" fmla="*/ 6667432 w 8023328"/>
              <a:gd name="connsiteY491" fmla="*/ 1367701 h 2380521"/>
              <a:gd name="connsiteX492" fmla="*/ 6653576 w 8023328"/>
              <a:gd name="connsiteY492" fmla="*/ 1382120 h 2380521"/>
              <a:gd name="connsiteX493" fmla="*/ 6641179 w 8023328"/>
              <a:gd name="connsiteY493" fmla="*/ 1367701 h 2380521"/>
              <a:gd name="connsiteX494" fmla="*/ 6653576 w 8023328"/>
              <a:gd name="connsiteY494" fmla="*/ 1352524 h 2380521"/>
              <a:gd name="connsiteX495" fmla="*/ 7223591 w 8023328"/>
              <a:gd name="connsiteY495" fmla="*/ 1281693 h 2380521"/>
              <a:gd name="connsiteX496" fmla="*/ 7237447 w 8023328"/>
              <a:gd name="connsiteY496" fmla="*/ 1295549 h 2380521"/>
              <a:gd name="connsiteX497" fmla="*/ 7223591 w 8023328"/>
              <a:gd name="connsiteY497" fmla="*/ 1307946 h 2380521"/>
              <a:gd name="connsiteX498" fmla="*/ 7211194 w 8023328"/>
              <a:gd name="connsiteY498" fmla="*/ 1295549 h 2380521"/>
              <a:gd name="connsiteX499" fmla="*/ 7223591 w 8023328"/>
              <a:gd name="connsiteY499" fmla="*/ 1281693 h 2380521"/>
              <a:gd name="connsiteX500" fmla="*/ 7155152 w 8023328"/>
              <a:gd name="connsiteY500" fmla="*/ 1281693 h 2380521"/>
              <a:gd name="connsiteX501" fmla="*/ 7169940 w 8023328"/>
              <a:gd name="connsiteY501" fmla="*/ 1295549 h 2380521"/>
              <a:gd name="connsiteX502" fmla="*/ 7155152 w 8023328"/>
              <a:gd name="connsiteY502" fmla="*/ 1307946 h 2380521"/>
              <a:gd name="connsiteX503" fmla="*/ 7140364 w 8023328"/>
              <a:gd name="connsiteY503" fmla="*/ 1295549 h 2380521"/>
              <a:gd name="connsiteX504" fmla="*/ 7155152 w 8023328"/>
              <a:gd name="connsiteY504" fmla="*/ 1281693 h 2380521"/>
              <a:gd name="connsiteX505" fmla="*/ 7084322 w 8023328"/>
              <a:gd name="connsiteY505" fmla="*/ 1281693 h 2380521"/>
              <a:gd name="connsiteX506" fmla="*/ 7099111 w 8023328"/>
              <a:gd name="connsiteY506" fmla="*/ 1295549 h 2380521"/>
              <a:gd name="connsiteX507" fmla="*/ 7084322 w 8023328"/>
              <a:gd name="connsiteY507" fmla="*/ 1307946 h 2380521"/>
              <a:gd name="connsiteX508" fmla="*/ 7069533 w 8023328"/>
              <a:gd name="connsiteY508" fmla="*/ 1295549 h 2380521"/>
              <a:gd name="connsiteX509" fmla="*/ 7084322 w 8023328"/>
              <a:gd name="connsiteY509" fmla="*/ 1281693 h 2380521"/>
              <a:gd name="connsiteX510" fmla="*/ 7013492 w 8023328"/>
              <a:gd name="connsiteY510" fmla="*/ 1281693 h 2380521"/>
              <a:gd name="connsiteX511" fmla="*/ 7028280 w 8023328"/>
              <a:gd name="connsiteY511" fmla="*/ 1295549 h 2380521"/>
              <a:gd name="connsiteX512" fmla="*/ 7013492 w 8023328"/>
              <a:gd name="connsiteY512" fmla="*/ 1307946 h 2380521"/>
              <a:gd name="connsiteX513" fmla="*/ 6998704 w 8023328"/>
              <a:gd name="connsiteY513" fmla="*/ 1295549 h 2380521"/>
              <a:gd name="connsiteX514" fmla="*/ 7013492 w 8023328"/>
              <a:gd name="connsiteY514" fmla="*/ 1281693 h 2380521"/>
              <a:gd name="connsiteX515" fmla="*/ 6939085 w 8023328"/>
              <a:gd name="connsiteY515" fmla="*/ 1281693 h 2380521"/>
              <a:gd name="connsiteX516" fmla="*/ 6950753 w 8023328"/>
              <a:gd name="connsiteY516" fmla="*/ 1295549 h 2380521"/>
              <a:gd name="connsiteX517" fmla="*/ 6939085 w 8023328"/>
              <a:gd name="connsiteY517" fmla="*/ 1307946 h 2380521"/>
              <a:gd name="connsiteX518" fmla="*/ 6924500 w 8023328"/>
              <a:gd name="connsiteY518" fmla="*/ 1295549 h 2380521"/>
              <a:gd name="connsiteX519" fmla="*/ 6939085 w 8023328"/>
              <a:gd name="connsiteY519" fmla="*/ 1281693 h 2380521"/>
              <a:gd name="connsiteX520" fmla="*/ 6867525 w 8023328"/>
              <a:gd name="connsiteY520" fmla="*/ 1281693 h 2380521"/>
              <a:gd name="connsiteX521" fmla="*/ 6879922 w 8023328"/>
              <a:gd name="connsiteY521" fmla="*/ 1295549 h 2380521"/>
              <a:gd name="connsiteX522" fmla="*/ 6867525 w 8023328"/>
              <a:gd name="connsiteY522" fmla="*/ 1307946 h 2380521"/>
              <a:gd name="connsiteX523" fmla="*/ 6853669 w 8023328"/>
              <a:gd name="connsiteY523" fmla="*/ 1295549 h 2380521"/>
              <a:gd name="connsiteX524" fmla="*/ 6867525 w 8023328"/>
              <a:gd name="connsiteY524" fmla="*/ 1281693 h 2380521"/>
              <a:gd name="connsiteX525" fmla="*/ 6796696 w 8023328"/>
              <a:gd name="connsiteY525" fmla="*/ 1281693 h 2380521"/>
              <a:gd name="connsiteX526" fmla="*/ 6809093 w 8023328"/>
              <a:gd name="connsiteY526" fmla="*/ 1295549 h 2380521"/>
              <a:gd name="connsiteX527" fmla="*/ 6796696 w 8023328"/>
              <a:gd name="connsiteY527" fmla="*/ 1307946 h 2380521"/>
              <a:gd name="connsiteX528" fmla="*/ 6782840 w 8023328"/>
              <a:gd name="connsiteY528" fmla="*/ 1295549 h 2380521"/>
              <a:gd name="connsiteX529" fmla="*/ 6796696 w 8023328"/>
              <a:gd name="connsiteY529" fmla="*/ 1281693 h 2380521"/>
              <a:gd name="connsiteX530" fmla="*/ 6724405 w 8023328"/>
              <a:gd name="connsiteY530" fmla="*/ 1281693 h 2380521"/>
              <a:gd name="connsiteX531" fmla="*/ 6738261 w 8023328"/>
              <a:gd name="connsiteY531" fmla="*/ 1295549 h 2380521"/>
              <a:gd name="connsiteX532" fmla="*/ 6724405 w 8023328"/>
              <a:gd name="connsiteY532" fmla="*/ 1307946 h 2380521"/>
              <a:gd name="connsiteX533" fmla="*/ 6712008 w 8023328"/>
              <a:gd name="connsiteY533" fmla="*/ 1295549 h 2380521"/>
              <a:gd name="connsiteX534" fmla="*/ 6724405 w 8023328"/>
              <a:gd name="connsiteY534" fmla="*/ 1281693 h 2380521"/>
              <a:gd name="connsiteX535" fmla="*/ 6653576 w 8023328"/>
              <a:gd name="connsiteY535" fmla="*/ 1281693 h 2380521"/>
              <a:gd name="connsiteX536" fmla="*/ 6667432 w 8023328"/>
              <a:gd name="connsiteY536" fmla="*/ 1295549 h 2380521"/>
              <a:gd name="connsiteX537" fmla="*/ 6653576 w 8023328"/>
              <a:gd name="connsiteY537" fmla="*/ 1307946 h 2380521"/>
              <a:gd name="connsiteX538" fmla="*/ 6641179 w 8023328"/>
              <a:gd name="connsiteY538" fmla="*/ 1295549 h 2380521"/>
              <a:gd name="connsiteX539" fmla="*/ 6653576 w 8023328"/>
              <a:gd name="connsiteY539" fmla="*/ 1281693 h 2380521"/>
              <a:gd name="connsiteX540" fmla="*/ 6582745 w 8023328"/>
              <a:gd name="connsiteY540" fmla="*/ 1281693 h 2380521"/>
              <a:gd name="connsiteX541" fmla="*/ 6596601 w 8023328"/>
              <a:gd name="connsiteY541" fmla="*/ 1295549 h 2380521"/>
              <a:gd name="connsiteX542" fmla="*/ 6582745 w 8023328"/>
              <a:gd name="connsiteY542" fmla="*/ 1307946 h 2380521"/>
              <a:gd name="connsiteX543" fmla="*/ 6570348 w 8023328"/>
              <a:gd name="connsiteY543" fmla="*/ 1295549 h 2380521"/>
              <a:gd name="connsiteX544" fmla="*/ 6582745 w 8023328"/>
              <a:gd name="connsiteY544" fmla="*/ 1281693 h 2380521"/>
              <a:gd name="connsiteX545" fmla="*/ 6510933 w 8023328"/>
              <a:gd name="connsiteY545" fmla="*/ 1281693 h 2380521"/>
              <a:gd name="connsiteX546" fmla="*/ 6525722 w 8023328"/>
              <a:gd name="connsiteY546" fmla="*/ 1295549 h 2380521"/>
              <a:gd name="connsiteX547" fmla="*/ 6510933 w 8023328"/>
              <a:gd name="connsiteY547" fmla="*/ 1307946 h 2380521"/>
              <a:gd name="connsiteX548" fmla="*/ 6496144 w 8023328"/>
              <a:gd name="connsiteY548" fmla="*/ 1295549 h 2380521"/>
              <a:gd name="connsiteX549" fmla="*/ 6510933 w 8023328"/>
              <a:gd name="connsiteY549" fmla="*/ 1281693 h 2380521"/>
              <a:gd name="connsiteX550" fmla="*/ 6440492 w 8023328"/>
              <a:gd name="connsiteY550" fmla="*/ 1281693 h 2380521"/>
              <a:gd name="connsiteX551" fmla="*/ 6454911 w 8023328"/>
              <a:gd name="connsiteY551" fmla="*/ 1295549 h 2380521"/>
              <a:gd name="connsiteX552" fmla="*/ 6440492 w 8023328"/>
              <a:gd name="connsiteY552" fmla="*/ 1307946 h 2380521"/>
              <a:gd name="connsiteX553" fmla="*/ 6425315 w 8023328"/>
              <a:gd name="connsiteY553" fmla="*/ 1295549 h 2380521"/>
              <a:gd name="connsiteX554" fmla="*/ 6440492 w 8023328"/>
              <a:gd name="connsiteY554" fmla="*/ 1281693 h 2380521"/>
              <a:gd name="connsiteX555" fmla="*/ 6369273 w 8023328"/>
              <a:gd name="connsiteY555" fmla="*/ 1281693 h 2380521"/>
              <a:gd name="connsiteX556" fmla="*/ 6384062 w 8023328"/>
              <a:gd name="connsiteY556" fmla="*/ 1296482 h 2380521"/>
              <a:gd name="connsiteX557" fmla="*/ 6369273 w 8023328"/>
              <a:gd name="connsiteY557" fmla="*/ 1311271 h 2380521"/>
              <a:gd name="connsiteX558" fmla="*/ 6354484 w 8023328"/>
              <a:gd name="connsiteY558" fmla="*/ 1296482 h 2380521"/>
              <a:gd name="connsiteX559" fmla="*/ 6369273 w 8023328"/>
              <a:gd name="connsiteY559" fmla="*/ 1281693 h 2380521"/>
              <a:gd name="connsiteX560" fmla="*/ 5799257 w 8023328"/>
              <a:gd name="connsiteY560" fmla="*/ 1281693 h 2380521"/>
              <a:gd name="connsiteX561" fmla="*/ 5814045 w 8023328"/>
              <a:gd name="connsiteY561" fmla="*/ 1296482 h 2380521"/>
              <a:gd name="connsiteX562" fmla="*/ 5799257 w 8023328"/>
              <a:gd name="connsiteY562" fmla="*/ 1311271 h 2380521"/>
              <a:gd name="connsiteX563" fmla="*/ 5784469 w 8023328"/>
              <a:gd name="connsiteY563" fmla="*/ 1296482 h 2380521"/>
              <a:gd name="connsiteX564" fmla="*/ 5799257 w 8023328"/>
              <a:gd name="connsiteY564" fmla="*/ 1281693 h 2380521"/>
              <a:gd name="connsiteX565" fmla="*/ 5724122 w 8023328"/>
              <a:gd name="connsiteY565" fmla="*/ 1281693 h 2380521"/>
              <a:gd name="connsiteX566" fmla="*/ 5736519 w 8023328"/>
              <a:gd name="connsiteY566" fmla="*/ 1296482 h 2380521"/>
              <a:gd name="connsiteX567" fmla="*/ 5724122 w 8023328"/>
              <a:gd name="connsiteY567" fmla="*/ 1311271 h 2380521"/>
              <a:gd name="connsiteX568" fmla="*/ 5710266 w 8023328"/>
              <a:gd name="connsiteY568" fmla="*/ 1296482 h 2380521"/>
              <a:gd name="connsiteX569" fmla="*/ 5724122 w 8023328"/>
              <a:gd name="connsiteY569" fmla="*/ 1281693 h 2380521"/>
              <a:gd name="connsiteX570" fmla="*/ 5653291 w 8023328"/>
              <a:gd name="connsiteY570" fmla="*/ 1281693 h 2380521"/>
              <a:gd name="connsiteX571" fmla="*/ 5665688 w 8023328"/>
              <a:gd name="connsiteY571" fmla="*/ 1296482 h 2380521"/>
              <a:gd name="connsiteX572" fmla="*/ 5653291 w 8023328"/>
              <a:gd name="connsiteY572" fmla="*/ 1311271 h 2380521"/>
              <a:gd name="connsiteX573" fmla="*/ 5639435 w 8023328"/>
              <a:gd name="connsiteY573" fmla="*/ 1296482 h 2380521"/>
              <a:gd name="connsiteX574" fmla="*/ 5653291 w 8023328"/>
              <a:gd name="connsiteY574" fmla="*/ 1281693 h 2380521"/>
              <a:gd name="connsiteX575" fmla="*/ 5582461 w 8023328"/>
              <a:gd name="connsiteY575" fmla="*/ 1281693 h 2380521"/>
              <a:gd name="connsiteX576" fmla="*/ 5594858 w 8023328"/>
              <a:gd name="connsiteY576" fmla="*/ 1296482 h 2380521"/>
              <a:gd name="connsiteX577" fmla="*/ 5582461 w 8023328"/>
              <a:gd name="connsiteY577" fmla="*/ 1311271 h 2380521"/>
              <a:gd name="connsiteX578" fmla="*/ 5568605 w 8023328"/>
              <a:gd name="connsiteY578" fmla="*/ 1296482 h 2380521"/>
              <a:gd name="connsiteX579" fmla="*/ 5582461 w 8023328"/>
              <a:gd name="connsiteY579" fmla="*/ 1281693 h 2380521"/>
              <a:gd name="connsiteX580" fmla="*/ 5510171 w 8023328"/>
              <a:gd name="connsiteY580" fmla="*/ 1281693 h 2380521"/>
              <a:gd name="connsiteX581" fmla="*/ 5524027 w 8023328"/>
              <a:gd name="connsiteY581" fmla="*/ 1296482 h 2380521"/>
              <a:gd name="connsiteX582" fmla="*/ 5510171 w 8023328"/>
              <a:gd name="connsiteY582" fmla="*/ 1311271 h 2380521"/>
              <a:gd name="connsiteX583" fmla="*/ 5497774 w 8023328"/>
              <a:gd name="connsiteY583" fmla="*/ 1296482 h 2380521"/>
              <a:gd name="connsiteX584" fmla="*/ 5510171 w 8023328"/>
              <a:gd name="connsiteY584" fmla="*/ 1281693 h 2380521"/>
              <a:gd name="connsiteX585" fmla="*/ 5438937 w 8023328"/>
              <a:gd name="connsiteY585" fmla="*/ 1281693 h 2380521"/>
              <a:gd name="connsiteX586" fmla="*/ 5453178 w 8023328"/>
              <a:gd name="connsiteY586" fmla="*/ 1296482 h 2380521"/>
              <a:gd name="connsiteX587" fmla="*/ 5438937 w 8023328"/>
              <a:gd name="connsiteY587" fmla="*/ 1311271 h 2380521"/>
              <a:gd name="connsiteX588" fmla="*/ 5426945 w 8023328"/>
              <a:gd name="connsiteY588" fmla="*/ 1296482 h 2380521"/>
              <a:gd name="connsiteX589" fmla="*/ 5438937 w 8023328"/>
              <a:gd name="connsiteY589" fmla="*/ 1281693 h 2380521"/>
              <a:gd name="connsiteX590" fmla="*/ 5368510 w 8023328"/>
              <a:gd name="connsiteY590" fmla="*/ 1281693 h 2380521"/>
              <a:gd name="connsiteX591" fmla="*/ 5382366 w 8023328"/>
              <a:gd name="connsiteY591" fmla="*/ 1296482 h 2380521"/>
              <a:gd name="connsiteX592" fmla="*/ 5368510 w 8023328"/>
              <a:gd name="connsiteY592" fmla="*/ 1311271 h 2380521"/>
              <a:gd name="connsiteX593" fmla="*/ 5356113 w 8023328"/>
              <a:gd name="connsiteY593" fmla="*/ 1296482 h 2380521"/>
              <a:gd name="connsiteX594" fmla="*/ 5368510 w 8023328"/>
              <a:gd name="connsiteY594" fmla="*/ 1281693 h 2380521"/>
              <a:gd name="connsiteX595" fmla="*/ 5296699 w 8023328"/>
              <a:gd name="connsiteY595" fmla="*/ 1281693 h 2380521"/>
              <a:gd name="connsiteX596" fmla="*/ 5311488 w 8023328"/>
              <a:gd name="connsiteY596" fmla="*/ 1296482 h 2380521"/>
              <a:gd name="connsiteX597" fmla="*/ 5296699 w 8023328"/>
              <a:gd name="connsiteY597" fmla="*/ 1311271 h 2380521"/>
              <a:gd name="connsiteX598" fmla="*/ 5281910 w 8023328"/>
              <a:gd name="connsiteY598" fmla="*/ 1296482 h 2380521"/>
              <a:gd name="connsiteX599" fmla="*/ 5296699 w 8023328"/>
              <a:gd name="connsiteY599" fmla="*/ 1281693 h 2380521"/>
              <a:gd name="connsiteX600" fmla="*/ 5225869 w 8023328"/>
              <a:gd name="connsiteY600" fmla="*/ 1281693 h 2380521"/>
              <a:gd name="connsiteX601" fmla="*/ 5240657 w 8023328"/>
              <a:gd name="connsiteY601" fmla="*/ 1296482 h 2380521"/>
              <a:gd name="connsiteX602" fmla="*/ 5225869 w 8023328"/>
              <a:gd name="connsiteY602" fmla="*/ 1311271 h 2380521"/>
              <a:gd name="connsiteX603" fmla="*/ 5211081 w 8023328"/>
              <a:gd name="connsiteY603" fmla="*/ 1296482 h 2380521"/>
              <a:gd name="connsiteX604" fmla="*/ 5225869 w 8023328"/>
              <a:gd name="connsiteY604" fmla="*/ 1281693 h 2380521"/>
              <a:gd name="connsiteX605" fmla="*/ 5154105 w 8023328"/>
              <a:gd name="connsiteY605" fmla="*/ 1281693 h 2380521"/>
              <a:gd name="connsiteX606" fmla="*/ 5166502 w 8023328"/>
              <a:gd name="connsiteY606" fmla="*/ 1296482 h 2380521"/>
              <a:gd name="connsiteX607" fmla="*/ 5154105 w 8023328"/>
              <a:gd name="connsiteY607" fmla="*/ 1311271 h 2380521"/>
              <a:gd name="connsiteX608" fmla="*/ 5140249 w 8023328"/>
              <a:gd name="connsiteY608" fmla="*/ 1296482 h 2380521"/>
              <a:gd name="connsiteX609" fmla="*/ 5154105 w 8023328"/>
              <a:gd name="connsiteY609" fmla="*/ 1281693 h 2380521"/>
              <a:gd name="connsiteX610" fmla="*/ 5083276 w 8023328"/>
              <a:gd name="connsiteY610" fmla="*/ 1281693 h 2380521"/>
              <a:gd name="connsiteX611" fmla="*/ 5095673 w 8023328"/>
              <a:gd name="connsiteY611" fmla="*/ 1296482 h 2380521"/>
              <a:gd name="connsiteX612" fmla="*/ 5083276 w 8023328"/>
              <a:gd name="connsiteY612" fmla="*/ 1311271 h 2380521"/>
              <a:gd name="connsiteX613" fmla="*/ 5069420 w 8023328"/>
              <a:gd name="connsiteY613" fmla="*/ 1296482 h 2380521"/>
              <a:gd name="connsiteX614" fmla="*/ 5083276 w 8023328"/>
              <a:gd name="connsiteY614" fmla="*/ 1281693 h 2380521"/>
              <a:gd name="connsiteX615" fmla="*/ 5012445 w 8023328"/>
              <a:gd name="connsiteY615" fmla="*/ 1281693 h 2380521"/>
              <a:gd name="connsiteX616" fmla="*/ 5024842 w 8023328"/>
              <a:gd name="connsiteY616" fmla="*/ 1296482 h 2380521"/>
              <a:gd name="connsiteX617" fmla="*/ 5012445 w 8023328"/>
              <a:gd name="connsiteY617" fmla="*/ 1311271 h 2380521"/>
              <a:gd name="connsiteX618" fmla="*/ 4998589 w 8023328"/>
              <a:gd name="connsiteY618" fmla="*/ 1296482 h 2380521"/>
              <a:gd name="connsiteX619" fmla="*/ 5012445 w 8023328"/>
              <a:gd name="connsiteY619" fmla="*/ 1281693 h 2380521"/>
              <a:gd name="connsiteX620" fmla="*/ 4940157 w 8023328"/>
              <a:gd name="connsiteY620" fmla="*/ 1281693 h 2380521"/>
              <a:gd name="connsiteX621" fmla="*/ 4954013 w 8023328"/>
              <a:gd name="connsiteY621" fmla="*/ 1296482 h 2380521"/>
              <a:gd name="connsiteX622" fmla="*/ 4940157 w 8023328"/>
              <a:gd name="connsiteY622" fmla="*/ 1311271 h 2380521"/>
              <a:gd name="connsiteX623" fmla="*/ 4927760 w 8023328"/>
              <a:gd name="connsiteY623" fmla="*/ 1296482 h 2380521"/>
              <a:gd name="connsiteX624" fmla="*/ 4940157 w 8023328"/>
              <a:gd name="connsiteY624" fmla="*/ 1281693 h 2380521"/>
              <a:gd name="connsiteX625" fmla="*/ 4865953 w 8023328"/>
              <a:gd name="connsiteY625" fmla="*/ 1281693 h 2380521"/>
              <a:gd name="connsiteX626" fmla="*/ 4879809 w 8023328"/>
              <a:gd name="connsiteY626" fmla="*/ 1296482 h 2380521"/>
              <a:gd name="connsiteX627" fmla="*/ 4865953 w 8023328"/>
              <a:gd name="connsiteY627" fmla="*/ 1311271 h 2380521"/>
              <a:gd name="connsiteX628" fmla="*/ 4853556 w 8023328"/>
              <a:gd name="connsiteY628" fmla="*/ 1296482 h 2380521"/>
              <a:gd name="connsiteX629" fmla="*/ 4865953 w 8023328"/>
              <a:gd name="connsiteY629" fmla="*/ 1281693 h 2380521"/>
              <a:gd name="connsiteX630" fmla="*/ 4795122 w 8023328"/>
              <a:gd name="connsiteY630" fmla="*/ 1281693 h 2380521"/>
              <a:gd name="connsiteX631" fmla="*/ 4808978 w 8023328"/>
              <a:gd name="connsiteY631" fmla="*/ 1296482 h 2380521"/>
              <a:gd name="connsiteX632" fmla="*/ 4795122 w 8023328"/>
              <a:gd name="connsiteY632" fmla="*/ 1311271 h 2380521"/>
              <a:gd name="connsiteX633" fmla="*/ 4782725 w 8023328"/>
              <a:gd name="connsiteY633" fmla="*/ 1296482 h 2380521"/>
              <a:gd name="connsiteX634" fmla="*/ 4795122 w 8023328"/>
              <a:gd name="connsiteY634" fmla="*/ 1281693 h 2380521"/>
              <a:gd name="connsiteX635" fmla="*/ 4726684 w 8023328"/>
              <a:gd name="connsiteY635" fmla="*/ 1281693 h 2380521"/>
              <a:gd name="connsiteX636" fmla="*/ 4741472 w 8023328"/>
              <a:gd name="connsiteY636" fmla="*/ 1296482 h 2380521"/>
              <a:gd name="connsiteX637" fmla="*/ 4726684 w 8023328"/>
              <a:gd name="connsiteY637" fmla="*/ 1311271 h 2380521"/>
              <a:gd name="connsiteX638" fmla="*/ 4711896 w 8023328"/>
              <a:gd name="connsiteY638" fmla="*/ 1296482 h 2380521"/>
              <a:gd name="connsiteX639" fmla="*/ 4726684 w 8023328"/>
              <a:gd name="connsiteY639" fmla="*/ 1281693 h 2380521"/>
              <a:gd name="connsiteX640" fmla="*/ 4655853 w 8023328"/>
              <a:gd name="connsiteY640" fmla="*/ 1281693 h 2380521"/>
              <a:gd name="connsiteX641" fmla="*/ 4670642 w 8023328"/>
              <a:gd name="connsiteY641" fmla="*/ 1294090 h 2380521"/>
              <a:gd name="connsiteX642" fmla="*/ 4655853 w 8023328"/>
              <a:gd name="connsiteY642" fmla="*/ 1307946 h 2380521"/>
              <a:gd name="connsiteX643" fmla="*/ 4641064 w 8023328"/>
              <a:gd name="connsiteY643" fmla="*/ 1294090 h 2380521"/>
              <a:gd name="connsiteX644" fmla="*/ 4655853 w 8023328"/>
              <a:gd name="connsiteY644" fmla="*/ 1281693 h 2380521"/>
              <a:gd name="connsiteX645" fmla="*/ 4585023 w 8023328"/>
              <a:gd name="connsiteY645" fmla="*/ 1281693 h 2380521"/>
              <a:gd name="connsiteX646" fmla="*/ 4599811 w 8023328"/>
              <a:gd name="connsiteY646" fmla="*/ 1294090 h 2380521"/>
              <a:gd name="connsiteX647" fmla="*/ 4585023 w 8023328"/>
              <a:gd name="connsiteY647" fmla="*/ 1307946 h 2380521"/>
              <a:gd name="connsiteX648" fmla="*/ 4570235 w 8023328"/>
              <a:gd name="connsiteY648" fmla="*/ 1294090 h 2380521"/>
              <a:gd name="connsiteX649" fmla="*/ 4585023 w 8023328"/>
              <a:gd name="connsiteY649" fmla="*/ 1281693 h 2380521"/>
              <a:gd name="connsiteX650" fmla="*/ 226355 w 8023328"/>
              <a:gd name="connsiteY650" fmla="*/ 1281693 h 2380521"/>
              <a:gd name="connsiteX651" fmla="*/ 238753 w 8023328"/>
              <a:gd name="connsiteY651" fmla="*/ 1296871 h 2380521"/>
              <a:gd name="connsiteX652" fmla="*/ 226355 w 8023328"/>
              <a:gd name="connsiteY652" fmla="*/ 1311291 h 2380521"/>
              <a:gd name="connsiteX653" fmla="*/ 212499 w 8023328"/>
              <a:gd name="connsiteY653" fmla="*/ 1296871 h 2380521"/>
              <a:gd name="connsiteX654" fmla="*/ 226355 w 8023328"/>
              <a:gd name="connsiteY654" fmla="*/ 1281693 h 2380521"/>
              <a:gd name="connsiteX655" fmla="*/ 155522 w 8023328"/>
              <a:gd name="connsiteY655" fmla="*/ 1281693 h 2380521"/>
              <a:gd name="connsiteX656" fmla="*/ 167919 w 8023328"/>
              <a:gd name="connsiteY656" fmla="*/ 1296871 h 2380521"/>
              <a:gd name="connsiteX657" fmla="*/ 155522 w 8023328"/>
              <a:gd name="connsiteY657" fmla="*/ 1311291 h 2380521"/>
              <a:gd name="connsiteX658" fmla="*/ 141666 w 8023328"/>
              <a:gd name="connsiteY658" fmla="*/ 1296871 h 2380521"/>
              <a:gd name="connsiteX659" fmla="*/ 155522 w 8023328"/>
              <a:gd name="connsiteY659" fmla="*/ 1281693 h 2380521"/>
              <a:gd name="connsiteX660" fmla="*/ 83234 w 8023328"/>
              <a:gd name="connsiteY660" fmla="*/ 1281693 h 2380521"/>
              <a:gd name="connsiteX661" fmla="*/ 97090 w 8023328"/>
              <a:gd name="connsiteY661" fmla="*/ 1296871 h 2380521"/>
              <a:gd name="connsiteX662" fmla="*/ 83234 w 8023328"/>
              <a:gd name="connsiteY662" fmla="*/ 1311291 h 2380521"/>
              <a:gd name="connsiteX663" fmla="*/ 70836 w 8023328"/>
              <a:gd name="connsiteY663" fmla="*/ 1296871 h 2380521"/>
              <a:gd name="connsiteX664" fmla="*/ 83234 w 8023328"/>
              <a:gd name="connsiteY664" fmla="*/ 1281693 h 2380521"/>
              <a:gd name="connsiteX665" fmla="*/ 11998 w 8023328"/>
              <a:gd name="connsiteY665" fmla="*/ 1281693 h 2380521"/>
              <a:gd name="connsiteX666" fmla="*/ 26239 w 8023328"/>
              <a:gd name="connsiteY666" fmla="*/ 1296871 h 2380521"/>
              <a:gd name="connsiteX667" fmla="*/ 11998 w 8023328"/>
              <a:gd name="connsiteY667" fmla="*/ 1311291 h 2380521"/>
              <a:gd name="connsiteX668" fmla="*/ 5 w 8023328"/>
              <a:gd name="connsiteY668" fmla="*/ 1296871 h 2380521"/>
              <a:gd name="connsiteX669" fmla="*/ 11998 w 8023328"/>
              <a:gd name="connsiteY669" fmla="*/ 1281693 h 2380521"/>
              <a:gd name="connsiteX670" fmla="*/ 7084322 w 8023328"/>
              <a:gd name="connsiteY670" fmla="*/ 1210863 h 2380521"/>
              <a:gd name="connsiteX671" fmla="*/ 7099111 w 8023328"/>
              <a:gd name="connsiteY671" fmla="*/ 1224719 h 2380521"/>
              <a:gd name="connsiteX672" fmla="*/ 7084322 w 8023328"/>
              <a:gd name="connsiteY672" fmla="*/ 1237116 h 2380521"/>
              <a:gd name="connsiteX673" fmla="*/ 7069533 w 8023328"/>
              <a:gd name="connsiteY673" fmla="*/ 1224719 h 2380521"/>
              <a:gd name="connsiteX674" fmla="*/ 7084322 w 8023328"/>
              <a:gd name="connsiteY674" fmla="*/ 1210863 h 2380521"/>
              <a:gd name="connsiteX675" fmla="*/ 7013492 w 8023328"/>
              <a:gd name="connsiteY675" fmla="*/ 1210863 h 2380521"/>
              <a:gd name="connsiteX676" fmla="*/ 7028280 w 8023328"/>
              <a:gd name="connsiteY676" fmla="*/ 1224719 h 2380521"/>
              <a:gd name="connsiteX677" fmla="*/ 7013492 w 8023328"/>
              <a:gd name="connsiteY677" fmla="*/ 1237116 h 2380521"/>
              <a:gd name="connsiteX678" fmla="*/ 6998704 w 8023328"/>
              <a:gd name="connsiteY678" fmla="*/ 1224719 h 2380521"/>
              <a:gd name="connsiteX679" fmla="*/ 7013492 w 8023328"/>
              <a:gd name="connsiteY679" fmla="*/ 1210863 h 2380521"/>
              <a:gd name="connsiteX680" fmla="*/ 6939085 w 8023328"/>
              <a:gd name="connsiteY680" fmla="*/ 1210863 h 2380521"/>
              <a:gd name="connsiteX681" fmla="*/ 6950753 w 8023328"/>
              <a:gd name="connsiteY681" fmla="*/ 1224719 h 2380521"/>
              <a:gd name="connsiteX682" fmla="*/ 6939085 w 8023328"/>
              <a:gd name="connsiteY682" fmla="*/ 1237116 h 2380521"/>
              <a:gd name="connsiteX683" fmla="*/ 6924500 w 8023328"/>
              <a:gd name="connsiteY683" fmla="*/ 1224719 h 2380521"/>
              <a:gd name="connsiteX684" fmla="*/ 6939085 w 8023328"/>
              <a:gd name="connsiteY684" fmla="*/ 1210863 h 2380521"/>
              <a:gd name="connsiteX685" fmla="*/ 6867525 w 8023328"/>
              <a:gd name="connsiteY685" fmla="*/ 1210863 h 2380521"/>
              <a:gd name="connsiteX686" fmla="*/ 6879922 w 8023328"/>
              <a:gd name="connsiteY686" fmla="*/ 1224719 h 2380521"/>
              <a:gd name="connsiteX687" fmla="*/ 6867525 w 8023328"/>
              <a:gd name="connsiteY687" fmla="*/ 1237116 h 2380521"/>
              <a:gd name="connsiteX688" fmla="*/ 6853669 w 8023328"/>
              <a:gd name="connsiteY688" fmla="*/ 1224719 h 2380521"/>
              <a:gd name="connsiteX689" fmla="*/ 6867525 w 8023328"/>
              <a:gd name="connsiteY689" fmla="*/ 1210863 h 2380521"/>
              <a:gd name="connsiteX690" fmla="*/ 6796696 w 8023328"/>
              <a:gd name="connsiteY690" fmla="*/ 1210863 h 2380521"/>
              <a:gd name="connsiteX691" fmla="*/ 6809093 w 8023328"/>
              <a:gd name="connsiteY691" fmla="*/ 1224719 h 2380521"/>
              <a:gd name="connsiteX692" fmla="*/ 6796696 w 8023328"/>
              <a:gd name="connsiteY692" fmla="*/ 1237116 h 2380521"/>
              <a:gd name="connsiteX693" fmla="*/ 6782840 w 8023328"/>
              <a:gd name="connsiteY693" fmla="*/ 1224719 h 2380521"/>
              <a:gd name="connsiteX694" fmla="*/ 6796696 w 8023328"/>
              <a:gd name="connsiteY694" fmla="*/ 1210863 h 2380521"/>
              <a:gd name="connsiteX695" fmla="*/ 6724405 w 8023328"/>
              <a:gd name="connsiteY695" fmla="*/ 1210863 h 2380521"/>
              <a:gd name="connsiteX696" fmla="*/ 6738261 w 8023328"/>
              <a:gd name="connsiteY696" fmla="*/ 1224719 h 2380521"/>
              <a:gd name="connsiteX697" fmla="*/ 6724405 w 8023328"/>
              <a:gd name="connsiteY697" fmla="*/ 1237116 h 2380521"/>
              <a:gd name="connsiteX698" fmla="*/ 6712008 w 8023328"/>
              <a:gd name="connsiteY698" fmla="*/ 1224719 h 2380521"/>
              <a:gd name="connsiteX699" fmla="*/ 6724405 w 8023328"/>
              <a:gd name="connsiteY699" fmla="*/ 1210863 h 2380521"/>
              <a:gd name="connsiteX700" fmla="*/ 6653576 w 8023328"/>
              <a:gd name="connsiteY700" fmla="*/ 1210863 h 2380521"/>
              <a:gd name="connsiteX701" fmla="*/ 6667432 w 8023328"/>
              <a:gd name="connsiteY701" fmla="*/ 1224719 h 2380521"/>
              <a:gd name="connsiteX702" fmla="*/ 6653576 w 8023328"/>
              <a:gd name="connsiteY702" fmla="*/ 1237116 h 2380521"/>
              <a:gd name="connsiteX703" fmla="*/ 6641179 w 8023328"/>
              <a:gd name="connsiteY703" fmla="*/ 1224719 h 2380521"/>
              <a:gd name="connsiteX704" fmla="*/ 6653576 w 8023328"/>
              <a:gd name="connsiteY704" fmla="*/ 1210863 h 2380521"/>
              <a:gd name="connsiteX705" fmla="*/ 6582745 w 8023328"/>
              <a:gd name="connsiteY705" fmla="*/ 1210863 h 2380521"/>
              <a:gd name="connsiteX706" fmla="*/ 6596601 w 8023328"/>
              <a:gd name="connsiteY706" fmla="*/ 1224719 h 2380521"/>
              <a:gd name="connsiteX707" fmla="*/ 6582745 w 8023328"/>
              <a:gd name="connsiteY707" fmla="*/ 1237116 h 2380521"/>
              <a:gd name="connsiteX708" fmla="*/ 6570348 w 8023328"/>
              <a:gd name="connsiteY708" fmla="*/ 1224719 h 2380521"/>
              <a:gd name="connsiteX709" fmla="*/ 6582745 w 8023328"/>
              <a:gd name="connsiteY709" fmla="*/ 1210863 h 2380521"/>
              <a:gd name="connsiteX710" fmla="*/ 6510933 w 8023328"/>
              <a:gd name="connsiteY710" fmla="*/ 1210863 h 2380521"/>
              <a:gd name="connsiteX711" fmla="*/ 6525722 w 8023328"/>
              <a:gd name="connsiteY711" fmla="*/ 1224719 h 2380521"/>
              <a:gd name="connsiteX712" fmla="*/ 6510933 w 8023328"/>
              <a:gd name="connsiteY712" fmla="*/ 1237116 h 2380521"/>
              <a:gd name="connsiteX713" fmla="*/ 6496144 w 8023328"/>
              <a:gd name="connsiteY713" fmla="*/ 1224719 h 2380521"/>
              <a:gd name="connsiteX714" fmla="*/ 6510933 w 8023328"/>
              <a:gd name="connsiteY714" fmla="*/ 1210863 h 2380521"/>
              <a:gd name="connsiteX715" fmla="*/ 6440492 w 8023328"/>
              <a:gd name="connsiteY715" fmla="*/ 1210863 h 2380521"/>
              <a:gd name="connsiteX716" fmla="*/ 6454911 w 8023328"/>
              <a:gd name="connsiteY716" fmla="*/ 1224719 h 2380521"/>
              <a:gd name="connsiteX717" fmla="*/ 6440492 w 8023328"/>
              <a:gd name="connsiteY717" fmla="*/ 1237116 h 2380521"/>
              <a:gd name="connsiteX718" fmla="*/ 6425315 w 8023328"/>
              <a:gd name="connsiteY718" fmla="*/ 1224719 h 2380521"/>
              <a:gd name="connsiteX719" fmla="*/ 6440492 w 8023328"/>
              <a:gd name="connsiteY719" fmla="*/ 1210863 h 2380521"/>
              <a:gd name="connsiteX720" fmla="*/ 6368340 w 8023328"/>
              <a:gd name="connsiteY720" fmla="*/ 1210863 h 2380521"/>
              <a:gd name="connsiteX721" fmla="*/ 6380737 w 8023328"/>
              <a:gd name="connsiteY721" fmla="*/ 1224719 h 2380521"/>
              <a:gd name="connsiteX722" fmla="*/ 6368340 w 8023328"/>
              <a:gd name="connsiteY722" fmla="*/ 1237116 h 2380521"/>
              <a:gd name="connsiteX723" fmla="*/ 6354484 w 8023328"/>
              <a:gd name="connsiteY723" fmla="*/ 1224719 h 2380521"/>
              <a:gd name="connsiteX724" fmla="*/ 6368340 w 8023328"/>
              <a:gd name="connsiteY724" fmla="*/ 1210863 h 2380521"/>
              <a:gd name="connsiteX725" fmla="*/ 6297511 w 8023328"/>
              <a:gd name="connsiteY725" fmla="*/ 1210863 h 2380521"/>
              <a:gd name="connsiteX726" fmla="*/ 6309908 w 8023328"/>
              <a:gd name="connsiteY726" fmla="*/ 1224719 h 2380521"/>
              <a:gd name="connsiteX727" fmla="*/ 6297511 w 8023328"/>
              <a:gd name="connsiteY727" fmla="*/ 1237116 h 2380521"/>
              <a:gd name="connsiteX728" fmla="*/ 6283655 w 8023328"/>
              <a:gd name="connsiteY728" fmla="*/ 1224719 h 2380521"/>
              <a:gd name="connsiteX729" fmla="*/ 6297511 w 8023328"/>
              <a:gd name="connsiteY729" fmla="*/ 1210863 h 2380521"/>
              <a:gd name="connsiteX730" fmla="*/ 6226679 w 8023328"/>
              <a:gd name="connsiteY730" fmla="*/ 1210863 h 2380521"/>
              <a:gd name="connsiteX731" fmla="*/ 6239076 w 8023328"/>
              <a:gd name="connsiteY731" fmla="*/ 1224719 h 2380521"/>
              <a:gd name="connsiteX732" fmla="*/ 6226679 w 8023328"/>
              <a:gd name="connsiteY732" fmla="*/ 1237116 h 2380521"/>
              <a:gd name="connsiteX733" fmla="*/ 6212823 w 8023328"/>
              <a:gd name="connsiteY733" fmla="*/ 1224719 h 2380521"/>
              <a:gd name="connsiteX734" fmla="*/ 6226679 w 8023328"/>
              <a:gd name="connsiteY734" fmla="*/ 1210863 h 2380521"/>
              <a:gd name="connsiteX735" fmla="*/ 6154391 w 8023328"/>
              <a:gd name="connsiteY735" fmla="*/ 1210863 h 2380521"/>
              <a:gd name="connsiteX736" fmla="*/ 6168247 w 8023328"/>
              <a:gd name="connsiteY736" fmla="*/ 1224719 h 2380521"/>
              <a:gd name="connsiteX737" fmla="*/ 6154391 w 8023328"/>
              <a:gd name="connsiteY737" fmla="*/ 1237116 h 2380521"/>
              <a:gd name="connsiteX738" fmla="*/ 6141994 w 8023328"/>
              <a:gd name="connsiteY738" fmla="*/ 1224719 h 2380521"/>
              <a:gd name="connsiteX739" fmla="*/ 6154391 w 8023328"/>
              <a:gd name="connsiteY739" fmla="*/ 1210863 h 2380521"/>
              <a:gd name="connsiteX740" fmla="*/ 6083559 w 8023328"/>
              <a:gd name="connsiteY740" fmla="*/ 1210863 h 2380521"/>
              <a:gd name="connsiteX741" fmla="*/ 6097415 w 8023328"/>
              <a:gd name="connsiteY741" fmla="*/ 1224719 h 2380521"/>
              <a:gd name="connsiteX742" fmla="*/ 6083559 w 8023328"/>
              <a:gd name="connsiteY742" fmla="*/ 1237116 h 2380521"/>
              <a:gd name="connsiteX743" fmla="*/ 6071162 w 8023328"/>
              <a:gd name="connsiteY743" fmla="*/ 1224719 h 2380521"/>
              <a:gd name="connsiteX744" fmla="*/ 6083559 w 8023328"/>
              <a:gd name="connsiteY744" fmla="*/ 1210863 h 2380521"/>
              <a:gd name="connsiteX745" fmla="*/ 6009356 w 8023328"/>
              <a:gd name="connsiteY745" fmla="*/ 1210863 h 2380521"/>
              <a:gd name="connsiteX746" fmla="*/ 6023212 w 8023328"/>
              <a:gd name="connsiteY746" fmla="*/ 1224719 h 2380521"/>
              <a:gd name="connsiteX747" fmla="*/ 6009356 w 8023328"/>
              <a:gd name="connsiteY747" fmla="*/ 1237116 h 2380521"/>
              <a:gd name="connsiteX748" fmla="*/ 5996959 w 8023328"/>
              <a:gd name="connsiteY748" fmla="*/ 1224719 h 2380521"/>
              <a:gd name="connsiteX749" fmla="*/ 6009356 w 8023328"/>
              <a:gd name="connsiteY749" fmla="*/ 1210863 h 2380521"/>
              <a:gd name="connsiteX750" fmla="*/ 5940548 w 8023328"/>
              <a:gd name="connsiteY750" fmla="*/ 1210863 h 2380521"/>
              <a:gd name="connsiteX751" fmla="*/ 5955726 w 8023328"/>
              <a:gd name="connsiteY751" fmla="*/ 1224719 h 2380521"/>
              <a:gd name="connsiteX752" fmla="*/ 5940548 w 8023328"/>
              <a:gd name="connsiteY752" fmla="*/ 1237116 h 2380521"/>
              <a:gd name="connsiteX753" fmla="*/ 5926130 w 8023328"/>
              <a:gd name="connsiteY753" fmla="*/ 1224719 h 2380521"/>
              <a:gd name="connsiteX754" fmla="*/ 5940548 w 8023328"/>
              <a:gd name="connsiteY754" fmla="*/ 1210863 h 2380521"/>
              <a:gd name="connsiteX755" fmla="*/ 5870088 w 8023328"/>
              <a:gd name="connsiteY755" fmla="*/ 1210863 h 2380521"/>
              <a:gd name="connsiteX756" fmla="*/ 5884877 w 8023328"/>
              <a:gd name="connsiteY756" fmla="*/ 1224719 h 2380521"/>
              <a:gd name="connsiteX757" fmla="*/ 5870088 w 8023328"/>
              <a:gd name="connsiteY757" fmla="*/ 1237116 h 2380521"/>
              <a:gd name="connsiteX758" fmla="*/ 5855299 w 8023328"/>
              <a:gd name="connsiteY758" fmla="*/ 1224719 h 2380521"/>
              <a:gd name="connsiteX759" fmla="*/ 5870088 w 8023328"/>
              <a:gd name="connsiteY759" fmla="*/ 1210863 h 2380521"/>
              <a:gd name="connsiteX760" fmla="*/ 5799257 w 8023328"/>
              <a:gd name="connsiteY760" fmla="*/ 1210863 h 2380521"/>
              <a:gd name="connsiteX761" fmla="*/ 5814045 w 8023328"/>
              <a:gd name="connsiteY761" fmla="*/ 1224719 h 2380521"/>
              <a:gd name="connsiteX762" fmla="*/ 5799257 w 8023328"/>
              <a:gd name="connsiteY762" fmla="*/ 1237116 h 2380521"/>
              <a:gd name="connsiteX763" fmla="*/ 5784469 w 8023328"/>
              <a:gd name="connsiteY763" fmla="*/ 1224719 h 2380521"/>
              <a:gd name="connsiteX764" fmla="*/ 5799257 w 8023328"/>
              <a:gd name="connsiteY764" fmla="*/ 1210863 h 2380521"/>
              <a:gd name="connsiteX765" fmla="*/ 5724122 w 8023328"/>
              <a:gd name="connsiteY765" fmla="*/ 1210863 h 2380521"/>
              <a:gd name="connsiteX766" fmla="*/ 5736519 w 8023328"/>
              <a:gd name="connsiteY766" fmla="*/ 1225651 h 2380521"/>
              <a:gd name="connsiteX767" fmla="*/ 5724122 w 8023328"/>
              <a:gd name="connsiteY767" fmla="*/ 1240439 h 2380521"/>
              <a:gd name="connsiteX768" fmla="*/ 5710266 w 8023328"/>
              <a:gd name="connsiteY768" fmla="*/ 1225651 h 2380521"/>
              <a:gd name="connsiteX769" fmla="*/ 5724122 w 8023328"/>
              <a:gd name="connsiteY769" fmla="*/ 1210863 h 2380521"/>
              <a:gd name="connsiteX770" fmla="*/ 5653291 w 8023328"/>
              <a:gd name="connsiteY770" fmla="*/ 1210863 h 2380521"/>
              <a:gd name="connsiteX771" fmla="*/ 5665688 w 8023328"/>
              <a:gd name="connsiteY771" fmla="*/ 1225651 h 2380521"/>
              <a:gd name="connsiteX772" fmla="*/ 5653291 w 8023328"/>
              <a:gd name="connsiteY772" fmla="*/ 1240439 h 2380521"/>
              <a:gd name="connsiteX773" fmla="*/ 5639435 w 8023328"/>
              <a:gd name="connsiteY773" fmla="*/ 1225651 h 2380521"/>
              <a:gd name="connsiteX774" fmla="*/ 5653291 w 8023328"/>
              <a:gd name="connsiteY774" fmla="*/ 1210863 h 2380521"/>
              <a:gd name="connsiteX775" fmla="*/ 5582461 w 8023328"/>
              <a:gd name="connsiteY775" fmla="*/ 1210863 h 2380521"/>
              <a:gd name="connsiteX776" fmla="*/ 5594858 w 8023328"/>
              <a:gd name="connsiteY776" fmla="*/ 1225651 h 2380521"/>
              <a:gd name="connsiteX777" fmla="*/ 5582461 w 8023328"/>
              <a:gd name="connsiteY777" fmla="*/ 1240439 h 2380521"/>
              <a:gd name="connsiteX778" fmla="*/ 5568605 w 8023328"/>
              <a:gd name="connsiteY778" fmla="*/ 1225651 h 2380521"/>
              <a:gd name="connsiteX779" fmla="*/ 5582461 w 8023328"/>
              <a:gd name="connsiteY779" fmla="*/ 1210863 h 2380521"/>
              <a:gd name="connsiteX780" fmla="*/ 5510171 w 8023328"/>
              <a:gd name="connsiteY780" fmla="*/ 1210863 h 2380521"/>
              <a:gd name="connsiteX781" fmla="*/ 5524027 w 8023328"/>
              <a:gd name="connsiteY781" fmla="*/ 1225651 h 2380521"/>
              <a:gd name="connsiteX782" fmla="*/ 5510171 w 8023328"/>
              <a:gd name="connsiteY782" fmla="*/ 1240439 h 2380521"/>
              <a:gd name="connsiteX783" fmla="*/ 5497774 w 8023328"/>
              <a:gd name="connsiteY783" fmla="*/ 1225651 h 2380521"/>
              <a:gd name="connsiteX784" fmla="*/ 5510171 w 8023328"/>
              <a:gd name="connsiteY784" fmla="*/ 1210863 h 2380521"/>
              <a:gd name="connsiteX785" fmla="*/ 5438937 w 8023328"/>
              <a:gd name="connsiteY785" fmla="*/ 1210863 h 2380521"/>
              <a:gd name="connsiteX786" fmla="*/ 5453178 w 8023328"/>
              <a:gd name="connsiteY786" fmla="*/ 1225651 h 2380521"/>
              <a:gd name="connsiteX787" fmla="*/ 5438937 w 8023328"/>
              <a:gd name="connsiteY787" fmla="*/ 1240439 h 2380521"/>
              <a:gd name="connsiteX788" fmla="*/ 5426945 w 8023328"/>
              <a:gd name="connsiteY788" fmla="*/ 1225651 h 2380521"/>
              <a:gd name="connsiteX789" fmla="*/ 5438937 w 8023328"/>
              <a:gd name="connsiteY789" fmla="*/ 1210863 h 2380521"/>
              <a:gd name="connsiteX790" fmla="*/ 5367530 w 8023328"/>
              <a:gd name="connsiteY790" fmla="*/ 1210863 h 2380521"/>
              <a:gd name="connsiteX791" fmla="*/ 5382318 w 8023328"/>
              <a:gd name="connsiteY791" fmla="*/ 1225651 h 2380521"/>
              <a:gd name="connsiteX792" fmla="*/ 5367530 w 8023328"/>
              <a:gd name="connsiteY792" fmla="*/ 1240439 h 2380521"/>
              <a:gd name="connsiteX793" fmla="*/ 5352742 w 8023328"/>
              <a:gd name="connsiteY793" fmla="*/ 1225651 h 2380521"/>
              <a:gd name="connsiteX794" fmla="*/ 5367530 w 8023328"/>
              <a:gd name="connsiteY794" fmla="*/ 1210863 h 2380521"/>
              <a:gd name="connsiteX795" fmla="*/ 5296699 w 8023328"/>
              <a:gd name="connsiteY795" fmla="*/ 1210863 h 2380521"/>
              <a:gd name="connsiteX796" fmla="*/ 5311488 w 8023328"/>
              <a:gd name="connsiteY796" fmla="*/ 1225651 h 2380521"/>
              <a:gd name="connsiteX797" fmla="*/ 5296699 w 8023328"/>
              <a:gd name="connsiteY797" fmla="*/ 1240439 h 2380521"/>
              <a:gd name="connsiteX798" fmla="*/ 5281910 w 8023328"/>
              <a:gd name="connsiteY798" fmla="*/ 1225651 h 2380521"/>
              <a:gd name="connsiteX799" fmla="*/ 5296699 w 8023328"/>
              <a:gd name="connsiteY799" fmla="*/ 1210863 h 2380521"/>
              <a:gd name="connsiteX800" fmla="*/ 5225869 w 8023328"/>
              <a:gd name="connsiteY800" fmla="*/ 1210863 h 2380521"/>
              <a:gd name="connsiteX801" fmla="*/ 5240657 w 8023328"/>
              <a:gd name="connsiteY801" fmla="*/ 1225651 h 2380521"/>
              <a:gd name="connsiteX802" fmla="*/ 5225869 w 8023328"/>
              <a:gd name="connsiteY802" fmla="*/ 1240439 h 2380521"/>
              <a:gd name="connsiteX803" fmla="*/ 5211081 w 8023328"/>
              <a:gd name="connsiteY803" fmla="*/ 1225651 h 2380521"/>
              <a:gd name="connsiteX804" fmla="*/ 5225869 w 8023328"/>
              <a:gd name="connsiteY804" fmla="*/ 1210863 h 2380521"/>
              <a:gd name="connsiteX805" fmla="*/ 5154105 w 8023328"/>
              <a:gd name="connsiteY805" fmla="*/ 1210863 h 2380521"/>
              <a:gd name="connsiteX806" fmla="*/ 5166502 w 8023328"/>
              <a:gd name="connsiteY806" fmla="*/ 1225651 h 2380521"/>
              <a:gd name="connsiteX807" fmla="*/ 5154105 w 8023328"/>
              <a:gd name="connsiteY807" fmla="*/ 1240439 h 2380521"/>
              <a:gd name="connsiteX808" fmla="*/ 5140249 w 8023328"/>
              <a:gd name="connsiteY808" fmla="*/ 1225651 h 2380521"/>
              <a:gd name="connsiteX809" fmla="*/ 5154105 w 8023328"/>
              <a:gd name="connsiteY809" fmla="*/ 1210863 h 2380521"/>
              <a:gd name="connsiteX810" fmla="*/ 5083276 w 8023328"/>
              <a:gd name="connsiteY810" fmla="*/ 1210863 h 2380521"/>
              <a:gd name="connsiteX811" fmla="*/ 5095673 w 8023328"/>
              <a:gd name="connsiteY811" fmla="*/ 1225651 h 2380521"/>
              <a:gd name="connsiteX812" fmla="*/ 5083276 w 8023328"/>
              <a:gd name="connsiteY812" fmla="*/ 1240439 h 2380521"/>
              <a:gd name="connsiteX813" fmla="*/ 5069420 w 8023328"/>
              <a:gd name="connsiteY813" fmla="*/ 1225651 h 2380521"/>
              <a:gd name="connsiteX814" fmla="*/ 5083276 w 8023328"/>
              <a:gd name="connsiteY814" fmla="*/ 1210863 h 2380521"/>
              <a:gd name="connsiteX815" fmla="*/ 5012445 w 8023328"/>
              <a:gd name="connsiteY815" fmla="*/ 1210863 h 2380521"/>
              <a:gd name="connsiteX816" fmla="*/ 5024842 w 8023328"/>
              <a:gd name="connsiteY816" fmla="*/ 1225651 h 2380521"/>
              <a:gd name="connsiteX817" fmla="*/ 5012445 w 8023328"/>
              <a:gd name="connsiteY817" fmla="*/ 1240439 h 2380521"/>
              <a:gd name="connsiteX818" fmla="*/ 4998589 w 8023328"/>
              <a:gd name="connsiteY818" fmla="*/ 1225651 h 2380521"/>
              <a:gd name="connsiteX819" fmla="*/ 5012445 w 8023328"/>
              <a:gd name="connsiteY819" fmla="*/ 1210863 h 2380521"/>
              <a:gd name="connsiteX820" fmla="*/ 4940157 w 8023328"/>
              <a:gd name="connsiteY820" fmla="*/ 1210863 h 2380521"/>
              <a:gd name="connsiteX821" fmla="*/ 4954013 w 8023328"/>
              <a:gd name="connsiteY821" fmla="*/ 1225651 h 2380521"/>
              <a:gd name="connsiteX822" fmla="*/ 4940157 w 8023328"/>
              <a:gd name="connsiteY822" fmla="*/ 1240439 h 2380521"/>
              <a:gd name="connsiteX823" fmla="*/ 4927760 w 8023328"/>
              <a:gd name="connsiteY823" fmla="*/ 1225651 h 2380521"/>
              <a:gd name="connsiteX824" fmla="*/ 4940157 w 8023328"/>
              <a:gd name="connsiteY824" fmla="*/ 1210863 h 2380521"/>
              <a:gd name="connsiteX825" fmla="*/ 4865953 w 8023328"/>
              <a:gd name="connsiteY825" fmla="*/ 1210863 h 2380521"/>
              <a:gd name="connsiteX826" fmla="*/ 4879809 w 8023328"/>
              <a:gd name="connsiteY826" fmla="*/ 1225651 h 2380521"/>
              <a:gd name="connsiteX827" fmla="*/ 4865953 w 8023328"/>
              <a:gd name="connsiteY827" fmla="*/ 1240439 h 2380521"/>
              <a:gd name="connsiteX828" fmla="*/ 4853556 w 8023328"/>
              <a:gd name="connsiteY828" fmla="*/ 1225651 h 2380521"/>
              <a:gd name="connsiteX829" fmla="*/ 4865953 w 8023328"/>
              <a:gd name="connsiteY829" fmla="*/ 1210863 h 2380521"/>
              <a:gd name="connsiteX830" fmla="*/ 4795122 w 8023328"/>
              <a:gd name="connsiteY830" fmla="*/ 1210863 h 2380521"/>
              <a:gd name="connsiteX831" fmla="*/ 4808978 w 8023328"/>
              <a:gd name="connsiteY831" fmla="*/ 1225651 h 2380521"/>
              <a:gd name="connsiteX832" fmla="*/ 4795122 w 8023328"/>
              <a:gd name="connsiteY832" fmla="*/ 1240439 h 2380521"/>
              <a:gd name="connsiteX833" fmla="*/ 4782725 w 8023328"/>
              <a:gd name="connsiteY833" fmla="*/ 1225651 h 2380521"/>
              <a:gd name="connsiteX834" fmla="*/ 4795122 w 8023328"/>
              <a:gd name="connsiteY834" fmla="*/ 1210863 h 2380521"/>
              <a:gd name="connsiteX835" fmla="*/ 4726684 w 8023328"/>
              <a:gd name="connsiteY835" fmla="*/ 1210863 h 2380521"/>
              <a:gd name="connsiteX836" fmla="*/ 4741472 w 8023328"/>
              <a:gd name="connsiteY836" fmla="*/ 1225651 h 2380521"/>
              <a:gd name="connsiteX837" fmla="*/ 4726684 w 8023328"/>
              <a:gd name="connsiteY837" fmla="*/ 1240439 h 2380521"/>
              <a:gd name="connsiteX838" fmla="*/ 4711896 w 8023328"/>
              <a:gd name="connsiteY838" fmla="*/ 1225651 h 2380521"/>
              <a:gd name="connsiteX839" fmla="*/ 4726684 w 8023328"/>
              <a:gd name="connsiteY839" fmla="*/ 1210863 h 2380521"/>
              <a:gd name="connsiteX840" fmla="*/ 4655853 w 8023328"/>
              <a:gd name="connsiteY840" fmla="*/ 1210863 h 2380521"/>
              <a:gd name="connsiteX841" fmla="*/ 4670642 w 8023328"/>
              <a:gd name="connsiteY841" fmla="*/ 1225651 h 2380521"/>
              <a:gd name="connsiteX842" fmla="*/ 4655853 w 8023328"/>
              <a:gd name="connsiteY842" fmla="*/ 1240439 h 2380521"/>
              <a:gd name="connsiteX843" fmla="*/ 4641064 w 8023328"/>
              <a:gd name="connsiteY843" fmla="*/ 1225651 h 2380521"/>
              <a:gd name="connsiteX844" fmla="*/ 4655853 w 8023328"/>
              <a:gd name="connsiteY844" fmla="*/ 1210863 h 2380521"/>
              <a:gd name="connsiteX845" fmla="*/ 4585023 w 8023328"/>
              <a:gd name="connsiteY845" fmla="*/ 1210863 h 2380521"/>
              <a:gd name="connsiteX846" fmla="*/ 4599811 w 8023328"/>
              <a:gd name="connsiteY846" fmla="*/ 1225651 h 2380521"/>
              <a:gd name="connsiteX847" fmla="*/ 4585023 w 8023328"/>
              <a:gd name="connsiteY847" fmla="*/ 1240439 h 2380521"/>
              <a:gd name="connsiteX848" fmla="*/ 4570235 w 8023328"/>
              <a:gd name="connsiteY848" fmla="*/ 1225651 h 2380521"/>
              <a:gd name="connsiteX849" fmla="*/ 4585023 w 8023328"/>
              <a:gd name="connsiteY849" fmla="*/ 1210863 h 2380521"/>
              <a:gd name="connsiteX850" fmla="*/ 4513260 w 8023328"/>
              <a:gd name="connsiteY850" fmla="*/ 1210863 h 2380521"/>
              <a:gd name="connsiteX851" fmla="*/ 4525657 w 8023328"/>
              <a:gd name="connsiteY851" fmla="*/ 1225651 h 2380521"/>
              <a:gd name="connsiteX852" fmla="*/ 4513260 w 8023328"/>
              <a:gd name="connsiteY852" fmla="*/ 1240439 h 2380521"/>
              <a:gd name="connsiteX853" fmla="*/ 4499404 w 8023328"/>
              <a:gd name="connsiteY853" fmla="*/ 1225651 h 2380521"/>
              <a:gd name="connsiteX854" fmla="*/ 4513260 w 8023328"/>
              <a:gd name="connsiteY854" fmla="*/ 1210863 h 2380521"/>
              <a:gd name="connsiteX855" fmla="*/ 4439056 w 8023328"/>
              <a:gd name="connsiteY855" fmla="*/ 1210863 h 2380521"/>
              <a:gd name="connsiteX856" fmla="*/ 4451453 w 8023328"/>
              <a:gd name="connsiteY856" fmla="*/ 1225651 h 2380521"/>
              <a:gd name="connsiteX857" fmla="*/ 4439056 w 8023328"/>
              <a:gd name="connsiteY857" fmla="*/ 1240439 h 2380521"/>
              <a:gd name="connsiteX858" fmla="*/ 4425200 w 8023328"/>
              <a:gd name="connsiteY858" fmla="*/ 1225651 h 2380521"/>
              <a:gd name="connsiteX859" fmla="*/ 4439056 w 8023328"/>
              <a:gd name="connsiteY859" fmla="*/ 1210863 h 2380521"/>
              <a:gd name="connsiteX860" fmla="*/ 4366768 w 8023328"/>
              <a:gd name="connsiteY860" fmla="*/ 1210863 h 2380521"/>
              <a:gd name="connsiteX861" fmla="*/ 4380624 w 8023328"/>
              <a:gd name="connsiteY861" fmla="*/ 1225651 h 2380521"/>
              <a:gd name="connsiteX862" fmla="*/ 4366768 w 8023328"/>
              <a:gd name="connsiteY862" fmla="*/ 1240439 h 2380521"/>
              <a:gd name="connsiteX863" fmla="*/ 4354371 w 8023328"/>
              <a:gd name="connsiteY863" fmla="*/ 1225651 h 2380521"/>
              <a:gd name="connsiteX864" fmla="*/ 4366768 w 8023328"/>
              <a:gd name="connsiteY864" fmla="*/ 1210863 h 2380521"/>
              <a:gd name="connsiteX865" fmla="*/ 4295937 w 8023328"/>
              <a:gd name="connsiteY865" fmla="*/ 1210863 h 2380521"/>
              <a:gd name="connsiteX866" fmla="*/ 4309793 w 8023328"/>
              <a:gd name="connsiteY866" fmla="*/ 1225651 h 2380521"/>
              <a:gd name="connsiteX867" fmla="*/ 4295937 w 8023328"/>
              <a:gd name="connsiteY867" fmla="*/ 1240439 h 2380521"/>
              <a:gd name="connsiteX868" fmla="*/ 4283540 w 8023328"/>
              <a:gd name="connsiteY868" fmla="*/ 1225651 h 2380521"/>
              <a:gd name="connsiteX869" fmla="*/ 4295937 w 8023328"/>
              <a:gd name="connsiteY869" fmla="*/ 1210863 h 2380521"/>
              <a:gd name="connsiteX870" fmla="*/ 368953 w 8023328"/>
              <a:gd name="connsiteY870" fmla="*/ 1210863 h 2380521"/>
              <a:gd name="connsiteX871" fmla="*/ 383742 w 8023328"/>
              <a:gd name="connsiteY871" fmla="*/ 1225651 h 2380521"/>
              <a:gd name="connsiteX872" fmla="*/ 368953 w 8023328"/>
              <a:gd name="connsiteY872" fmla="*/ 1240439 h 2380521"/>
              <a:gd name="connsiteX873" fmla="*/ 354165 w 8023328"/>
              <a:gd name="connsiteY873" fmla="*/ 1225651 h 2380521"/>
              <a:gd name="connsiteX874" fmla="*/ 368953 w 8023328"/>
              <a:gd name="connsiteY874" fmla="*/ 1210863 h 2380521"/>
              <a:gd name="connsiteX875" fmla="*/ 297189 w 8023328"/>
              <a:gd name="connsiteY875" fmla="*/ 1210863 h 2380521"/>
              <a:gd name="connsiteX876" fmla="*/ 309586 w 8023328"/>
              <a:gd name="connsiteY876" fmla="*/ 1225651 h 2380521"/>
              <a:gd name="connsiteX877" fmla="*/ 297189 w 8023328"/>
              <a:gd name="connsiteY877" fmla="*/ 1240439 h 2380521"/>
              <a:gd name="connsiteX878" fmla="*/ 283334 w 8023328"/>
              <a:gd name="connsiteY878" fmla="*/ 1225651 h 2380521"/>
              <a:gd name="connsiteX879" fmla="*/ 297189 w 8023328"/>
              <a:gd name="connsiteY879" fmla="*/ 1210863 h 2380521"/>
              <a:gd name="connsiteX880" fmla="*/ 226361 w 8023328"/>
              <a:gd name="connsiteY880" fmla="*/ 1210863 h 2380521"/>
              <a:gd name="connsiteX881" fmla="*/ 238759 w 8023328"/>
              <a:gd name="connsiteY881" fmla="*/ 1225651 h 2380521"/>
              <a:gd name="connsiteX882" fmla="*/ 226361 w 8023328"/>
              <a:gd name="connsiteY882" fmla="*/ 1240439 h 2380521"/>
              <a:gd name="connsiteX883" fmla="*/ 212504 w 8023328"/>
              <a:gd name="connsiteY883" fmla="*/ 1225651 h 2380521"/>
              <a:gd name="connsiteX884" fmla="*/ 226361 w 8023328"/>
              <a:gd name="connsiteY884" fmla="*/ 1210863 h 2380521"/>
              <a:gd name="connsiteX885" fmla="*/ 155527 w 8023328"/>
              <a:gd name="connsiteY885" fmla="*/ 1210863 h 2380521"/>
              <a:gd name="connsiteX886" fmla="*/ 167924 w 8023328"/>
              <a:gd name="connsiteY886" fmla="*/ 1225651 h 2380521"/>
              <a:gd name="connsiteX887" fmla="*/ 155527 w 8023328"/>
              <a:gd name="connsiteY887" fmla="*/ 1240439 h 2380521"/>
              <a:gd name="connsiteX888" fmla="*/ 141671 w 8023328"/>
              <a:gd name="connsiteY888" fmla="*/ 1225651 h 2380521"/>
              <a:gd name="connsiteX889" fmla="*/ 155527 w 8023328"/>
              <a:gd name="connsiteY889" fmla="*/ 1210863 h 2380521"/>
              <a:gd name="connsiteX890" fmla="*/ 83239 w 8023328"/>
              <a:gd name="connsiteY890" fmla="*/ 1210863 h 2380521"/>
              <a:gd name="connsiteX891" fmla="*/ 97095 w 8023328"/>
              <a:gd name="connsiteY891" fmla="*/ 1225651 h 2380521"/>
              <a:gd name="connsiteX892" fmla="*/ 83239 w 8023328"/>
              <a:gd name="connsiteY892" fmla="*/ 1240439 h 2380521"/>
              <a:gd name="connsiteX893" fmla="*/ 70841 w 8023328"/>
              <a:gd name="connsiteY893" fmla="*/ 1225651 h 2380521"/>
              <a:gd name="connsiteX894" fmla="*/ 83239 w 8023328"/>
              <a:gd name="connsiteY894" fmla="*/ 1210863 h 2380521"/>
              <a:gd name="connsiteX895" fmla="*/ 12003 w 8023328"/>
              <a:gd name="connsiteY895" fmla="*/ 1210863 h 2380521"/>
              <a:gd name="connsiteX896" fmla="*/ 26244 w 8023328"/>
              <a:gd name="connsiteY896" fmla="*/ 1225651 h 2380521"/>
              <a:gd name="connsiteX897" fmla="*/ 12003 w 8023328"/>
              <a:gd name="connsiteY897" fmla="*/ 1240439 h 2380521"/>
              <a:gd name="connsiteX898" fmla="*/ 10 w 8023328"/>
              <a:gd name="connsiteY898" fmla="*/ 1225651 h 2380521"/>
              <a:gd name="connsiteX899" fmla="*/ 12003 w 8023328"/>
              <a:gd name="connsiteY899" fmla="*/ 1210863 h 2380521"/>
              <a:gd name="connsiteX900" fmla="*/ 7013492 w 8023328"/>
              <a:gd name="connsiteY900" fmla="*/ 1140032 h 2380521"/>
              <a:gd name="connsiteX901" fmla="*/ 7028280 w 8023328"/>
              <a:gd name="connsiteY901" fmla="*/ 1152429 h 2380521"/>
              <a:gd name="connsiteX902" fmla="*/ 7013492 w 8023328"/>
              <a:gd name="connsiteY902" fmla="*/ 1166286 h 2380521"/>
              <a:gd name="connsiteX903" fmla="*/ 6998704 w 8023328"/>
              <a:gd name="connsiteY903" fmla="*/ 1152429 h 2380521"/>
              <a:gd name="connsiteX904" fmla="*/ 7013492 w 8023328"/>
              <a:gd name="connsiteY904" fmla="*/ 1140032 h 2380521"/>
              <a:gd name="connsiteX905" fmla="*/ 6939085 w 8023328"/>
              <a:gd name="connsiteY905" fmla="*/ 1140032 h 2380521"/>
              <a:gd name="connsiteX906" fmla="*/ 6950753 w 8023328"/>
              <a:gd name="connsiteY906" fmla="*/ 1152429 h 2380521"/>
              <a:gd name="connsiteX907" fmla="*/ 6939085 w 8023328"/>
              <a:gd name="connsiteY907" fmla="*/ 1166286 h 2380521"/>
              <a:gd name="connsiteX908" fmla="*/ 6924500 w 8023328"/>
              <a:gd name="connsiteY908" fmla="*/ 1152429 h 2380521"/>
              <a:gd name="connsiteX909" fmla="*/ 6939085 w 8023328"/>
              <a:gd name="connsiteY909" fmla="*/ 1140032 h 2380521"/>
              <a:gd name="connsiteX910" fmla="*/ 6867525 w 8023328"/>
              <a:gd name="connsiteY910" fmla="*/ 1140032 h 2380521"/>
              <a:gd name="connsiteX911" fmla="*/ 6879922 w 8023328"/>
              <a:gd name="connsiteY911" fmla="*/ 1153888 h 2380521"/>
              <a:gd name="connsiteX912" fmla="*/ 6867525 w 8023328"/>
              <a:gd name="connsiteY912" fmla="*/ 1166286 h 2380521"/>
              <a:gd name="connsiteX913" fmla="*/ 6853669 w 8023328"/>
              <a:gd name="connsiteY913" fmla="*/ 1153888 h 2380521"/>
              <a:gd name="connsiteX914" fmla="*/ 6867525 w 8023328"/>
              <a:gd name="connsiteY914" fmla="*/ 1140032 h 2380521"/>
              <a:gd name="connsiteX915" fmla="*/ 6796696 w 8023328"/>
              <a:gd name="connsiteY915" fmla="*/ 1140032 h 2380521"/>
              <a:gd name="connsiteX916" fmla="*/ 6809093 w 8023328"/>
              <a:gd name="connsiteY916" fmla="*/ 1153888 h 2380521"/>
              <a:gd name="connsiteX917" fmla="*/ 6796696 w 8023328"/>
              <a:gd name="connsiteY917" fmla="*/ 1166286 h 2380521"/>
              <a:gd name="connsiteX918" fmla="*/ 6782840 w 8023328"/>
              <a:gd name="connsiteY918" fmla="*/ 1153888 h 2380521"/>
              <a:gd name="connsiteX919" fmla="*/ 6796696 w 8023328"/>
              <a:gd name="connsiteY919" fmla="*/ 1140032 h 2380521"/>
              <a:gd name="connsiteX920" fmla="*/ 6724405 w 8023328"/>
              <a:gd name="connsiteY920" fmla="*/ 1140032 h 2380521"/>
              <a:gd name="connsiteX921" fmla="*/ 6738261 w 8023328"/>
              <a:gd name="connsiteY921" fmla="*/ 1153888 h 2380521"/>
              <a:gd name="connsiteX922" fmla="*/ 6724405 w 8023328"/>
              <a:gd name="connsiteY922" fmla="*/ 1166286 h 2380521"/>
              <a:gd name="connsiteX923" fmla="*/ 6712008 w 8023328"/>
              <a:gd name="connsiteY923" fmla="*/ 1153888 h 2380521"/>
              <a:gd name="connsiteX924" fmla="*/ 6724405 w 8023328"/>
              <a:gd name="connsiteY924" fmla="*/ 1140032 h 2380521"/>
              <a:gd name="connsiteX925" fmla="*/ 6653576 w 8023328"/>
              <a:gd name="connsiteY925" fmla="*/ 1140032 h 2380521"/>
              <a:gd name="connsiteX926" fmla="*/ 6667432 w 8023328"/>
              <a:gd name="connsiteY926" fmla="*/ 1153888 h 2380521"/>
              <a:gd name="connsiteX927" fmla="*/ 6653576 w 8023328"/>
              <a:gd name="connsiteY927" fmla="*/ 1166286 h 2380521"/>
              <a:gd name="connsiteX928" fmla="*/ 6641179 w 8023328"/>
              <a:gd name="connsiteY928" fmla="*/ 1153888 h 2380521"/>
              <a:gd name="connsiteX929" fmla="*/ 6653576 w 8023328"/>
              <a:gd name="connsiteY929" fmla="*/ 1140032 h 2380521"/>
              <a:gd name="connsiteX930" fmla="*/ 6581764 w 8023328"/>
              <a:gd name="connsiteY930" fmla="*/ 1140032 h 2380521"/>
              <a:gd name="connsiteX931" fmla="*/ 6596552 w 8023328"/>
              <a:gd name="connsiteY931" fmla="*/ 1153888 h 2380521"/>
              <a:gd name="connsiteX932" fmla="*/ 6581764 w 8023328"/>
              <a:gd name="connsiteY932" fmla="*/ 1166286 h 2380521"/>
              <a:gd name="connsiteX933" fmla="*/ 6566976 w 8023328"/>
              <a:gd name="connsiteY933" fmla="*/ 1153888 h 2380521"/>
              <a:gd name="connsiteX934" fmla="*/ 6581764 w 8023328"/>
              <a:gd name="connsiteY934" fmla="*/ 1140032 h 2380521"/>
              <a:gd name="connsiteX935" fmla="*/ 6510933 w 8023328"/>
              <a:gd name="connsiteY935" fmla="*/ 1140032 h 2380521"/>
              <a:gd name="connsiteX936" fmla="*/ 6525722 w 8023328"/>
              <a:gd name="connsiteY936" fmla="*/ 1153888 h 2380521"/>
              <a:gd name="connsiteX937" fmla="*/ 6510933 w 8023328"/>
              <a:gd name="connsiteY937" fmla="*/ 1166286 h 2380521"/>
              <a:gd name="connsiteX938" fmla="*/ 6496144 w 8023328"/>
              <a:gd name="connsiteY938" fmla="*/ 1153888 h 2380521"/>
              <a:gd name="connsiteX939" fmla="*/ 6510933 w 8023328"/>
              <a:gd name="connsiteY939" fmla="*/ 1140032 h 2380521"/>
              <a:gd name="connsiteX940" fmla="*/ 6440492 w 8023328"/>
              <a:gd name="connsiteY940" fmla="*/ 1140032 h 2380521"/>
              <a:gd name="connsiteX941" fmla="*/ 6454911 w 8023328"/>
              <a:gd name="connsiteY941" fmla="*/ 1153888 h 2380521"/>
              <a:gd name="connsiteX942" fmla="*/ 6440492 w 8023328"/>
              <a:gd name="connsiteY942" fmla="*/ 1166286 h 2380521"/>
              <a:gd name="connsiteX943" fmla="*/ 6425315 w 8023328"/>
              <a:gd name="connsiteY943" fmla="*/ 1153888 h 2380521"/>
              <a:gd name="connsiteX944" fmla="*/ 6440492 w 8023328"/>
              <a:gd name="connsiteY944" fmla="*/ 1140032 h 2380521"/>
              <a:gd name="connsiteX945" fmla="*/ 6368340 w 8023328"/>
              <a:gd name="connsiteY945" fmla="*/ 1140032 h 2380521"/>
              <a:gd name="connsiteX946" fmla="*/ 6380737 w 8023328"/>
              <a:gd name="connsiteY946" fmla="*/ 1153888 h 2380521"/>
              <a:gd name="connsiteX947" fmla="*/ 6368340 w 8023328"/>
              <a:gd name="connsiteY947" fmla="*/ 1166286 h 2380521"/>
              <a:gd name="connsiteX948" fmla="*/ 6354484 w 8023328"/>
              <a:gd name="connsiteY948" fmla="*/ 1153888 h 2380521"/>
              <a:gd name="connsiteX949" fmla="*/ 6368340 w 8023328"/>
              <a:gd name="connsiteY949" fmla="*/ 1140032 h 2380521"/>
              <a:gd name="connsiteX950" fmla="*/ 6297511 w 8023328"/>
              <a:gd name="connsiteY950" fmla="*/ 1140032 h 2380521"/>
              <a:gd name="connsiteX951" fmla="*/ 6309908 w 8023328"/>
              <a:gd name="connsiteY951" fmla="*/ 1153888 h 2380521"/>
              <a:gd name="connsiteX952" fmla="*/ 6297511 w 8023328"/>
              <a:gd name="connsiteY952" fmla="*/ 1166286 h 2380521"/>
              <a:gd name="connsiteX953" fmla="*/ 6283655 w 8023328"/>
              <a:gd name="connsiteY953" fmla="*/ 1153888 h 2380521"/>
              <a:gd name="connsiteX954" fmla="*/ 6297511 w 8023328"/>
              <a:gd name="connsiteY954" fmla="*/ 1140032 h 2380521"/>
              <a:gd name="connsiteX955" fmla="*/ 6226679 w 8023328"/>
              <a:gd name="connsiteY955" fmla="*/ 1140032 h 2380521"/>
              <a:gd name="connsiteX956" fmla="*/ 6239076 w 8023328"/>
              <a:gd name="connsiteY956" fmla="*/ 1153888 h 2380521"/>
              <a:gd name="connsiteX957" fmla="*/ 6226679 w 8023328"/>
              <a:gd name="connsiteY957" fmla="*/ 1166286 h 2380521"/>
              <a:gd name="connsiteX958" fmla="*/ 6212823 w 8023328"/>
              <a:gd name="connsiteY958" fmla="*/ 1153888 h 2380521"/>
              <a:gd name="connsiteX959" fmla="*/ 6226679 w 8023328"/>
              <a:gd name="connsiteY959" fmla="*/ 1140032 h 2380521"/>
              <a:gd name="connsiteX960" fmla="*/ 6154391 w 8023328"/>
              <a:gd name="connsiteY960" fmla="*/ 1140032 h 2380521"/>
              <a:gd name="connsiteX961" fmla="*/ 6168247 w 8023328"/>
              <a:gd name="connsiteY961" fmla="*/ 1153888 h 2380521"/>
              <a:gd name="connsiteX962" fmla="*/ 6154391 w 8023328"/>
              <a:gd name="connsiteY962" fmla="*/ 1166286 h 2380521"/>
              <a:gd name="connsiteX963" fmla="*/ 6141994 w 8023328"/>
              <a:gd name="connsiteY963" fmla="*/ 1153888 h 2380521"/>
              <a:gd name="connsiteX964" fmla="*/ 6154391 w 8023328"/>
              <a:gd name="connsiteY964" fmla="*/ 1140032 h 2380521"/>
              <a:gd name="connsiteX965" fmla="*/ 6083559 w 8023328"/>
              <a:gd name="connsiteY965" fmla="*/ 1140032 h 2380521"/>
              <a:gd name="connsiteX966" fmla="*/ 6097415 w 8023328"/>
              <a:gd name="connsiteY966" fmla="*/ 1153888 h 2380521"/>
              <a:gd name="connsiteX967" fmla="*/ 6083559 w 8023328"/>
              <a:gd name="connsiteY967" fmla="*/ 1166286 h 2380521"/>
              <a:gd name="connsiteX968" fmla="*/ 6071162 w 8023328"/>
              <a:gd name="connsiteY968" fmla="*/ 1153888 h 2380521"/>
              <a:gd name="connsiteX969" fmla="*/ 6083559 w 8023328"/>
              <a:gd name="connsiteY969" fmla="*/ 1140032 h 2380521"/>
              <a:gd name="connsiteX970" fmla="*/ 6009356 w 8023328"/>
              <a:gd name="connsiteY970" fmla="*/ 1140032 h 2380521"/>
              <a:gd name="connsiteX971" fmla="*/ 6023212 w 8023328"/>
              <a:gd name="connsiteY971" fmla="*/ 1153888 h 2380521"/>
              <a:gd name="connsiteX972" fmla="*/ 6009356 w 8023328"/>
              <a:gd name="connsiteY972" fmla="*/ 1166286 h 2380521"/>
              <a:gd name="connsiteX973" fmla="*/ 5996959 w 8023328"/>
              <a:gd name="connsiteY973" fmla="*/ 1153888 h 2380521"/>
              <a:gd name="connsiteX974" fmla="*/ 6009356 w 8023328"/>
              <a:gd name="connsiteY974" fmla="*/ 1140032 h 2380521"/>
              <a:gd name="connsiteX975" fmla="*/ 5940548 w 8023328"/>
              <a:gd name="connsiteY975" fmla="*/ 1140032 h 2380521"/>
              <a:gd name="connsiteX976" fmla="*/ 5955726 w 8023328"/>
              <a:gd name="connsiteY976" fmla="*/ 1153888 h 2380521"/>
              <a:gd name="connsiteX977" fmla="*/ 5940548 w 8023328"/>
              <a:gd name="connsiteY977" fmla="*/ 1166286 h 2380521"/>
              <a:gd name="connsiteX978" fmla="*/ 5926130 w 8023328"/>
              <a:gd name="connsiteY978" fmla="*/ 1153888 h 2380521"/>
              <a:gd name="connsiteX979" fmla="*/ 5940548 w 8023328"/>
              <a:gd name="connsiteY979" fmla="*/ 1140032 h 2380521"/>
              <a:gd name="connsiteX980" fmla="*/ 5870088 w 8023328"/>
              <a:gd name="connsiteY980" fmla="*/ 1140032 h 2380521"/>
              <a:gd name="connsiteX981" fmla="*/ 5884877 w 8023328"/>
              <a:gd name="connsiteY981" fmla="*/ 1153888 h 2380521"/>
              <a:gd name="connsiteX982" fmla="*/ 5870088 w 8023328"/>
              <a:gd name="connsiteY982" fmla="*/ 1166286 h 2380521"/>
              <a:gd name="connsiteX983" fmla="*/ 5855299 w 8023328"/>
              <a:gd name="connsiteY983" fmla="*/ 1153888 h 2380521"/>
              <a:gd name="connsiteX984" fmla="*/ 5870088 w 8023328"/>
              <a:gd name="connsiteY984" fmla="*/ 1140032 h 2380521"/>
              <a:gd name="connsiteX985" fmla="*/ 5799257 w 8023328"/>
              <a:gd name="connsiteY985" fmla="*/ 1140032 h 2380521"/>
              <a:gd name="connsiteX986" fmla="*/ 5814045 w 8023328"/>
              <a:gd name="connsiteY986" fmla="*/ 1153888 h 2380521"/>
              <a:gd name="connsiteX987" fmla="*/ 5799257 w 8023328"/>
              <a:gd name="connsiteY987" fmla="*/ 1166286 h 2380521"/>
              <a:gd name="connsiteX988" fmla="*/ 5784469 w 8023328"/>
              <a:gd name="connsiteY988" fmla="*/ 1153888 h 2380521"/>
              <a:gd name="connsiteX989" fmla="*/ 5799257 w 8023328"/>
              <a:gd name="connsiteY989" fmla="*/ 1140032 h 2380521"/>
              <a:gd name="connsiteX990" fmla="*/ 5724122 w 8023328"/>
              <a:gd name="connsiteY990" fmla="*/ 1140032 h 2380521"/>
              <a:gd name="connsiteX991" fmla="*/ 5736519 w 8023328"/>
              <a:gd name="connsiteY991" fmla="*/ 1153888 h 2380521"/>
              <a:gd name="connsiteX992" fmla="*/ 5724122 w 8023328"/>
              <a:gd name="connsiteY992" fmla="*/ 1166286 h 2380521"/>
              <a:gd name="connsiteX993" fmla="*/ 5710266 w 8023328"/>
              <a:gd name="connsiteY993" fmla="*/ 1153888 h 2380521"/>
              <a:gd name="connsiteX994" fmla="*/ 5724122 w 8023328"/>
              <a:gd name="connsiteY994" fmla="*/ 1140032 h 2380521"/>
              <a:gd name="connsiteX995" fmla="*/ 5653291 w 8023328"/>
              <a:gd name="connsiteY995" fmla="*/ 1140032 h 2380521"/>
              <a:gd name="connsiteX996" fmla="*/ 5665688 w 8023328"/>
              <a:gd name="connsiteY996" fmla="*/ 1153888 h 2380521"/>
              <a:gd name="connsiteX997" fmla="*/ 5653291 w 8023328"/>
              <a:gd name="connsiteY997" fmla="*/ 1166286 h 2380521"/>
              <a:gd name="connsiteX998" fmla="*/ 5639435 w 8023328"/>
              <a:gd name="connsiteY998" fmla="*/ 1153888 h 2380521"/>
              <a:gd name="connsiteX999" fmla="*/ 5653291 w 8023328"/>
              <a:gd name="connsiteY999" fmla="*/ 1140032 h 2380521"/>
              <a:gd name="connsiteX1000" fmla="*/ 5581002 w 8023328"/>
              <a:gd name="connsiteY1000" fmla="*/ 1140032 h 2380521"/>
              <a:gd name="connsiteX1001" fmla="*/ 5594858 w 8023328"/>
              <a:gd name="connsiteY1001" fmla="*/ 1153888 h 2380521"/>
              <a:gd name="connsiteX1002" fmla="*/ 5581002 w 8023328"/>
              <a:gd name="connsiteY1002" fmla="*/ 1166286 h 2380521"/>
              <a:gd name="connsiteX1003" fmla="*/ 5568605 w 8023328"/>
              <a:gd name="connsiteY1003" fmla="*/ 1153888 h 2380521"/>
              <a:gd name="connsiteX1004" fmla="*/ 5581002 w 8023328"/>
              <a:gd name="connsiteY1004" fmla="*/ 1140032 h 2380521"/>
              <a:gd name="connsiteX1005" fmla="*/ 5510171 w 8023328"/>
              <a:gd name="connsiteY1005" fmla="*/ 1140032 h 2380521"/>
              <a:gd name="connsiteX1006" fmla="*/ 5524027 w 8023328"/>
              <a:gd name="connsiteY1006" fmla="*/ 1153888 h 2380521"/>
              <a:gd name="connsiteX1007" fmla="*/ 5510171 w 8023328"/>
              <a:gd name="connsiteY1007" fmla="*/ 1166286 h 2380521"/>
              <a:gd name="connsiteX1008" fmla="*/ 5497774 w 8023328"/>
              <a:gd name="connsiteY1008" fmla="*/ 1153888 h 2380521"/>
              <a:gd name="connsiteX1009" fmla="*/ 5510171 w 8023328"/>
              <a:gd name="connsiteY1009" fmla="*/ 1140032 h 2380521"/>
              <a:gd name="connsiteX1010" fmla="*/ 5438937 w 8023328"/>
              <a:gd name="connsiteY1010" fmla="*/ 1140032 h 2380521"/>
              <a:gd name="connsiteX1011" fmla="*/ 5453178 w 8023328"/>
              <a:gd name="connsiteY1011" fmla="*/ 1153888 h 2380521"/>
              <a:gd name="connsiteX1012" fmla="*/ 5438937 w 8023328"/>
              <a:gd name="connsiteY1012" fmla="*/ 1166286 h 2380521"/>
              <a:gd name="connsiteX1013" fmla="*/ 5426945 w 8023328"/>
              <a:gd name="connsiteY1013" fmla="*/ 1153888 h 2380521"/>
              <a:gd name="connsiteX1014" fmla="*/ 5438937 w 8023328"/>
              <a:gd name="connsiteY1014" fmla="*/ 1140032 h 2380521"/>
              <a:gd name="connsiteX1015" fmla="*/ 5367530 w 8023328"/>
              <a:gd name="connsiteY1015" fmla="*/ 1140032 h 2380521"/>
              <a:gd name="connsiteX1016" fmla="*/ 5382318 w 8023328"/>
              <a:gd name="connsiteY1016" fmla="*/ 1153888 h 2380521"/>
              <a:gd name="connsiteX1017" fmla="*/ 5367530 w 8023328"/>
              <a:gd name="connsiteY1017" fmla="*/ 1166286 h 2380521"/>
              <a:gd name="connsiteX1018" fmla="*/ 5352742 w 8023328"/>
              <a:gd name="connsiteY1018" fmla="*/ 1153888 h 2380521"/>
              <a:gd name="connsiteX1019" fmla="*/ 5367530 w 8023328"/>
              <a:gd name="connsiteY1019" fmla="*/ 1140032 h 2380521"/>
              <a:gd name="connsiteX1020" fmla="*/ 5296699 w 8023328"/>
              <a:gd name="connsiteY1020" fmla="*/ 1140032 h 2380521"/>
              <a:gd name="connsiteX1021" fmla="*/ 5311488 w 8023328"/>
              <a:gd name="connsiteY1021" fmla="*/ 1153888 h 2380521"/>
              <a:gd name="connsiteX1022" fmla="*/ 5296699 w 8023328"/>
              <a:gd name="connsiteY1022" fmla="*/ 1166286 h 2380521"/>
              <a:gd name="connsiteX1023" fmla="*/ 5281910 w 8023328"/>
              <a:gd name="connsiteY1023" fmla="*/ 1153888 h 2380521"/>
              <a:gd name="connsiteX1024" fmla="*/ 5296699 w 8023328"/>
              <a:gd name="connsiteY1024" fmla="*/ 1140032 h 2380521"/>
              <a:gd name="connsiteX1025" fmla="*/ 5225869 w 8023328"/>
              <a:gd name="connsiteY1025" fmla="*/ 1140032 h 2380521"/>
              <a:gd name="connsiteX1026" fmla="*/ 5240657 w 8023328"/>
              <a:gd name="connsiteY1026" fmla="*/ 1153888 h 2380521"/>
              <a:gd name="connsiteX1027" fmla="*/ 5225869 w 8023328"/>
              <a:gd name="connsiteY1027" fmla="*/ 1166286 h 2380521"/>
              <a:gd name="connsiteX1028" fmla="*/ 5211081 w 8023328"/>
              <a:gd name="connsiteY1028" fmla="*/ 1153888 h 2380521"/>
              <a:gd name="connsiteX1029" fmla="*/ 5225869 w 8023328"/>
              <a:gd name="connsiteY1029" fmla="*/ 1140032 h 2380521"/>
              <a:gd name="connsiteX1030" fmla="*/ 5154105 w 8023328"/>
              <a:gd name="connsiteY1030" fmla="*/ 1140032 h 2380521"/>
              <a:gd name="connsiteX1031" fmla="*/ 5166502 w 8023328"/>
              <a:gd name="connsiteY1031" fmla="*/ 1154821 h 2380521"/>
              <a:gd name="connsiteX1032" fmla="*/ 5154105 w 8023328"/>
              <a:gd name="connsiteY1032" fmla="*/ 1169610 h 2380521"/>
              <a:gd name="connsiteX1033" fmla="*/ 5140249 w 8023328"/>
              <a:gd name="connsiteY1033" fmla="*/ 1154821 h 2380521"/>
              <a:gd name="connsiteX1034" fmla="*/ 5154105 w 8023328"/>
              <a:gd name="connsiteY1034" fmla="*/ 1140032 h 2380521"/>
              <a:gd name="connsiteX1035" fmla="*/ 5083276 w 8023328"/>
              <a:gd name="connsiteY1035" fmla="*/ 1140032 h 2380521"/>
              <a:gd name="connsiteX1036" fmla="*/ 5095673 w 8023328"/>
              <a:gd name="connsiteY1036" fmla="*/ 1154821 h 2380521"/>
              <a:gd name="connsiteX1037" fmla="*/ 5083276 w 8023328"/>
              <a:gd name="connsiteY1037" fmla="*/ 1169610 h 2380521"/>
              <a:gd name="connsiteX1038" fmla="*/ 5069420 w 8023328"/>
              <a:gd name="connsiteY1038" fmla="*/ 1154821 h 2380521"/>
              <a:gd name="connsiteX1039" fmla="*/ 5083276 w 8023328"/>
              <a:gd name="connsiteY1039" fmla="*/ 1140032 h 2380521"/>
              <a:gd name="connsiteX1040" fmla="*/ 5012445 w 8023328"/>
              <a:gd name="connsiteY1040" fmla="*/ 1140032 h 2380521"/>
              <a:gd name="connsiteX1041" fmla="*/ 5024842 w 8023328"/>
              <a:gd name="connsiteY1041" fmla="*/ 1154821 h 2380521"/>
              <a:gd name="connsiteX1042" fmla="*/ 5012445 w 8023328"/>
              <a:gd name="connsiteY1042" fmla="*/ 1169610 h 2380521"/>
              <a:gd name="connsiteX1043" fmla="*/ 4998589 w 8023328"/>
              <a:gd name="connsiteY1043" fmla="*/ 1154821 h 2380521"/>
              <a:gd name="connsiteX1044" fmla="*/ 5012445 w 8023328"/>
              <a:gd name="connsiteY1044" fmla="*/ 1140032 h 2380521"/>
              <a:gd name="connsiteX1045" fmla="*/ 4940157 w 8023328"/>
              <a:gd name="connsiteY1045" fmla="*/ 1140032 h 2380521"/>
              <a:gd name="connsiteX1046" fmla="*/ 4954013 w 8023328"/>
              <a:gd name="connsiteY1046" fmla="*/ 1154821 h 2380521"/>
              <a:gd name="connsiteX1047" fmla="*/ 4940157 w 8023328"/>
              <a:gd name="connsiteY1047" fmla="*/ 1169610 h 2380521"/>
              <a:gd name="connsiteX1048" fmla="*/ 4927760 w 8023328"/>
              <a:gd name="connsiteY1048" fmla="*/ 1154821 h 2380521"/>
              <a:gd name="connsiteX1049" fmla="*/ 4940157 w 8023328"/>
              <a:gd name="connsiteY1049" fmla="*/ 1140032 h 2380521"/>
              <a:gd name="connsiteX1050" fmla="*/ 4865953 w 8023328"/>
              <a:gd name="connsiteY1050" fmla="*/ 1140032 h 2380521"/>
              <a:gd name="connsiteX1051" fmla="*/ 4879809 w 8023328"/>
              <a:gd name="connsiteY1051" fmla="*/ 1154821 h 2380521"/>
              <a:gd name="connsiteX1052" fmla="*/ 4865953 w 8023328"/>
              <a:gd name="connsiteY1052" fmla="*/ 1169610 h 2380521"/>
              <a:gd name="connsiteX1053" fmla="*/ 4853556 w 8023328"/>
              <a:gd name="connsiteY1053" fmla="*/ 1154821 h 2380521"/>
              <a:gd name="connsiteX1054" fmla="*/ 4865953 w 8023328"/>
              <a:gd name="connsiteY1054" fmla="*/ 1140032 h 2380521"/>
              <a:gd name="connsiteX1055" fmla="*/ 4795122 w 8023328"/>
              <a:gd name="connsiteY1055" fmla="*/ 1140032 h 2380521"/>
              <a:gd name="connsiteX1056" fmla="*/ 4808978 w 8023328"/>
              <a:gd name="connsiteY1056" fmla="*/ 1154821 h 2380521"/>
              <a:gd name="connsiteX1057" fmla="*/ 4795122 w 8023328"/>
              <a:gd name="connsiteY1057" fmla="*/ 1169610 h 2380521"/>
              <a:gd name="connsiteX1058" fmla="*/ 4782725 w 8023328"/>
              <a:gd name="connsiteY1058" fmla="*/ 1154821 h 2380521"/>
              <a:gd name="connsiteX1059" fmla="*/ 4795122 w 8023328"/>
              <a:gd name="connsiteY1059" fmla="*/ 1140032 h 2380521"/>
              <a:gd name="connsiteX1060" fmla="*/ 4726684 w 8023328"/>
              <a:gd name="connsiteY1060" fmla="*/ 1140032 h 2380521"/>
              <a:gd name="connsiteX1061" fmla="*/ 4741472 w 8023328"/>
              <a:gd name="connsiteY1061" fmla="*/ 1154821 h 2380521"/>
              <a:gd name="connsiteX1062" fmla="*/ 4726684 w 8023328"/>
              <a:gd name="connsiteY1062" fmla="*/ 1169610 h 2380521"/>
              <a:gd name="connsiteX1063" fmla="*/ 4711896 w 8023328"/>
              <a:gd name="connsiteY1063" fmla="*/ 1154821 h 2380521"/>
              <a:gd name="connsiteX1064" fmla="*/ 4726684 w 8023328"/>
              <a:gd name="connsiteY1064" fmla="*/ 1140032 h 2380521"/>
              <a:gd name="connsiteX1065" fmla="*/ 4655853 w 8023328"/>
              <a:gd name="connsiteY1065" fmla="*/ 1140032 h 2380521"/>
              <a:gd name="connsiteX1066" fmla="*/ 4670642 w 8023328"/>
              <a:gd name="connsiteY1066" fmla="*/ 1154821 h 2380521"/>
              <a:gd name="connsiteX1067" fmla="*/ 4655853 w 8023328"/>
              <a:gd name="connsiteY1067" fmla="*/ 1169610 h 2380521"/>
              <a:gd name="connsiteX1068" fmla="*/ 4641064 w 8023328"/>
              <a:gd name="connsiteY1068" fmla="*/ 1154821 h 2380521"/>
              <a:gd name="connsiteX1069" fmla="*/ 4655853 w 8023328"/>
              <a:gd name="connsiteY1069" fmla="*/ 1140032 h 2380521"/>
              <a:gd name="connsiteX1070" fmla="*/ 4585023 w 8023328"/>
              <a:gd name="connsiteY1070" fmla="*/ 1140032 h 2380521"/>
              <a:gd name="connsiteX1071" fmla="*/ 4599811 w 8023328"/>
              <a:gd name="connsiteY1071" fmla="*/ 1154821 h 2380521"/>
              <a:gd name="connsiteX1072" fmla="*/ 4585023 w 8023328"/>
              <a:gd name="connsiteY1072" fmla="*/ 1169610 h 2380521"/>
              <a:gd name="connsiteX1073" fmla="*/ 4570235 w 8023328"/>
              <a:gd name="connsiteY1073" fmla="*/ 1154821 h 2380521"/>
              <a:gd name="connsiteX1074" fmla="*/ 4585023 w 8023328"/>
              <a:gd name="connsiteY1074" fmla="*/ 1140032 h 2380521"/>
              <a:gd name="connsiteX1075" fmla="*/ 4513260 w 8023328"/>
              <a:gd name="connsiteY1075" fmla="*/ 1140032 h 2380521"/>
              <a:gd name="connsiteX1076" fmla="*/ 4525657 w 8023328"/>
              <a:gd name="connsiteY1076" fmla="*/ 1154821 h 2380521"/>
              <a:gd name="connsiteX1077" fmla="*/ 4513260 w 8023328"/>
              <a:gd name="connsiteY1077" fmla="*/ 1169610 h 2380521"/>
              <a:gd name="connsiteX1078" fmla="*/ 4499404 w 8023328"/>
              <a:gd name="connsiteY1078" fmla="*/ 1154821 h 2380521"/>
              <a:gd name="connsiteX1079" fmla="*/ 4513260 w 8023328"/>
              <a:gd name="connsiteY1079" fmla="*/ 1140032 h 2380521"/>
              <a:gd name="connsiteX1080" fmla="*/ 4439056 w 8023328"/>
              <a:gd name="connsiteY1080" fmla="*/ 1140032 h 2380521"/>
              <a:gd name="connsiteX1081" fmla="*/ 4451453 w 8023328"/>
              <a:gd name="connsiteY1081" fmla="*/ 1154821 h 2380521"/>
              <a:gd name="connsiteX1082" fmla="*/ 4439056 w 8023328"/>
              <a:gd name="connsiteY1082" fmla="*/ 1169610 h 2380521"/>
              <a:gd name="connsiteX1083" fmla="*/ 4425200 w 8023328"/>
              <a:gd name="connsiteY1083" fmla="*/ 1154821 h 2380521"/>
              <a:gd name="connsiteX1084" fmla="*/ 4439056 w 8023328"/>
              <a:gd name="connsiteY1084" fmla="*/ 1140032 h 2380521"/>
              <a:gd name="connsiteX1085" fmla="*/ 4366768 w 8023328"/>
              <a:gd name="connsiteY1085" fmla="*/ 1140032 h 2380521"/>
              <a:gd name="connsiteX1086" fmla="*/ 4380624 w 8023328"/>
              <a:gd name="connsiteY1086" fmla="*/ 1154821 h 2380521"/>
              <a:gd name="connsiteX1087" fmla="*/ 4366768 w 8023328"/>
              <a:gd name="connsiteY1087" fmla="*/ 1169610 h 2380521"/>
              <a:gd name="connsiteX1088" fmla="*/ 4354371 w 8023328"/>
              <a:gd name="connsiteY1088" fmla="*/ 1154821 h 2380521"/>
              <a:gd name="connsiteX1089" fmla="*/ 4366768 w 8023328"/>
              <a:gd name="connsiteY1089" fmla="*/ 1140032 h 2380521"/>
              <a:gd name="connsiteX1090" fmla="*/ 4295937 w 8023328"/>
              <a:gd name="connsiteY1090" fmla="*/ 1140032 h 2380521"/>
              <a:gd name="connsiteX1091" fmla="*/ 4309793 w 8023328"/>
              <a:gd name="connsiteY1091" fmla="*/ 1154821 h 2380521"/>
              <a:gd name="connsiteX1092" fmla="*/ 4295937 w 8023328"/>
              <a:gd name="connsiteY1092" fmla="*/ 1169610 h 2380521"/>
              <a:gd name="connsiteX1093" fmla="*/ 4283540 w 8023328"/>
              <a:gd name="connsiteY1093" fmla="*/ 1154821 h 2380521"/>
              <a:gd name="connsiteX1094" fmla="*/ 4295937 w 8023328"/>
              <a:gd name="connsiteY1094" fmla="*/ 1140032 h 2380521"/>
              <a:gd name="connsiteX1095" fmla="*/ 4225107 w 8023328"/>
              <a:gd name="connsiteY1095" fmla="*/ 1140032 h 2380521"/>
              <a:gd name="connsiteX1096" fmla="*/ 4238963 w 8023328"/>
              <a:gd name="connsiteY1096" fmla="*/ 1154821 h 2380521"/>
              <a:gd name="connsiteX1097" fmla="*/ 4225107 w 8023328"/>
              <a:gd name="connsiteY1097" fmla="*/ 1169610 h 2380521"/>
              <a:gd name="connsiteX1098" fmla="*/ 4212710 w 8023328"/>
              <a:gd name="connsiteY1098" fmla="*/ 1154821 h 2380521"/>
              <a:gd name="connsiteX1099" fmla="*/ 4225107 w 8023328"/>
              <a:gd name="connsiteY1099" fmla="*/ 1140032 h 2380521"/>
              <a:gd name="connsiteX1100" fmla="*/ 4153295 w 8023328"/>
              <a:gd name="connsiteY1100" fmla="*/ 1140032 h 2380521"/>
              <a:gd name="connsiteX1101" fmla="*/ 4168083 w 8023328"/>
              <a:gd name="connsiteY1101" fmla="*/ 1154821 h 2380521"/>
              <a:gd name="connsiteX1102" fmla="*/ 4153295 w 8023328"/>
              <a:gd name="connsiteY1102" fmla="*/ 1169610 h 2380521"/>
              <a:gd name="connsiteX1103" fmla="*/ 4138507 w 8023328"/>
              <a:gd name="connsiteY1103" fmla="*/ 1154821 h 2380521"/>
              <a:gd name="connsiteX1104" fmla="*/ 4153295 w 8023328"/>
              <a:gd name="connsiteY1104" fmla="*/ 1140032 h 2380521"/>
              <a:gd name="connsiteX1105" fmla="*/ 4082465 w 8023328"/>
              <a:gd name="connsiteY1105" fmla="*/ 1140032 h 2380521"/>
              <a:gd name="connsiteX1106" fmla="*/ 4097254 w 8023328"/>
              <a:gd name="connsiteY1106" fmla="*/ 1154821 h 2380521"/>
              <a:gd name="connsiteX1107" fmla="*/ 4082465 w 8023328"/>
              <a:gd name="connsiteY1107" fmla="*/ 1169610 h 2380521"/>
              <a:gd name="connsiteX1108" fmla="*/ 4067676 w 8023328"/>
              <a:gd name="connsiteY1108" fmla="*/ 1154821 h 2380521"/>
              <a:gd name="connsiteX1109" fmla="*/ 4082465 w 8023328"/>
              <a:gd name="connsiteY1109" fmla="*/ 1140032 h 2380521"/>
              <a:gd name="connsiteX1110" fmla="*/ 439789 w 8023328"/>
              <a:gd name="connsiteY1110" fmla="*/ 1140032 h 2380521"/>
              <a:gd name="connsiteX1111" fmla="*/ 454579 w 8023328"/>
              <a:gd name="connsiteY1111" fmla="*/ 1153888 h 2380521"/>
              <a:gd name="connsiteX1112" fmla="*/ 439789 w 8023328"/>
              <a:gd name="connsiteY1112" fmla="*/ 1166286 h 2380521"/>
              <a:gd name="connsiteX1113" fmla="*/ 425001 w 8023328"/>
              <a:gd name="connsiteY1113" fmla="*/ 1153888 h 2380521"/>
              <a:gd name="connsiteX1114" fmla="*/ 439789 w 8023328"/>
              <a:gd name="connsiteY1114" fmla="*/ 1140032 h 2380521"/>
              <a:gd name="connsiteX1115" fmla="*/ 368960 w 8023328"/>
              <a:gd name="connsiteY1115" fmla="*/ 1140032 h 2380521"/>
              <a:gd name="connsiteX1116" fmla="*/ 383747 w 8023328"/>
              <a:gd name="connsiteY1116" fmla="*/ 1153888 h 2380521"/>
              <a:gd name="connsiteX1117" fmla="*/ 368960 w 8023328"/>
              <a:gd name="connsiteY1117" fmla="*/ 1166286 h 2380521"/>
              <a:gd name="connsiteX1118" fmla="*/ 354172 w 8023328"/>
              <a:gd name="connsiteY1118" fmla="*/ 1153888 h 2380521"/>
              <a:gd name="connsiteX1119" fmla="*/ 368960 w 8023328"/>
              <a:gd name="connsiteY1119" fmla="*/ 1140032 h 2380521"/>
              <a:gd name="connsiteX1120" fmla="*/ 297194 w 8023328"/>
              <a:gd name="connsiteY1120" fmla="*/ 1140032 h 2380521"/>
              <a:gd name="connsiteX1121" fmla="*/ 309592 w 8023328"/>
              <a:gd name="connsiteY1121" fmla="*/ 1153888 h 2380521"/>
              <a:gd name="connsiteX1122" fmla="*/ 297194 w 8023328"/>
              <a:gd name="connsiteY1122" fmla="*/ 1166286 h 2380521"/>
              <a:gd name="connsiteX1123" fmla="*/ 283339 w 8023328"/>
              <a:gd name="connsiteY1123" fmla="*/ 1153888 h 2380521"/>
              <a:gd name="connsiteX1124" fmla="*/ 297194 w 8023328"/>
              <a:gd name="connsiteY1124" fmla="*/ 1140032 h 2380521"/>
              <a:gd name="connsiteX1125" fmla="*/ 226366 w 8023328"/>
              <a:gd name="connsiteY1125" fmla="*/ 1140032 h 2380521"/>
              <a:gd name="connsiteX1126" fmla="*/ 238764 w 8023328"/>
              <a:gd name="connsiteY1126" fmla="*/ 1153888 h 2380521"/>
              <a:gd name="connsiteX1127" fmla="*/ 226366 w 8023328"/>
              <a:gd name="connsiteY1127" fmla="*/ 1166286 h 2380521"/>
              <a:gd name="connsiteX1128" fmla="*/ 212510 w 8023328"/>
              <a:gd name="connsiteY1128" fmla="*/ 1153888 h 2380521"/>
              <a:gd name="connsiteX1129" fmla="*/ 226366 w 8023328"/>
              <a:gd name="connsiteY1129" fmla="*/ 1140032 h 2380521"/>
              <a:gd name="connsiteX1130" fmla="*/ 155532 w 8023328"/>
              <a:gd name="connsiteY1130" fmla="*/ 1140032 h 2380521"/>
              <a:gd name="connsiteX1131" fmla="*/ 167930 w 8023328"/>
              <a:gd name="connsiteY1131" fmla="*/ 1153888 h 2380521"/>
              <a:gd name="connsiteX1132" fmla="*/ 155532 w 8023328"/>
              <a:gd name="connsiteY1132" fmla="*/ 1166286 h 2380521"/>
              <a:gd name="connsiteX1133" fmla="*/ 141676 w 8023328"/>
              <a:gd name="connsiteY1133" fmla="*/ 1153888 h 2380521"/>
              <a:gd name="connsiteX1134" fmla="*/ 155532 w 8023328"/>
              <a:gd name="connsiteY1134" fmla="*/ 1140032 h 2380521"/>
              <a:gd name="connsiteX1135" fmla="*/ 83244 w 8023328"/>
              <a:gd name="connsiteY1135" fmla="*/ 1140032 h 2380521"/>
              <a:gd name="connsiteX1136" fmla="*/ 97100 w 8023328"/>
              <a:gd name="connsiteY1136" fmla="*/ 1153888 h 2380521"/>
              <a:gd name="connsiteX1137" fmla="*/ 83244 w 8023328"/>
              <a:gd name="connsiteY1137" fmla="*/ 1166286 h 2380521"/>
              <a:gd name="connsiteX1138" fmla="*/ 70846 w 8023328"/>
              <a:gd name="connsiteY1138" fmla="*/ 1153888 h 2380521"/>
              <a:gd name="connsiteX1139" fmla="*/ 83244 w 8023328"/>
              <a:gd name="connsiteY1139" fmla="*/ 1140032 h 2380521"/>
              <a:gd name="connsiteX1140" fmla="*/ 12008 w 8023328"/>
              <a:gd name="connsiteY1140" fmla="*/ 1140032 h 2380521"/>
              <a:gd name="connsiteX1141" fmla="*/ 26249 w 8023328"/>
              <a:gd name="connsiteY1141" fmla="*/ 1153888 h 2380521"/>
              <a:gd name="connsiteX1142" fmla="*/ 12008 w 8023328"/>
              <a:gd name="connsiteY1142" fmla="*/ 1166286 h 2380521"/>
              <a:gd name="connsiteX1143" fmla="*/ 16 w 8023328"/>
              <a:gd name="connsiteY1143" fmla="*/ 1153888 h 2380521"/>
              <a:gd name="connsiteX1144" fmla="*/ 12008 w 8023328"/>
              <a:gd name="connsiteY1144" fmla="*/ 1140032 h 2380521"/>
              <a:gd name="connsiteX1145" fmla="*/ 6867525 w 8023328"/>
              <a:gd name="connsiteY1145" fmla="*/ 1069203 h 2380521"/>
              <a:gd name="connsiteX1146" fmla="*/ 6879922 w 8023328"/>
              <a:gd name="connsiteY1146" fmla="*/ 1081600 h 2380521"/>
              <a:gd name="connsiteX1147" fmla="*/ 6867525 w 8023328"/>
              <a:gd name="connsiteY1147" fmla="*/ 1095457 h 2380521"/>
              <a:gd name="connsiteX1148" fmla="*/ 6853669 w 8023328"/>
              <a:gd name="connsiteY1148" fmla="*/ 1081600 h 2380521"/>
              <a:gd name="connsiteX1149" fmla="*/ 6867525 w 8023328"/>
              <a:gd name="connsiteY1149" fmla="*/ 1069203 h 2380521"/>
              <a:gd name="connsiteX1150" fmla="*/ 6795237 w 8023328"/>
              <a:gd name="connsiteY1150" fmla="*/ 1069203 h 2380521"/>
              <a:gd name="connsiteX1151" fmla="*/ 6809093 w 8023328"/>
              <a:gd name="connsiteY1151" fmla="*/ 1081600 h 2380521"/>
              <a:gd name="connsiteX1152" fmla="*/ 6796696 w 8023328"/>
              <a:gd name="connsiteY1152" fmla="*/ 1095457 h 2380521"/>
              <a:gd name="connsiteX1153" fmla="*/ 6782840 w 8023328"/>
              <a:gd name="connsiteY1153" fmla="*/ 1081600 h 2380521"/>
              <a:gd name="connsiteX1154" fmla="*/ 6795237 w 8023328"/>
              <a:gd name="connsiteY1154" fmla="*/ 1069203 h 2380521"/>
              <a:gd name="connsiteX1155" fmla="*/ 6724405 w 8023328"/>
              <a:gd name="connsiteY1155" fmla="*/ 1069203 h 2380521"/>
              <a:gd name="connsiteX1156" fmla="*/ 6738261 w 8023328"/>
              <a:gd name="connsiteY1156" fmla="*/ 1081600 h 2380521"/>
              <a:gd name="connsiteX1157" fmla="*/ 6724405 w 8023328"/>
              <a:gd name="connsiteY1157" fmla="*/ 1095457 h 2380521"/>
              <a:gd name="connsiteX1158" fmla="*/ 6712008 w 8023328"/>
              <a:gd name="connsiteY1158" fmla="*/ 1081600 h 2380521"/>
              <a:gd name="connsiteX1159" fmla="*/ 6724405 w 8023328"/>
              <a:gd name="connsiteY1159" fmla="*/ 1069203 h 2380521"/>
              <a:gd name="connsiteX1160" fmla="*/ 6653576 w 8023328"/>
              <a:gd name="connsiteY1160" fmla="*/ 1069203 h 2380521"/>
              <a:gd name="connsiteX1161" fmla="*/ 6667432 w 8023328"/>
              <a:gd name="connsiteY1161" fmla="*/ 1081600 h 2380521"/>
              <a:gd name="connsiteX1162" fmla="*/ 6653576 w 8023328"/>
              <a:gd name="connsiteY1162" fmla="*/ 1095457 h 2380521"/>
              <a:gd name="connsiteX1163" fmla="*/ 6641179 w 8023328"/>
              <a:gd name="connsiteY1163" fmla="*/ 1081600 h 2380521"/>
              <a:gd name="connsiteX1164" fmla="*/ 6653576 w 8023328"/>
              <a:gd name="connsiteY1164" fmla="*/ 1069203 h 2380521"/>
              <a:gd name="connsiteX1165" fmla="*/ 6581764 w 8023328"/>
              <a:gd name="connsiteY1165" fmla="*/ 1069203 h 2380521"/>
              <a:gd name="connsiteX1166" fmla="*/ 6596552 w 8023328"/>
              <a:gd name="connsiteY1166" fmla="*/ 1081600 h 2380521"/>
              <a:gd name="connsiteX1167" fmla="*/ 6581764 w 8023328"/>
              <a:gd name="connsiteY1167" fmla="*/ 1095457 h 2380521"/>
              <a:gd name="connsiteX1168" fmla="*/ 6566976 w 8023328"/>
              <a:gd name="connsiteY1168" fmla="*/ 1081600 h 2380521"/>
              <a:gd name="connsiteX1169" fmla="*/ 6581764 w 8023328"/>
              <a:gd name="connsiteY1169" fmla="*/ 1069203 h 2380521"/>
              <a:gd name="connsiteX1170" fmla="*/ 6510933 w 8023328"/>
              <a:gd name="connsiteY1170" fmla="*/ 1069203 h 2380521"/>
              <a:gd name="connsiteX1171" fmla="*/ 6525722 w 8023328"/>
              <a:gd name="connsiteY1171" fmla="*/ 1081600 h 2380521"/>
              <a:gd name="connsiteX1172" fmla="*/ 6510933 w 8023328"/>
              <a:gd name="connsiteY1172" fmla="*/ 1095457 h 2380521"/>
              <a:gd name="connsiteX1173" fmla="*/ 6496144 w 8023328"/>
              <a:gd name="connsiteY1173" fmla="*/ 1081600 h 2380521"/>
              <a:gd name="connsiteX1174" fmla="*/ 6510933 w 8023328"/>
              <a:gd name="connsiteY1174" fmla="*/ 1069203 h 2380521"/>
              <a:gd name="connsiteX1175" fmla="*/ 6440492 w 8023328"/>
              <a:gd name="connsiteY1175" fmla="*/ 1069203 h 2380521"/>
              <a:gd name="connsiteX1176" fmla="*/ 6454911 w 8023328"/>
              <a:gd name="connsiteY1176" fmla="*/ 1081600 h 2380521"/>
              <a:gd name="connsiteX1177" fmla="*/ 6440492 w 8023328"/>
              <a:gd name="connsiteY1177" fmla="*/ 1095457 h 2380521"/>
              <a:gd name="connsiteX1178" fmla="*/ 6425315 w 8023328"/>
              <a:gd name="connsiteY1178" fmla="*/ 1081600 h 2380521"/>
              <a:gd name="connsiteX1179" fmla="*/ 6440492 w 8023328"/>
              <a:gd name="connsiteY1179" fmla="*/ 1069203 h 2380521"/>
              <a:gd name="connsiteX1180" fmla="*/ 6368340 w 8023328"/>
              <a:gd name="connsiteY1180" fmla="*/ 1069203 h 2380521"/>
              <a:gd name="connsiteX1181" fmla="*/ 6380737 w 8023328"/>
              <a:gd name="connsiteY1181" fmla="*/ 1081600 h 2380521"/>
              <a:gd name="connsiteX1182" fmla="*/ 6368340 w 8023328"/>
              <a:gd name="connsiteY1182" fmla="*/ 1095457 h 2380521"/>
              <a:gd name="connsiteX1183" fmla="*/ 6354484 w 8023328"/>
              <a:gd name="connsiteY1183" fmla="*/ 1081600 h 2380521"/>
              <a:gd name="connsiteX1184" fmla="*/ 6368340 w 8023328"/>
              <a:gd name="connsiteY1184" fmla="*/ 1069203 h 2380521"/>
              <a:gd name="connsiteX1185" fmla="*/ 6297511 w 8023328"/>
              <a:gd name="connsiteY1185" fmla="*/ 1069203 h 2380521"/>
              <a:gd name="connsiteX1186" fmla="*/ 6309908 w 8023328"/>
              <a:gd name="connsiteY1186" fmla="*/ 1081600 h 2380521"/>
              <a:gd name="connsiteX1187" fmla="*/ 6297511 w 8023328"/>
              <a:gd name="connsiteY1187" fmla="*/ 1095457 h 2380521"/>
              <a:gd name="connsiteX1188" fmla="*/ 6283655 w 8023328"/>
              <a:gd name="connsiteY1188" fmla="*/ 1081600 h 2380521"/>
              <a:gd name="connsiteX1189" fmla="*/ 6297511 w 8023328"/>
              <a:gd name="connsiteY1189" fmla="*/ 1069203 h 2380521"/>
              <a:gd name="connsiteX1190" fmla="*/ 6226679 w 8023328"/>
              <a:gd name="connsiteY1190" fmla="*/ 1069203 h 2380521"/>
              <a:gd name="connsiteX1191" fmla="*/ 6239076 w 8023328"/>
              <a:gd name="connsiteY1191" fmla="*/ 1081600 h 2380521"/>
              <a:gd name="connsiteX1192" fmla="*/ 6226679 w 8023328"/>
              <a:gd name="connsiteY1192" fmla="*/ 1095457 h 2380521"/>
              <a:gd name="connsiteX1193" fmla="*/ 6212823 w 8023328"/>
              <a:gd name="connsiteY1193" fmla="*/ 1083059 h 2380521"/>
              <a:gd name="connsiteX1194" fmla="*/ 6226679 w 8023328"/>
              <a:gd name="connsiteY1194" fmla="*/ 1069203 h 2380521"/>
              <a:gd name="connsiteX1195" fmla="*/ 6154391 w 8023328"/>
              <a:gd name="connsiteY1195" fmla="*/ 1069203 h 2380521"/>
              <a:gd name="connsiteX1196" fmla="*/ 6168247 w 8023328"/>
              <a:gd name="connsiteY1196" fmla="*/ 1083059 h 2380521"/>
              <a:gd name="connsiteX1197" fmla="*/ 6154391 w 8023328"/>
              <a:gd name="connsiteY1197" fmla="*/ 1095457 h 2380521"/>
              <a:gd name="connsiteX1198" fmla="*/ 6141994 w 8023328"/>
              <a:gd name="connsiteY1198" fmla="*/ 1083059 h 2380521"/>
              <a:gd name="connsiteX1199" fmla="*/ 6154391 w 8023328"/>
              <a:gd name="connsiteY1199" fmla="*/ 1069203 h 2380521"/>
              <a:gd name="connsiteX1200" fmla="*/ 6083559 w 8023328"/>
              <a:gd name="connsiteY1200" fmla="*/ 1069203 h 2380521"/>
              <a:gd name="connsiteX1201" fmla="*/ 6097415 w 8023328"/>
              <a:gd name="connsiteY1201" fmla="*/ 1083059 h 2380521"/>
              <a:gd name="connsiteX1202" fmla="*/ 6083559 w 8023328"/>
              <a:gd name="connsiteY1202" fmla="*/ 1095457 h 2380521"/>
              <a:gd name="connsiteX1203" fmla="*/ 6071162 w 8023328"/>
              <a:gd name="connsiteY1203" fmla="*/ 1083059 h 2380521"/>
              <a:gd name="connsiteX1204" fmla="*/ 6083559 w 8023328"/>
              <a:gd name="connsiteY1204" fmla="*/ 1069203 h 2380521"/>
              <a:gd name="connsiteX1205" fmla="*/ 6009356 w 8023328"/>
              <a:gd name="connsiteY1205" fmla="*/ 1069203 h 2380521"/>
              <a:gd name="connsiteX1206" fmla="*/ 6023212 w 8023328"/>
              <a:gd name="connsiteY1206" fmla="*/ 1083059 h 2380521"/>
              <a:gd name="connsiteX1207" fmla="*/ 6009356 w 8023328"/>
              <a:gd name="connsiteY1207" fmla="*/ 1095457 h 2380521"/>
              <a:gd name="connsiteX1208" fmla="*/ 5996959 w 8023328"/>
              <a:gd name="connsiteY1208" fmla="*/ 1083059 h 2380521"/>
              <a:gd name="connsiteX1209" fmla="*/ 6009356 w 8023328"/>
              <a:gd name="connsiteY1209" fmla="*/ 1069203 h 2380521"/>
              <a:gd name="connsiteX1210" fmla="*/ 5940548 w 8023328"/>
              <a:gd name="connsiteY1210" fmla="*/ 1069203 h 2380521"/>
              <a:gd name="connsiteX1211" fmla="*/ 5955726 w 8023328"/>
              <a:gd name="connsiteY1211" fmla="*/ 1083059 h 2380521"/>
              <a:gd name="connsiteX1212" fmla="*/ 5940548 w 8023328"/>
              <a:gd name="connsiteY1212" fmla="*/ 1095457 h 2380521"/>
              <a:gd name="connsiteX1213" fmla="*/ 5926130 w 8023328"/>
              <a:gd name="connsiteY1213" fmla="*/ 1083059 h 2380521"/>
              <a:gd name="connsiteX1214" fmla="*/ 5940548 w 8023328"/>
              <a:gd name="connsiteY1214" fmla="*/ 1069203 h 2380521"/>
              <a:gd name="connsiteX1215" fmla="*/ 5870088 w 8023328"/>
              <a:gd name="connsiteY1215" fmla="*/ 1069203 h 2380521"/>
              <a:gd name="connsiteX1216" fmla="*/ 5884877 w 8023328"/>
              <a:gd name="connsiteY1216" fmla="*/ 1083059 h 2380521"/>
              <a:gd name="connsiteX1217" fmla="*/ 5870088 w 8023328"/>
              <a:gd name="connsiteY1217" fmla="*/ 1095457 h 2380521"/>
              <a:gd name="connsiteX1218" fmla="*/ 5855299 w 8023328"/>
              <a:gd name="connsiteY1218" fmla="*/ 1083059 h 2380521"/>
              <a:gd name="connsiteX1219" fmla="*/ 5870088 w 8023328"/>
              <a:gd name="connsiteY1219" fmla="*/ 1069203 h 2380521"/>
              <a:gd name="connsiteX1220" fmla="*/ 5799257 w 8023328"/>
              <a:gd name="connsiteY1220" fmla="*/ 1069203 h 2380521"/>
              <a:gd name="connsiteX1221" fmla="*/ 5814045 w 8023328"/>
              <a:gd name="connsiteY1221" fmla="*/ 1083059 h 2380521"/>
              <a:gd name="connsiteX1222" fmla="*/ 5799257 w 8023328"/>
              <a:gd name="connsiteY1222" fmla="*/ 1095457 h 2380521"/>
              <a:gd name="connsiteX1223" fmla="*/ 5784469 w 8023328"/>
              <a:gd name="connsiteY1223" fmla="*/ 1083059 h 2380521"/>
              <a:gd name="connsiteX1224" fmla="*/ 5799257 w 8023328"/>
              <a:gd name="connsiteY1224" fmla="*/ 1069203 h 2380521"/>
              <a:gd name="connsiteX1225" fmla="*/ 5724122 w 8023328"/>
              <a:gd name="connsiteY1225" fmla="*/ 1069203 h 2380521"/>
              <a:gd name="connsiteX1226" fmla="*/ 5736519 w 8023328"/>
              <a:gd name="connsiteY1226" fmla="*/ 1083059 h 2380521"/>
              <a:gd name="connsiteX1227" fmla="*/ 5724122 w 8023328"/>
              <a:gd name="connsiteY1227" fmla="*/ 1095457 h 2380521"/>
              <a:gd name="connsiteX1228" fmla="*/ 5710266 w 8023328"/>
              <a:gd name="connsiteY1228" fmla="*/ 1083059 h 2380521"/>
              <a:gd name="connsiteX1229" fmla="*/ 5724122 w 8023328"/>
              <a:gd name="connsiteY1229" fmla="*/ 1069203 h 2380521"/>
              <a:gd name="connsiteX1230" fmla="*/ 5653291 w 8023328"/>
              <a:gd name="connsiteY1230" fmla="*/ 1069203 h 2380521"/>
              <a:gd name="connsiteX1231" fmla="*/ 5665688 w 8023328"/>
              <a:gd name="connsiteY1231" fmla="*/ 1083059 h 2380521"/>
              <a:gd name="connsiteX1232" fmla="*/ 5653291 w 8023328"/>
              <a:gd name="connsiteY1232" fmla="*/ 1095457 h 2380521"/>
              <a:gd name="connsiteX1233" fmla="*/ 5639435 w 8023328"/>
              <a:gd name="connsiteY1233" fmla="*/ 1083059 h 2380521"/>
              <a:gd name="connsiteX1234" fmla="*/ 5653291 w 8023328"/>
              <a:gd name="connsiteY1234" fmla="*/ 1069203 h 2380521"/>
              <a:gd name="connsiteX1235" fmla="*/ 5581002 w 8023328"/>
              <a:gd name="connsiteY1235" fmla="*/ 1069203 h 2380521"/>
              <a:gd name="connsiteX1236" fmla="*/ 5594858 w 8023328"/>
              <a:gd name="connsiteY1236" fmla="*/ 1083059 h 2380521"/>
              <a:gd name="connsiteX1237" fmla="*/ 5581002 w 8023328"/>
              <a:gd name="connsiteY1237" fmla="*/ 1095457 h 2380521"/>
              <a:gd name="connsiteX1238" fmla="*/ 5568605 w 8023328"/>
              <a:gd name="connsiteY1238" fmla="*/ 1083059 h 2380521"/>
              <a:gd name="connsiteX1239" fmla="*/ 5581002 w 8023328"/>
              <a:gd name="connsiteY1239" fmla="*/ 1069203 h 2380521"/>
              <a:gd name="connsiteX1240" fmla="*/ 5510171 w 8023328"/>
              <a:gd name="connsiteY1240" fmla="*/ 1069203 h 2380521"/>
              <a:gd name="connsiteX1241" fmla="*/ 5524027 w 8023328"/>
              <a:gd name="connsiteY1241" fmla="*/ 1083059 h 2380521"/>
              <a:gd name="connsiteX1242" fmla="*/ 5510171 w 8023328"/>
              <a:gd name="connsiteY1242" fmla="*/ 1095457 h 2380521"/>
              <a:gd name="connsiteX1243" fmla="*/ 5497774 w 8023328"/>
              <a:gd name="connsiteY1243" fmla="*/ 1083059 h 2380521"/>
              <a:gd name="connsiteX1244" fmla="*/ 5510171 w 8023328"/>
              <a:gd name="connsiteY1244" fmla="*/ 1069203 h 2380521"/>
              <a:gd name="connsiteX1245" fmla="*/ 5438937 w 8023328"/>
              <a:gd name="connsiteY1245" fmla="*/ 1069203 h 2380521"/>
              <a:gd name="connsiteX1246" fmla="*/ 5453178 w 8023328"/>
              <a:gd name="connsiteY1246" fmla="*/ 1083059 h 2380521"/>
              <a:gd name="connsiteX1247" fmla="*/ 5438937 w 8023328"/>
              <a:gd name="connsiteY1247" fmla="*/ 1095457 h 2380521"/>
              <a:gd name="connsiteX1248" fmla="*/ 5426945 w 8023328"/>
              <a:gd name="connsiteY1248" fmla="*/ 1083059 h 2380521"/>
              <a:gd name="connsiteX1249" fmla="*/ 5438937 w 8023328"/>
              <a:gd name="connsiteY1249" fmla="*/ 1069203 h 2380521"/>
              <a:gd name="connsiteX1250" fmla="*/ 5367530 w 8023328"/>
              <a:gd name="connsiteY1250" fmla="*/ 1069203 h 2380521"/>
              <a:gd name="connsiteX1251" fmla="*/ 5382318 w 8023328"/>
              <a:gd name="connsiteY1251" fmla="*/ 1083059 h 2380521"/>
              <a:gd name="connsiteX1252" fmla="*/ 5367530 w 8023328"/>
              <a:gd name="connsiteY1252" fmla="*/ 1095457 h 2380521"/>
              <a:gd name="connsiteX1253" fmla="*/ 5352742 w 8023328"/>
              <a:gd name="connsiteY1253" fmla="*/ 1083059 h 2380521"/>
              <a:gd name="connsiteX1254" fmla="*/ 5367530 w 8023328"/>
              <a:gd name="connsiteY1254" fmla="*/ 1069203 h 2380521"/>
              <a:gd name="connsiteX1255" fmla="*/ 5296699 w 8023328"/>
              <a:gd name="connsiteY1255" fmla="*/ 1069203 h 2380521"/>
              <a:gd name="connsiteX1256" fmla="*/ 5311488 w 8023328"/>
              <a:gd name="connsiteY1256" fmla="*/ 1083059 h 2380521"/>
              <a:gd name="connsiteX1257" fmla="*/ 5296699 w 8023328"/>
              <a:gd name="connsiteY1257" fmla="*/ 1095457 h 2380521"/>
              <a:gd name="connsiteX1258" fmla="*/ 5281910 w 8023328"/>
              <a:gd name="connsiteY1258" fmla="*/ 1083059 h 2380521"/>
              <a:gd name="connsiteX1259" fmla="*/ 5296699 w 8023328"/>
              <a:gd name="connsiteY1259" fmla="*/ 1069203 h 2380521"/>
              <a:gd name="connsiteX1260" fmla="*/ 5225869 w 8023328"/>
              <a:gd name="connsiteY1260" fmla="*/ 1069203 h 2380521"/>
              <a:gd name="connsiteX1261" fmla="*/ 5240657 w 8023328"/>
              <a:gd name="connsiteY1261" fmla="*/ 1083059 h 2380521"/>
              <a:gd name="connsiteX1262" fmla="*/ 5225869 w 8023328"/>
              <a:gd name="connsiteY1262" fmla="*/ 1095457 h 2380521"/>
              <a:gd name="connsiteX1263" fmla="*/ 5211081 w 8023328"/>
              <a:gd name="connsiteY1263" fmla="*/ 1083059 h 2380521"/>
              <a:gd name="connsiteX1264" fmla="*/ 5225869 w 8023328"/>
              <a:gd name="connsiteY1264" fmla="*/ 1069203 h 2380521"/>
              <a:gd name="connsiteX1265" fmla="*/ 5154105 w 8023328"/>
              <a:gd name="connsiteY1265" fmla="*/ 1069203 h 2380521"/>
              <a:gd name="connsiteX1266" fmla="*/ 5166502 w 8023328"/>
              <a:gd name="connsiteY1266" fmla="*/ 1083059 h 2380521"/>
              <a:gd name="connsiteX1267" fmla="*/ 5154105 w 8023328"/>
              <a:gd name="connsiteY1267" fmla="*/ 1095457 h 2380521"/>
              <a:gd name="connsiteX1268" fmla="*/ 5140249 w 8023328"/>
              <a:gd name="connsiteY1268" fmla="*/ 1083059 h 2380521"/>
              <a:gd name="connsiteX1269" fmla="*/ 5154105 w 8023328"/>
              <a:gd name="connsiteY1269" fmla="*/ 1069203 h 2380521"/>
              <a:gd name="connsiteX1270" fmla="*/ 5083276 w 8023328"/>
              <a:gd name="connsiteY1270" fmla="*/ 1069203 h 2380521"/>
              <a:gd name="connsiteX1271" fmla="*/ 5095673 w 8023328"/>
              <a:gd name="connsiteY1271" fmla="*/ 1083059 h 2380521"/>
              <a:gd name="connsiteX1272" fmla="*/ 5083276 w 8023328"/>
              <a:gd name="connsiteY1272" fmla="*/ 1095457 h 2380521"/>
              <a:gd name="connsiteX1273" fmla="*/ 5069420 w 8023328"/>
              <a:gd name="connsiteY1273" fmla="*/ 1083059 h 2380521"/>
              <a:gd name="connsiteX1274" fmla="*/ 5083276 w 8023328"/>
              <a:gd name="connsiteY1274" fmla="*/ 1069203 h 2380521"/>
              <a:gd name="connsiteX1275" fmla="*/ 5012445 w 8023328"/>
              <a:gd name="connsiteY1275" fmla="*/ 1069203 h 2380521"/>
              <a:gd name="connsiteX1276" fmla="*/ 5024842 w 8023328"/>
              <a:gd name="connsiteY1276" fmla="*/ 1083059 h 2380521"/>
              <a:gd name="connsiteX1277" fmla="*/ 5012445 w 8023328"/>
              <a:gd name="connsiteY1277" fmla="*/ 1095457 h 2380521"/>
              <a:gd name="connsiteX1278" fmla="*/ 4998589 w 8023328"/>
              <a:gd name="connsiteY1278" fmla="*/ 1083059 h 2380521"/>
              <a:gd name="connsiteX1279" fmla="*/ 5012445 w 8023328"/>
              <a:gd name="connsiteY1279" fmla="*/ 1069203 h 2380521"/>
              <a:gd name="connsiteX1280" fmla="*/ 4940157 w 8023328"/>
              <a:gd name="connsiteY1280" fmla="*/ 1069203 h 2380521"/>
              <a:gd name="connsiteX1281" fmla="*/ 4954013 w 8023328"/>
              <a:gd name="connsiteY1281" fmla="*/ 1083059 h 2380521"/>
              <a:gd name="connsiteX1282" fmla="*/ 4940157 w 8023328"/>
              <a:gd name="connsiteY1282" fmla="*/ 1095457 h 2380521"/>
              <a:gd name="connsiteX1283" fmla="*/ 4927760 w 8023328"/>
              <a:gd name="connsiteY1283" fmla="*/ 1083059 h 2380521"/>
              <a:gd name="connsiteX1284" fmla="*/ 4940157 w 8023328"/>
              <a:gd name="connsiteY1284" fmla="*/ 1069203 h 2380521"/>
              <a:gd name="connsiteX1285" fmla="*/ 4865953 w 8023328"/>
              <a:gd name="connsiteY1285" fmla="*/ 1069203 h 2380521"/>
              <a:gd name="connsiteX1286" fmla="*/ 4879809 w 8023328"/>
              <a:gd name="connsiteY1286" fmla="*/ 1083059 h 2380521"/>
              <a:gd name="connsiteX1287" fmla="*/ 4865953 w 8023328"/>
              <a:gd name="connsiteY1287" fmla="*/ 1095457 h 2380521"/>
              <a:gd name="connsiteX1288" fmla="*/ 4853556 w 8023328"/>
              <a:gd name="connsiteY1288" fmla="*/ 1083059 h 2380521"/>
              <a:gd name="connsiteX1289" fmla="*/ 4865953 w 8023328"/>
              <a:gd name="connsiteY1289" fmla="*/ 1069203 h 2380521"/>
              <a:gd name="connsiteX1290" fmla="*/ 4795122 w 8023328"/>
              <a:gd name="connsiteY1290" fmla="*/ 1069203 h 2380521"/>
              <a:gd name="connsiteX1291" fmla="*/ 4808978 w 8023328"/>
              <a:gd name="connsiteY1291" fmla="*/ 1083059 h 2380521"/>
              <a:gd name="connsiteX1292" fmla="*/ 4795122 w 8023328"/>
              <a:gd name="connsiteY1292" fmla="*/ 1095457 h 2380521"/>
              <a:gd name="connsiteX1293" fmla="*/ 4782725 w 8023328"/>
              <a:gd name="connsiteY1293" fmla="*/ 1083059 h 2380521"/>
              <a:gd name="connsiteX1294" fmla="*/ 4795122 w 8023328"/>
              <a:gd name="connsiteY1294" fmla="*/ 1069203 h 2380521"/>
              <a:gd name="connsiteX1295" fmla="*/ 4726684 w 8023328"/>
              <a:gd name="connsiteY1295" fmla="*/ 1069203 h 2380521"/>
              <a:gd name="connsiteX1296" fmla="*/ 4741472 w 8023328"/>
              <a:gd name="connsiteY1296" fmla="*/ 1083059 h 2380521"/>
              <a:gd name="connsiteX1297" fmla="*/ 4726684 w 8023328"/>
              <a:gd name="connsiteY1297" fmla="*/ 1095457 h 2380521"/>
              <a:gd name="connsiteX1298" fmla="*/ 4711896 w 8023328"/>
              <a:gd name="connsiteY1298" fmla="*/ 1083059 h 2380521"/>
              <a:gd name="connsiteX1299" fmla="*/ 4726684 w 8023328"/>
              <a:gd name="connsiteY1299" fmla="*/ 1069203 h 2380521"/>
              <a:gd name="connsiteX1300" fmla="*/ 4655853 w 8023328"/>
              <a:gd name="connsiteY1300" fmla="*/ 1069203 h 2380521"/>
              <a:gd name="connsiteX1301" fmla="*/ 4670642 w 8023328"/>
              <a:gd name="connsiteY1301" fmla="*/ 1083059 h 2380521"/>
              <a:gd name="connsiteX1302" fmla="*/ 4655853 w 8023328"/>
              <a:gd name="connsiteY1302" fmla="*/ 1095457 h 2380521"/>
              <a:gd name="connsiteX1303" fmla="*/ 4641064 w 8023328"/>
              <a:gd name="connsiteY1303" fmla="*/ 1083059 h 2380521"/>
              <a:gd name="connsiteX1304" fmla="*/ 4655853 w 8023328"/>
              <a:gd name="connsiteY1304" fmla="*/ 1069203 h 2380521"/>
              <a:gd name="connsiteX1305" fmla="*/ 4585023 w 8023328"/>
              <a:gd name="connsiteY1305" fmla="*/ 1069203 h 2380521"/>
              <a:gd name="connsiteX1306" fmla="*/ 4599811 w 8023328"/>
              <a:gd name="connsiteY1306" fmla="*/ 1083059 h 2380521"/>
              <a:gd name="connsiteX1307" fmla="*/ 4585023 w 8023328"/>
              <a:gd name="connsiteY1307" fmla="*/ 1095457 h 2380521"/>
              <a:gd name="connsiteX1308" fmla="*/ 4570235 w 8023328"/>
              <a:gd name="connsiteY1308" fmla="*/ 1083059 h 2380521"/>
              <a:gd name="connsiteX1309" fmla="*/ 4585023 w 8023328"/>
              <a:gd name="connsiteY1309" fmla="*/ 1069203 h 2380521"/>
              <a:gd name="connsiteX1310" fmla="*/ 4513260 w 8023328"/>
              <a:gd name="connsiteY1310" fmla="*/ 1069203 h 2380521"/>
              <a:gd name="connsiteX1311" fmla="*/ 4525657 w 8023328"/>
              <a:gd name="connsiteY1311" fmla="*/ 1083991 h 2380521"/>
              <a:gd name="connsiteX1312" fmla="*/ 4513260 w 8023328"/>
              <a:gd name="connsiteY1312" fmla="*/ 1098780 h 2380521"/>
              <a:gd name="connsiteX1313" fmla="*/ 4499404 w 8023328"/>
              <a:gd name="connsiteY1313" fmla="*/ 1083991 h 2380521"/>
              <a:gd name="connsiteX1314" fmla="*/ 4513260 w 8023328"/>
              <a:gd name="connsiteY1314" fmla="*/ 1069203 h 2380521"/>
              <a:gd name="connsiteX1315" fmla="*/ 4439056 w 8023328"/>
              <a:gd name="connsiteY1315" fmla="*/ 1069203 h 2380521"/>
              <a:gd name="connsiteX1316" fmla="*/ 4451453 w 8023328"/>
              <a:gd name="connsiteY1316" fmla="*/ 1083991 h 2380521"/>
              <a:gd name="connsiteX1317" fmla="*/ 4439056 w 8023328"/>
              <a:gd name="connsiteY1317" fmla="*/ 1098780 h 2380521"/>
              <a:gd name="connsiteX1318" fmla="*/ 4425200 w 8023328"/>
              <a:gd name="connsiteY1318" fmla="*/ 1083991 h 2380521"/>
              <a:gd name="connsiteX1319" fmla="*/ 4439056 w 8023328"/>
              <a:gd name="connsiteY1319" fmla="*/ 1069203 h 2380521"/>
              <a:gd name="connsiteX1320" fmla="*/ 4366768 w 8023328"/>
              <a:gd name="connsiteY1320" fmla="*/ 1069203 h 2380521"/>
              <a:gd name="connsiteX1321" fmla="*/ 4380624 w 8023328"/>
              <a:gd name="connsiteY1321" fmla="*/ 1083991 h 2380521"/>
              <a:gd name="connsiteX1322" fmla="*/ 4366768 w 8023328"/>
              <a:gd name="connsiteY1322" fmla="*/ 1098780 h 2380521"/>
              <a:gd name="connsiteX1323" fmla="*/ 4354371 w 8023328"/>
              <a:gd name="connsiteY1323" fmla="*/ 1083991 h 2380521"/>
              <a:gd name="connsiteX1324" fmla="*/ 4366768 w 8023328"/>
              <a:gd name="connsiteY1324" fmla="*/ 1069203 h 2380521"/>
              <a:gd name="connsiteX1325" fmla="*/ 4295937 w 8023328"/>
              <a:gd name="connsiteY1325" fmla="*/ 1069203 h 2380521"/>
              <a:gd name="connsiteX1326" fmla="*/ 4309793 w 8023328"/>
              <a:gd name="connsiteY1326" fmla="*/ 1083991 h 2380521"/>
              <a:gd name="connsiteX1327" fmla="*/ 4295937 w 8023328"/>
              <a:gd name="connsiteY1327" fmla="*/ 1098780 h 2380521"/>
              <a:gd name="connsiteX1328" fmla="*/ 4283540 w 8023328"/>
              <a:gd name="connsiteY1328" fmla="*/ 1083991 h 2380521"/>
              <a:gd name="connsiteX1329" fmla="*/ 4295937 w 8023328"/>
              <a:gd name="connsiteY1329" fmla="*/ 1069203 h 2380521"/>
              <a:gd name="connsiteX1330" fmla="*/ 4225107 w 8023328"/>
              <a:gd name="connsiteY1330" fmla="*/ 1069203 h 2380521"/>
              <a:gd name="connsiteX1331" fmla="*/ 4238963 w 8023328"/>
              <a:gd name="connsiteY1331" fmla="*/ 1083991 h 2380521"/>
              <a:gd name="connsiteX1332" fmla="*/ 4225107 w 8023328"/>
              <a:gd name="connsiteY1332" fmla="*/ 1098780 h 2380521"/>
              <a:gd name="connsiteX1333" fmla="*/ 4212710 w 8023328"/>
              <a:gd name="connsiteY1333" fmla="*/ 1083991 h 2380521"/>
              <a:gd name="connsiteX1334" fmla="*/ 4225107 w 8023328"/>
              <a:gd name="connsiteY1334" fmla="*/ 1069203 h 2380521"/>
              <a:gd name="connsiteX1335" fmla="*/ 4153295 w 8023328"/>
              <a:gd name="connsiteY1335" fmla="*/ 1069203 h 2380521"/>
              <a:gd name="connsiteX1336" fmla="*/ 4168083 w 8023328"/>
              <a:gd name="connsiteY1336" fmla="*/ 1083991 h 2380521"/>
              <a:gd name="connsiteX1337" fmla="*/ 4153295 w 8023328"/>
              <a:gd name="connsiteY1337" fmla="*/ 1098780 h 2380521"/>
              <a:gd name="connsiteX1338" fmla="*/ 4138507 w 8023328"/>
              <a:gd name="connsiteY1338" fmla="*/ 1083991 h 2380521"/>
              <a:gd name="connsiteX1339" fmla="*/ 4153295 w 8023328"/>
              <a:gd name="connsiteY1339" fmla="*/ 1069203 h 2380521"/>
              <a:gd name="connsiteX1340" fmla="*/ 4082465 w 8023328"/>
              <a:gd name="connsiteY1340" fmla="*/ 1069203 h 2380521"/>
              <a:gd name="connsiteX1341" fmla="*/ 4097254 w 8023328"/>
              <a:gd name="connsiteY1341" fmla="*/ 1083991 h 2380521"/>
              <a:gd name="connsiteX1342" fmla="*/ 4082465 w 8023328"/>
              <a:gd name="connsiteY1342" fmla="*/ 1098780 h 2380521"/>
              <a:gd name="connsiteX1343" fmla="*/ 4067676 w 8023328"/>
              <a:gd name="connsiteY1343" fmla="*/ 1083991 h 2380521"/>
              <a:gd name="connsiteX1344" fmla="*/ 4082465 w 8023328"/>
              <a:gd name="connsiteY1344" fmla="*/ 1069203 h 2380521"/>
              <a:gd name="connsiteX1345" fmla="*/ 4011635 w 8023328"/>
              <a:gd name="connsiteY1345" fmla="*/ 1069203 h 2380521"/>
              <a:gd name="connsiteX1346" fmla="*/ 4026423 w 8023328"/>
              <a:gd name="connsiteY1346" fmla="*/ 1083991 h 2380521"/>
              <a:gd name="connsiteX1347" fmla="*/ 4011635 w 8023328"/>
              <a:gd name="connsiteY1347" fmla="*/ 1098780 h 2380521"/>
              <a:gd name="connsiteX1348" fmla="*/ 3996847 w 8023328"/>
              <a:gd name="connsiteY1348" fmla="*/ 1083991 h 2380521"/>
              <a:gd name="connsiteX1349" fmla="*/ 4011635 w 8023328"/>
              <a:gd name="connsiteY1349" fmla="*/ 1069203 h 2380521"/>
              <a:gd name="connsiteX1350" fmla="*/ 3939871 w 8023328"/>
              <a:gd name="connsiteY1350" fmla="*/ 1069203 h 2380521"/>
              <a:gd name="connsiteX1351" fmla="*/ 3952268 w 8023328"/>
              <a:gd name="connsiteY1351" fmla="*/ 1083991 h 2380521"/>
              <a:gd name="connsiteX1352" fmla="*/ 3939871 w 8023328"/>
              <a:gd name="connsiteY1352" fmla="*/ 1098780 h 2380521"/>
              <a:gd name="connsiteX1353" fmla="*/ 3926015 w 8023328"/>
              <a:gd name="connsiteY1353" fmla="*/ 1083991 h 2380521"/>
              <a:gd name="connsiteX1354" fmla="*/ 3939871 w 8023328"/>
              <a:gd name="connsiteY1354" fmla="*/ 1069203 h 2380521"/>
              <a:gd name="connsiteX1355" fmla="*/ 582439 w 8023328"/>
              <a:gd name="connsiteY1355" fmla="*/ 1069203 h 2380521"/>
              <a:gd name="connsiteX1356" fmla="*/ 596295 w 8023328"/>
              <a:gd name="connsiteY1356" fmla="*/ 1083059 h 2380521"/>
              <a:gd name="connsiteX1357" fmla="*/ 582439 w 8023328"/>
              <a:gd name="connsiteY1357" fmla="*/ 1095457 h 2380521"/>
              <a:gd name="connsiteX1358" fmla="*/ 570041 w 8023328"/>
              <a:gd name="connsiteY1358" fmla="*/ 1083059 h 2380521"/>
              <a:gd name="connsiteX1359" fmla="*/ 582439 w 8023328"/>
              <a:gd name="connsiteY1359" fmla="*/ 1069203 h 2380521"/>
              <a:gd name="connsiteX1360" fmla="*/ 513628 w 8023328"/>
              <a:gd name="connsiteY1360" fmla="*/ 1069203 h 2380521"/>
              <a:gd name="connsiteX1361" fmla="*/ 528807 w 8023328"/>
              <a:gd name="connsiteY1361" fmla="*/ 1083059 h 2380521"/>
              <a:gd name="connsiteX1362" fmla="*/ 513628 w 8023328"/>
              <a:gd name="connsiteY1362" fmla="*/ 1095457 h 2380521"/>
              <a:gd name="connsiteX1363" fmla="*/ 499209 w 8023328"/>
              <a:gd name="connsiteY1363" fmla="*/ 1083059 h 2380521"/>
              <a:gd name="connsiteX1364" fmla="*/ 513628 w 8023328"/>
              <a:gd name="connsiteY1364" fmla="*/ 1069203 h 2380521"/>
              <a:gd name="connsiteX1365" fmla="*/ 439795 w 8023328"/>
              <a:gd name="connsiteY1365" fmla="*/ 1069203 h 2380521"/>
              <a:gd name="connsiteX1366" fmla="*/ 454585 w 8023328"/>
              <a:gd name="connsiteY1366" fmla="*/ 1083059 h 2380521"/>
              <a:gd name="connsiteX1367" fmla="*/ 439795 w 8023328"/>
              <a:gd name="connsiteY1367" fmla="*/ 1095457 h 2380521"/>
              <a:gd name="connsiteX1368" fmla="*/ 425007 w 8023328"/>
              <a:gd name="connsiteY1368" fmla="*/ 1083059 h 2380521"/>
              <a:gd name="connsiteX1369" fmla="*/ 439795 w 8023328"/>
              <a:gd name="connsiteY1369" fmla="*/ 1069203 h 2380521"/>
              <a:gd name="connsiteX1370" fmla="*/ 368965 w 8023328"/>
              <a:gd name="connsiteY1370" fmla="*/ 1069203 h 2380521"/>
              <a:gd name="connsiteX1371" fmla="*/ 383754 w 8023328"/>
              <a:gd name="connsiteY1371" fmla="*/ 1083059 h 2380521"/>
              <a:gd name="connsiteX1372" fmla="*/ 368965 w 8023328"/>
              <a:gd name="connsiteY1372" fmla="*/ 1095457 h 2380521"/>
              <a:gd name="connsiteX1373" fmla="*/ 354177 w 8023328"/>
              <a:gd name="connsiteY1373" fmla="*/ 1083059 h 2380521"/>
              <a:gd name="connsiteX1374" fmla="*/ 368965 w 8023328"/>
              <a:gd name="connsiteY1374" fmla="*/ 1069203 h 2380521"/>
              <a:gd name="connsiteX1375" fmla="*/ 297201 w 8023328"/>
              <a:gd name="connsiteY1375" fmla="*/ 1069203 h 2380521"/>
              <a:gd name="connsiteX1376" fmla="*/ 309599 w 8023328"/>
              <a:gd name="connsiteY1376" fmla="*/ 1083059 h 2380521"/>
              <a:gd name="connsiteX1377" fmla="*/ 297201 w 8023328"/>
              <a:gd name="connsiteY1377" fmla="*/ 1095457 h 2380521"/>
              <a:gd name="connsiteX1378" fmla="*/ 283346 w 8023328"/>
              <a:gd name="connsiteY1378" fmla="*/ 1083059 h 2380521"/>
              <a:gd name="connsiteX1379" fmla="*/ 297201 w 8023328"/>
              <a:gd name="connsiteY1379" fmla="*/ 1069203 h 2380521"/>
              <a:gd name="connsiteX1380" fmla="*/ 226372 w 8023328"/>
              <a:gd name="connsiteY1380" fmla="*/ 1069203 h 2380521"/>
              <a:gd name="connsiteX1381" fmla="*/ 238771 w 8023328"/>
              <a:gd name="connsiteY1381" fmla="*/ 1083059 h 2380521"/>
              <a:gd name="connsiteX1382" fmla="*/ 226372 w 8023328"/>
              <a:gd name="connsiteY1382" fmla="*/ 1095457 h 2380521"/>
              <a:gd name="connsiteX1383" fmla="*/ 212516 w 8023328"/>
              <a:gd name="connsiteY1383" fmla="*/ 1083059 h 2380521"/>
              <a:gd name="connsiteX1384" fmla="*/ 226372 w 8023328"/>
              <a:gd name="connsiteY1384" fmla="*/ 1069203 h 2380521"/>
              <a:gd name="connsiteX1385" fmla="*/ 154079 w 8023328"/>
              <a:gd name="connsiteY1385" fmla="*/ 1069203 h 2380521"/>
              <a:gd name="connsiteX1386" fmla="*/ 167935 w 8023328"/>
              <a:gd name="connsiteY1386" fmla="*/ 1083059 h 2380521"/>
              <a:gd name="connsiteX1387" fmla="*/ 154079 w 8023328"/>
              <a:gd name="connsiteY1387" fmla="*/ 1095457 h 2380521"/>
              <a:gd name="connsiteX1388" fmla="*/ 141682 w 8023328"/>
              <a:gd name="connsiteY1388" fmla="*/ 1083059 h 2380521"/>
              <a:gd name="connsiteX1389" fmla="*/ 154079 w 8023328"/>
              <a:gd name="connsiteY1389" fmla="*/ 1069203 h 2380521"/>
              <a:gd name="connsiteX1390" fmla="*/ 83249 w 8023328"/>
              <a:gd name="connsiteY1390" fmla="*/ 1069203 h 2380521"/>
              <a:gd name="connsiteX1391" fmla="*/ 97105 w 8023328"/>
              <a:gd name="connsiteY1391" fmla="*/ 1083059 h 2380521"/>
              <a:gd name="connsiteX1392" fmla="*/ 83249 w 8023328"/>
              <a:gd name="connsiteY1392" fmla="*/ 1095457 h 2380521"/>
              <a:gd name="connsiteX1393" fmla="*/ 70852 w 8023328"/>
              <a:gd name="connsiteY1393" fmla="*/ 1083059 h 2380521"/>
              <a:gd name="connsiteX1394" fmla="*/ 83249 w 8023328"/>
              <a:gd name="connsiteY1394" fmla="*/ 1069203 h 2380521"/>
              <a:gd name="connsiteX1395" fmla="*/ 12014 w 8023328"/>
              <a:gd name="connsiteY1395" fmla="*/ 1069203 h 2380521"/>
              <a:gd name="connsiteX1396" fmla="*/ 26255 w 8023328"/>
              <a:gd name="connsiteY1396" fmla="*/ 1083059 h 2380521"/>
              <a:gd name="connsiteX1397" fmla="*/ 12014 w 8023328"/>
              <a:gd name="connsiteY1397" fmla="*/ 1095457 h 2380521"/>
              <a:gd name="connsiteX1398" fmla="*/ 21 w 8023328"/>
              <a:gd name="connsiteY1398" fmla="*/ 1083059 h 2380521"/>
              <a:gd name="connsiteX1399" fmla="*/ 12014 w 8023328"/>
              <a:gd name="connsiteY1399" fmla="*/ 1069203 h 2380521"/>
              <a:gd name="connsiteX1400" fmla="*/ 6724405 w 8023328"/>
              <a:gd name="connsiteY1400" fmla="*/ 998371 h 2380521"/>
              <a:gd name="connsiteX1401" fmla="*/ 6738261 w 8023328"/>
              <a:gd name="connsiteY1401" fmla="*/ 1010768 h 2380521"/>
              <a:gd name="connsiteX1402" fmla="*/ 6724405 w 8023328"/>
              <a:gd name="connsiteY1402" fmla="*/ 1024625 h 2380521"/>
              <a:gd name="connsiteX1403" fmla="*/ 6712008 w 8023328"/>
              <a:gd name="connsiteY1403" fmla="*/ 1010768 h 2380521"/>
              <a:gd name="connsiteX1404" fmla="*/ 6724405 w 8023328"/>
              <a:gd name="connsiteY1404" fmla="*/ 998371 h 2380521"/>
              <a:gd name="connsiteX1405" fmla="*/ 6653576 w 8023328"/>
              <a:gd name="connsiteY1405" fmla="*/ 998371 h 2380521"/>
              <a:gd name="connsiteX1406" fmla="*/ 6667432 w 8023328"/>
              <a:gd name="connsiteY1406" fmla="*/ 1010768 h 2380521"/>
              <a:gd name="connsiteX1407" fmla="*/ 6653576 w 8023328"/>
              <a:gd name="connsiteY1407" fmla="*/ 1024625 h 2380521"/>
              <a:gd name="connsiteX1408" fmla="*/ 6641179 w 8023328"/>
              <a:gd name="connsiteY1408" fmla="*/ 1010768 h 2380521"/>
              <a:gd name="connsiteX1409" fmla="*/ 6653576 w 8023328"/>
              <a:gd name="connsiteY1409" fmla="*/ 998371 h 2380521"/>
              <a:gd name="connsiteX1410" fmla="*/ 6581764 w 8023328"/>
              <a:gd name="connsiteY1410" fmla="*/ 998371 h 2380521"/>
              <a:gd name="connsiteX1411" fmla="*/ 6596552 w 8023328"/>
              <a:gd name="connsiteY1411" fmla="*/ 1010768 h 2380521"/>
              <a:gd name="connsiteX1412" fmla="*/ 6581764 w 8023328"/>
              <a:gd name="connsiteY1412" fmla="*/ 1024625 h 2380521"/>
              <a:gd name="connsiteX1413" fmla="*/ 6566976 w 8023328"/>
              <a:gd name="connsiteY1413" fmla="*/ 1010768 h 2380521"/>
              <a:gd name="connsiteX1414" fmla="*/ 6581764 w 8023328"/>
              <a:gd name="connsiteY1414" fmla="*/ 998371 h 2380521"/>
              <a:gd name="connsiteX1415" fmla="*/ 6510933 w 8023328"/>
              <a:gd name="connsiteY1415" fmla="*/ 998371 h 2380521"/>
              <a:gd name="connsiteX1416" fmla="*/ 6525722 w 8023328"/>
              <a:gd name="connsiteY1416" fmla="*/ 1010768 h 2380521"/>
              <a:gd name="connsiteX1417" fmla="*/ 6510933 w 8023328"/>
              <a:gd name="connsiteY1417" fmla="*/ 1024625 h 2380521"/>
              <a:gd name="connsiteX1418" fmla="*/ 6496144 w 8023328"/>
              <a:gd name="connsiteY1418" fmla="*/ 1010768 h 2380521"/>
              <a:gd name="connsiteX1419" fmla="*/ 6510933 w 8023328"/>
              <a:gd name="connsiteY1419" fmla="*/ 998371 h 2380521"/>
              <a:gd name="connsiteX1420" fmla="*/ 6440492 w 8023328"/>
              <a:gd name="connsiteY1420" fmla="*/ 998371 h 2380521"/>
              <a:gd name="connsiteX1421" fmla="*/ 6454911 w 8023328"/>
              <a:gd name="connsiteY1421" fmla="*/ 1010768 h 2380521"/>
              <a:gd name="connsiteX1422" fmla="*/ 6440492 w 8023328"/>
              <a:gd name="connsiteY1422" fmla="*/ 1024625 h 2380521"/>
              <a:gd name="connsiteX1423" fmla="*/ 6425315 w 8023328"/>
              <a:gd name="connsiteY1423" fmla="*/ 1010768 h 2380521"/>
              <a:gd name="connsiteX1424" fmla="*/ 6440492 w 8023328"/>
              <a:gd name="connsiteY1424" fmla="*/ 998371 h 2380521"/>
              <a:gd name="connsiteX1425" fmla="*/ 6368340 w 8023328"/>
              <a:gd name="connsiteY1425" fmla="*/ 998371 h 2380521"/>
              <a:gd name="connsiteX1426" fmla="*/ 6380737 w 8023328"/>
              <a:gd name="connsiteY1426" fmla="*/ 1010768 h 2380521"/>
              <a:gd name="connsiteX1427" fmla="*/ 6368340 w 8023328"/>
              <a:gd name="connsiteY1427" fmla="*/ 1024625 h 2380521"/>
              <a:gd name="connsiteX1428" fmla="*/ 6354484 w 8023328"/>
              <a:gd name="connsiteY1428" fmla="*/ 1010768 h 2380521"/>
              <a:gd name="connsiteX1429" fmla="*/ 6368340 w 8023328"/>
              <a:gd name="connsiteY1429" fmla="*/ 998371 h 2380521"/>
              <a:gd name="connsiteX1430" fmla="*/ 6297511 w 8023328"/>
              <a:gd name="connsiteY1430" fmla="*/ 998371 h 2380521"/>
              <a:gd name="connsiteX1431" fmla="*/ 6309908 w 8023328"/>
              <a:gd name="connsiteY1431" fmla="*/ 1010768 h 2380521"/>
              <a:gd name="connsiteX1432" fmla="*/ 6297511 w 8023328"/>
              <a:gd name="connsiteY1432" fmla="*/ 1024625 h 2380521"/>
              <a:gd name="connsiteX1433" fmla="*/ 6283655 w 8023328"/>
              <a:gd name="connsiteY1433" fmla="*/ 1010768 h 2380521"/>
              <a:gd name="connsiteX1434" fmla="*/ 6297511 w 8023328"/>
              <a:gd name="connsiteY1434" fmla="*/ 998371 h 2380521"/>
              <a:gd name="connsiteX1435" fmla="*/ 6226679 w 8023328"/>
              <a:gd name="connsiteY1435" fmla="*/ 998371 h 2380521"/>
              <a:gd name="connsiteX1436" fmla="*/ 6239076 w 8023328"/>
              <a:gd name="connsiteY1436" fmla="*/ 1010768 h 2380521"/>
              <a:gd name="connsiteX1437" fmla="*/ 6226679 w 8023328"/>
              <a:gd name="connsiteY1437" fmla="*/ 1024625 h 2380521"/>
              <a:gd name="connsiteX1438" fmla="*/ 6212823 w 8023328"/>
              <a:gd name="connsiteY1438" fmla="*/ 1010768 h 2380521"/>
              <a:gd name="connsiteX1439" fmla="*/ 6226679 w 8023328"/>
              <a:gd name="connsiteY1439" fmla="*/ 998371 h 2380521"/>
              <a:gd name="connsiteX1440" fmla="*/ 6154391 w 8023328"/>
              <a:gd name="connsiteY1440" fmla="*/ 998371 h 2380521"/>
              <a:gd name="connsiteX1441" fmla="*/ 6168247 w 8023328"/>
              <a:gd name="connsiteY1441" fmla="*/ 1010768 h 2380521"/>
              <a:gd name="connsiteX1442" fmla="*/ 6154391 w 8023328"/>
              <a:gd name="connsiteY1442" fmla="*/ 1024625 h 2380521"/>
              <a:gd name="connsiteX1443" fmla="*/ 6141994 w 8023328"/>
              <a:gd name="connsiteY1443" fmla="*/ 1010768 h 2380521"/>
              <a:gd name="connsiteX1444" fmla="*/ 6154391 w 8023328"/>
              <a:gd name="connsiteY1444" fmla="*/ 998371 h 2380521"/>
              <a:gd name="connsiteX1445" fmla="*/ 6083559 w 8023328"/>
              <a:gd name="connsiteY1445" fmla="*/ 998371 h 2380521"/>
              <a:gd name="connsiteX1446" fmla="*/ 6097415 w 8023328"/>
              <a:gd name="connsiteY1446" fmla="*/ 1010768 h 2380521"/>
              <a:gd name="connsiteX1447" fmla="*/ 6083559 w 8023328"/>
              <a:gd name="connsiteY1447" fmla="*/ 1024625 h 2380521"/>
              <a:gd name="connsiteX1448" fmla="*/ 6071162 w 8023328"/>
              <a:gd name="connsiteY1448" fmla="*/ 1010768 h 2380521"/>
              <a:gd name="connsiteX1449" fmla="*/ 6083559 w 8023328"/>
              <a:gd name="connsiteY1449" fmla="*/ 998371 h 2380521"/>
              <a:gd name="connsiteX1450" fmla="*/ 6009356 w 8023328"/>
              <a:gd name="connsiteY1450" fmla="*/ 998371 h 2380521"/>
              <a:gd name="connsiteX1451" fmla="*/ 6023212 w 8023328"/>
              <a:gd name="connsiteY1451" fmla="*/ 1010768 h 2380521"/>
              <a:gd name="connsiteX1452" fmla="*/ 6009356 w 8023328"/>
              <a:gd name="connsiteY1452" fmla="*/ 1024625 h 2380521"/>
              <a:gd name="connsiteX1453" fmla="*/ 5996959 w 8023328"/>
              <a:gd name="connsiteY1453" fmla="*/ 1010768 h 2380521"/>
              <a:gd name="connsiteX1454" fmla="*/ 6009356 w 8023328"/>
              <a:gd name="connsiteY1454" fmla="*/ 998371 h 2380521"/>
              <a:gd name="connsiteX1455" fmla="*/ 5940548 w 8023328"/>
              <a:gd name="connsiteY1455" fmla="*/ 998371 h 2380521"/>
              <a:gd name="connsiteX1456" fmla="*/ 5955726 w 8023328"/>
              <a:gd name="connsiteY1456" fmla="*/ 1010768 h 2380521"/>
              <a:gd name="connsiteX1457" fmla="*/ 5940548 w 8023328"/>
              <a:gd name="connsiteY1457" fmla="*/ 1024625 h 2380521"/>
              <a:gd name="connsiteX1458" fmla="*/ 5926130 w 8023328"/>
              <a:gd name="connsiteY1458" fmla="*/ 1010768 h 2380521"/>
              <a:gd name="connsiteX1459" fmla="*/ 5940548 w 8023328"/>
              <a:gd name="connsiteY1459" fmla="*/ 998371 h 2380521"/>
              <a:gd name="connsiteX1460" fmla="*/ 5870088 w 8023328"/>
              <a:gd name="connsiteY1460" fmla="*/ 998371 h 2380521"/>
              <a:gd name="connsiteX1461" fmla="*/ 5884877 w 8023328"/>
              <a:gd name="connsiteY1461" fmla="*/ 1010768 h 2380521"/>
              <a:gd name="connsiteX1462" fmla="*/ 5870088 w 8023328"/>
              <a:gd name="connsiteY1462" fmla="*/ 1024625 h 2380521"/>
              <a:gd name="connsiteX1463" fmla="*/ 5855299 w 8023328"/>
              <a:gd name="connsiteY1463" fmla="*/ 1010768 h 2380521"/>
              <a:gd name="connsiteX1464" fmla="*/ 5870088 w 8023328"/>
              <a:gd name="connsiteY1464" fmla="*/ 998371 h 2380521"/>
              <a:gd name="connsiteX1465" fmla="*/ 5799257 w 8023328"/>
              <a:gd name="connsiteY1465" fmla="*/ 998371 h 2380521"/>
              <a:gd name="connsiteX1466" fmla="*/ 5814045 w 8023328"/>
              <a:gd name="connsiteY1466" fmla="*/ 1010768 h 2380521"/>
              <a:gd name="connsiteX1467" fmla="*/ 5799257 w 8023328"/>
              <a:gd name="connsiteY1467" fmla="*/ 1024625 h 2380521"/>
              <a:gd name="connsiteX1468" fmla="*/ 5784469 w 8023328"/>
              <a:gd name="connsiteY1468" fmla="*/ 1010768 h 2380521"/>
              <a:gd name="connsiteX1469" fmla="*/ 5799257 w 8023328"/>
              <a:gd name="connsiteY1469" fmla="*/ 998371 h 2380521"/>
              <a:gd name="connsiteX1470" fmla="*/ 5724122 w 8023328"/>
              <a:gd name="connsiteY1470" fmla="*/ 998371 h 2380521"/>
              <a:gd name="connsiteX1471" fmla="*/ 5736519 w 8023328"/>
              <a:gd name="connsiteY1471" fmla="*/ 1010768 h 2380521"/>
              <a:gd name="connsiteX1472" fmla="*/ 5724122 w 8023328"/>
              <a:gd name="connsiteY1472" fmla="*/ 1024625 h 2380521"/>
              <a:gd name="connsiteX1473" fmla="*/ 5710266 w 8023328"/>
              <a:gd name="connsiteY1473" fmla="*/ 1010768 h 2380521"/>
              <a:gd name="connsiteX1474" fmla="*/ 5724122 w 8023328"/>
              <a:gd name="connsiteY1474" fmla="*/ 998371 h 2380521"/>
              <a:gd name="connsiteX1475" fmla="*/ 5653291 w 8023328"/>
              <a:gd name="connsiteY1475" fmla="*/ 998371 h 2380521"/>
              <a:gd name="connsiteX1476" fmla="*/ 5665688 w 8023328"/>
              <a:gd name="connsiteY1476" fmla="*/ 1012227 h 2380521"/>
              <a:gd name="connsiteX1477" fmla="*/ 5653291 w 8023328"/>
              <a:gd name="connsiteY1477" fmla="*/ 1024625 h 2380521"/>
              <a:gd name="connsiteX1478" fmla="*/ 5639435 w 8023328"/>
              <a:gd name="connsiteY1478" fmla="*/ 1012227 h 2380521"/>
              <a:gd name="connsiteX1479" fmla="*/ 5653291 w 8023328"/>
              <a:gd name="connsiteY1479" fmla="*/ 998371 h 2380521"/>
              <a:gd name="connsiteX1480" fmla="*/ 5581002 w 8023328"/>
              <a:gd name="connsiteY1480" fmla="*/ 998371 h 2380521"/>
              <a:gd name="connsiteX1481" fmla="*/ 5594858 w 8023328"/>
              <a:gd name="connsiteY1481" fmla="*/ 1012227 h 2380521"/>
              <a:gd name="connsiteX1482" fmla="*/ 5581002 w 8023328"/>
              <a:gd name="connsiteY1482" fmla="*/ 1024625 h 2380521"/>
              <a:gd name="connsiteX1483" fmla="*/ 5568605 w 8023328"/>
              <a:gd name="connsiteY1483" fmla="*/ 1012227 h 2380521"/>
              <a:gd name="connsiteX1484" fmla="*/ 5581002 w 8023328"/>
              <a:gd name="connsiteY1484" fmla="*/ 998371 h 2380521"/>
              <a:gd name="connsiteX1485" fmla="*/ 5510171 w 8023328"/>
              <a:gd name="connsiteY1485" fmla="*/ 998371 h 2380521"/>
              <a:gd name="connsiteX1486" fmla="*/ 5524027 w 8023328"/>
              <a:gd name="connsiteY1486" fmla="*/ 1012227 h 2380521"/>
              <a:gd name="connsiteX1487" fmla="*/ 5510171 w 8023328"/>
              <a:gd name="connsiteY1487" fmla="*/ 1024625 h 2380521"/>
              <a:gd name="connsiteX1488" fmla="*/ 5497774 w 8023328"/>
              <a:gd name="connsiteY1488" fmla="*/ 1012227 h 2380521"/>
              <a:gd name="connsiteX1489" fmla="*/ 5510171 w 8023328"/>
              <a:gd name="connsiteY1489" fmla="*/ 998371 h 2380521"/>
              <a:gd name="connsiteX1490" fmla="*/ 5438937 w 8023328"/>
              <a:gd name="connsiteY1490" fmla="*/ 998371 h 2380521"/>
              <a:gd name="connsiteX1491" fmla="*/ 5453178 w 8023328"/>
              <a:gd name="connsiteY1491" fmla="*/ 1012227 h 2380521"/>
              <a:gd name="connsiteX1492" fmla="*/ 5438937 w 8023328"/>
              <a:gd name="connsiteY1492" fmla="*/ 1024625 h 2380521"/>
              <a:gd name="connsiteX1493" fmla="*/ 5426945 w 8023328"/>
              <a:gd name="connsiteY1493" fmla="*/ 1012227 h 2380521"/>
              <a:gd name="connsiteX1494" fmla="*/ 5438937 w 8023328"/>
              <a:gd name="connsiteY1494" fmla="*/ 998371 h 2380521"/>
              <a:gd name="connsiteX1495" fmla="*/ 5367530 w 8023328"/>
              <a:gd name="connsiteY1495" fmla="*/ 998371 h 2380521"/>
              <a:gd name="connsiteX1496" fmla="*/ 5382318 w 8023328"/>
              <a:gd name="connsiteY1496" fmla="*/ 1012227 h 2380521"/>
              <a:gd name="connsiteX1497" fmla="*/ 5367530 w 8023328"/>
              <a:gd name="connsiteY1497" fmla="*/ 1024625 h 2380521"/>
              <a:gd name="connsiteX1498" fmla="*/ 5352742 w 8023328"/>
              <a:gd name="connsiteY1498" fmla="*/ 1012227 h 2380521"/>
              <a:gd name="connsiteX1499" fmla="*/ 5367530 w 8023328"/>
              <a:gd name="connsiteY1499" fmla="*/ 998371 h 2380521"/>
              <a:gd name="connsiteX1500" fmla="*/ 5296699 w 8023328"/>
              <a:gd name="connsiteY1500" fmla="*/ 998371 h 2380521"/>
              <a:gd name="connsiteX1501" fmla="*/ 5311488 w 8023328"/>
              <a:gd name="connsiteY1501" fmla="*/ 1012227 h 2380521"/>
              <a:gd name="connsiteX1502" fmla="*/ 5296699 w 8023328"/>
              <a:gd name="connsiteY1502" fmla="*/ 1024625 h 2380521"/>
              <a:gd name="connsiteX1503" fmla="*/ 5281910 w 8023328"/>
              <a:gd name="connsiteY1503" fmla="*/ 1012227 h 2380521"/>
              <a:gd name="connsiteX1504" fmla="*/ 5296699 w 8023328"/>
              <a:gd name="connsiteY1504" fmla="*/ 998371 h 2380521"/>
              <a:gd name="connsiteX1505" fmla="*/ 5225869 w 8023328"/>
              <a:gd name="connsiteY1505" fmla="*/ 998371 h 2380521"/>
              <a:gd name="connsiteX1506" fmla="*/ 5240657 w 8023328"/>
              <a:gd name="connsiteY1506" fmla="*/ 1012227 h 2380521"/>
              <a:gd name="connsiteX1507" fmla="*/ 5225869 w 8023328"/>
              <a:gd name="connsiteY1507" fmla="*/ 1024625 h 2380521"/>
              <a:gd name="connsiteX1508" fmla="*/ 5211081 w 8023328"/>
              <a:gd name="connsiteY1508" fmla="*/ 1012227 h 2380521"/>
              <a:gd name="connsiteX1509" fmla="*/ 5225869 w 8023328"/>
              <a:gd name="connsiteY1509" fmla="*/ 998371 h 2380521"/>
              <a:gd name="connsiteX1510" fmla="*/ 5154105 w 8023328"/>
              <a:gd name="connsiteY1510" fmla="*/ 998371 h 2380521"/>
              <a:gd name="connsiteX1511" fmla="*/ 5166502 w 8023328"/>
              <a:gd name="connsiteY1511" fmla="*/ 1012227 h 2380521"/>
              <a:gd name="connsiteX1512" fmla="*/ 5154105 w 8023328"/>
              <a:gd name="connsiteY1512" fmla="*/ 1024625 h 2380521"/>
              <a:gd name="connsiteX1513" fmla="*/ 5140249 w 8023328"/>
              <a:gd name="connsiteY1513" fmla="*/ 1012227 h 2380521"/>
              <a:gd name="connsiteX1514" fmla="*/ 5154105 w 8023328"/>
              <a:gd name="connsiteY1514" fmla="*/ 998371 h 2380521"/>
              <a:gd name="connsiteX1515" fmla="*/ 5083276 w 8023328"/>
              <a:gd name="connsiteY1515" fmla="*/ 998371 h 2380521"/>
              <a:gd name="connsiteX1516" fmla="*/ 5095673 w 8023328"/>
              <a:gd name="connsiteY1516" fmla="*/ 1012227 h 2380521"/>
              <a:gd name="connsiteX1517" fmla="*/ 5083276 w 8023328"/>
              <a:gd name="connsiteY1517" fmla="*/ 1024625 h 2380521"/>
              <a:gd name="connsiteX1518" fmla="*/ 5069420 w 8023328"/>
              <a:gd name="connsiteY1518" fmla="*/ 1012227 h 2380521"/>
              <a:gd name="connsiteX1519" fmla="*/ 5083276 w 8023328"/>
              <a:gd name="connsiteY1519" fmla="*/ 998371 h 2380521"/>
              <a:gd name="connsiteX1520" fmla="*/ 5012445 w 8023328"/>
              <a:gd name="connsiteY1520" fmla="*/ 998371 h 2380521"/>
              <a:gd name="connsiteX1521" fmla="*/ 5024842 w 8023328"/>
              <a:gd name="connsiteY1521" fmla="*/ 1012227 h 2380521"/>
              <a:gd name="connsiteX1522" fmla="*/ 5012445 w 8023328"/>
              <a:gd name="connsiteY1522" fmla="*/ 1024625 h 2380521"/>
              <a:gd name="connsiteX1523" fmla="*/ 4998589 w 8023328"/>
              <a:gd name="connsiteY1523" fmla="*/ 1012227 h 2380521"/>
              <a:gd name="connsiteX1524" fmla="*/ 5012445 w 8023328"/>
              <a:gd name="connsiteY1524" fmla="*/ 998371 h 2380521"/>
              <a:gd name="connsiteX1525" fmla="*/ 4940157 w 8023328"/>
              <a:gd name="connsiteY1525" fmla="*/ 998371 h 2380521"/>
              <a:gd name="connsiteX1526" fmla="*/ 4954013 w 8023328"/>
              <a:gd name="connsiteY1526" fmla="*/ 1012227 h 2380521"/>
              <a:gd name="connsiteX1527" fmla="*/ 4940157 w 8023328"/>
              <a:gd name="connsiteY1527" fmla="*/ 1024625 h 2380521"/>
              <a:gd name="connsiteX1528" fmla="*/ 4927760 w 8023328"/>
              <a:gd name="connsiteY1528" fmla="*/ 1012227 h 2380521"/>
              <a:gd name="connsiteX1529" fmla="*/ 4940157 w 8023328"/>
              <a:gd name="connsiteY1529" fmla="*/ 998371 h 2380521"/>
              <a:gd name="connsiteX1530" fmla="*/ 4865953 w 8023328"/>
              <a:gd name="connsiteY1530" fmla="*/ 998371 h 2380521"/>
              <a:gd name="connsiteX1531" fmla="*/ 4879809 w 8023328"/>
              <a:gd name="connsiteY1531" fmla="*/ 1012227 h 2380521"/>
              <a:gd name="connsiteX1532" fmla="*/ 4865953 w 8023328"/>
              <a:gd name="connsiteY1532" fmla="*/ 1024625 h 2380521"/>
              <a:gd name="connsiteX1533" fmla="*/ 4853556 w 8023328"/>
              <a:gd name="connsiteY1533" fmla="*/ 1012227 h 2380521"/>
              <a:gd name="connsiteX1534" fmla="*/ 4865953 w 8023328"/>
              <a:gd name="connsiteY1534" fmla="*/ 998371 h 2380521"/>
              <a:gd name="connsiteX1535" fmla="*/ 4797514 w 8023328"/>
              <a:gd name="connsiteY1535" fmla="*/ 998371 h 2380521"/>
              <a:gd name="connsiteX1536" fmla="*/ 4812303 w 8023328"/>
              <a:gd name="connsiteY1536" fmla="*/ 1012227 h 2380521"/>
              <a:gd name="connsiteX1537" fmla="*/ 4797514 w 8023328"/>
              <a:gd name="connsiteY1537" fmla="*/ 1024625 h 2380521"/>
              <a:gd name="connsiteX1538" fmla="*/ 4782725 w 8023328"/>
              <a:gd name="connsiteY1538" fmla="*/ 1012227 h 2380521"/>
              <a:gd name="connsiteX1539" fmla="*/ 4797514 w 8023328"/>
              <a:gd name="connsiteY1539" fmla="*/ 998371 h 2380521"/>
              <a:gd name="connsiteX1540" fmla="*/ 4726684 w 8023328"/>
              <a:gd name="connsiteY1540" fmla="*/ 998371 h 2380521"/>
              <a:gd name="connsiteX1541" fmla="*/ 4741472 w 8023328"/>
              <a:gd name="connsiteY1541" fmla="*/ 1012227 h 2380521"/>
              <a:gd name="connsiteX1542" fmla="*/ 4726684 w 8023328"/>
              <a:gd name="connsiteY1542" fmla="*/ 1024625 h 2380521"/>
              <a:gd name="connsiteX1543" fmla="*/ 4711896 w 8023328"/>
              <a:gd name="connsiteY1543" fmla="*/ 1012227 h 2380521"/>
              <a:gd name="connsiteX1544" fmla="*/ 4726684 w 8023328"/>
              <a:gd name="connsiteY1544" fmla="*/ 998371 h 2380521"/>
              <a:gd name="connsiteX1545" fmla="*/ 4655853 w 8023328"/>
              <a:gd name="connsiteY1545" fmla="*/ 998371 h 2380521"/>
              <a:gd name="connsiteX1546" fmla="*/ 4670642 w 8023328"/>
              <a:gd name="connsiteY1546" fmla="*/ 1012227 h 2380521"/>
              <a:gd name="connsiteX1547" fmla="*/ 4655853 w 8023328"/>
              <a:gd name="connsiteY1547" fmla="*/ 1024625 h 2380521"/>
              <a:gd name="connsiteX1548" fmla="*/ 4641064 w 8023328"/>
              <a:gd name="connsiteY1548" fmla="*/ 1012227 h 2380521"/>
              <a:gd name="connsiteX1549" fmla="*/ 4655853 w 8023328"/>
              <a:gd name="connsiteY1549" fmla="*/ 998371 h 2380521"/>
              <a:gd name="connsiteX1550" fmla="*/ 4584091 w 8023328"/>
              <a:gd name="connsiteY1550" fmla="*/ 998371 h 2380521"/>
              <a:gd name="connsiteX1551" fmla="*/ 4596488 w 8023328"/>
              <a:gd name="connsiteY1551" fmla="*/ 1012227 h 2380521"/>
              <a:gd name="connsiteX1552" fmla="*/ 4584091 w 8023328"/>
              <a:gd name="connsiteY1552" fmla="*/ 1024625 h 2380521"/>
              <a:gd name="connsiteX1553" fmla="*/ 4570235 w 8023328"/>
              <a:gd name="connsiteY1553" fmla="*/ 1012227 h 2380521"/>
              <a:gd name="connsiteX1554" fmla="*/ 4584091 w 8023328"/>
              <a:gd name="connsiteY1554" fmla="*/ 998371 h 2380521"/>
              <a:gd name="connsiteX1555" fmla="*/ 4513260 w 8023328"/>
              <a:gd name="connsiteY1555" fmla="*/ 998371 h 2380521"/>
              <a:gd name="connsiteX1556" fmla="*/ 4525657 w 8023328"/>
              <a:gd name="connsiteY1556" fmla="*/ 1012227 h 2380521"/>
              <a:gd name="connsiteX1557" fmla="*/ 4513260 w 8023328"/>
              <a:gd name="connsiteY1557" fmla="*/ 1024625 h 2380521"/>
              <a:gd name="connsiteX1558" fmla="*/ 4499404 w 8023328"/>
              <a:gd name="connsiteY1558" fmla="*/ 1012227 h 2380521"/>
              <a:gd name="connsiteX1559" fmla="*/ 4513260 w 8023328"/>
              <a:gd name="connsiteY1559" fmla="*/ 998371 h 2380521"/>
              <a:gd name="connsiteX1560" fmla="*/ 4439056 w 8023328"/>
              <a:gd name="connsiteY1560" fmla="*/ 998371 h 2380521"/>
              <a:gd name="connsiteX1561" fmla="*/ 4451453 w 8023328"/>
              <a:gd name="connsiteY1561" fmla="*/ 1012227 h 2380521"/>
              <a:gd name="connsiteX1562" fmla="*/ 4439056 w 8023328"/>
              <a:gd name="connsiteY1562" fmla="*/ 1024625 h 2380521"/>
              <a:gd name="connsiteX1563" fmla="*/ 4425200 w 8023328"/>
              <a:gd name="connsiteY1563" fmla="*/ 1012227 h 2380521"/>
              <a:gd name="connsiteX1564" fmla="*/ 4439056 w 8023328"/>
              <a:gd name="connsiteY1564" fmla="*/ 998371 h 2380521"/>
              <a:gd name="connsiteX1565" fmla="*/ 4366768 w 8023328"/>
              <a:gd name="connsiteY1565" fmla="*/ 998371 h 2380521"/>
              <a:gd name="connsiteX1566" fmla="*/ 4380624 w 8023328"/>
              <a:gd name="connsiteY1566" fmla="*/ 1012227 h 2380521"/>
              <a:gd name="connsiteX1567" fmla="*/ 4366768 w 8023328"/>
              <a:gd name="connsiteY1567" fmla="*/ 1024625 h 2380521"/>
              <a:gd name="connsiteX1568" fmla="*/ 4354371 w 8023328"/>
              <a:gd name="connsiteY1568" fmla="*/ 1012227 h 2380521"/>
              <a:gd name="connsiteX1569" fmla="*/ 4366768 w 8023328"/>
              <a:gd name="connsiteY1569" fmla="*/ 998371 h 2380521"/>
              <a:gd name="connsiteX1570" fmla="*/ 4295937 w 8023328"/>
              <a:gd name="connsiteY1570" fmla="*/ 998371 h 2380521"/>
              <a:gd name="connsiteX1571" fmla="*/ 4309793 w 8023328"/>
              <a:gd name="connsiteY1571" fmla="*/ 1012227 h 2380521"/>
              <a:gd name="connsiteX1572" fmla="*/ 4295937 w 8023328"/>
              <a:gd name="connsiteY1572" fmla="*/ 1024625 h 2380521"/>
              <a:gd name="connsiteX1573" fmla="*/ 4283540 w 8023328"/>
              <a:gd name="connsiteY1573" fmla="*/ 1012227 h 2380521"/>
              <a:gd name="connsiteX1574" fmla="*/ 4295937 w 8023328"/>
              <a:gd name="connsiteY1574" fmla="*/ 998371 h 2380521"/>
              <a:gd name="connsiteX1575" fmla="*/ 4225107 w 8023328"/>
              <a:gd name="connsiteY1575" fmla="*/ 998371 h 2380521"/>
              <a:gd name="connsiteX1576" fmla="*/ 4238963 w 8023328"/>
              <a:gd name="connsiteY1576" fmla="*/ 1012227 h 2380521"/>
              <a:gd name="connsiteX1577" fmla="*/ 4225107 w 8023328"/>
              <a:gd name="connsiteY1577" fmla="*/ 1024625 h 2380521"/>
              <a:gd name="connsiteX1578" fmla="*/ 4212710 w 8023328"/>
              <a:gd name="connsiteY1578" fmla="*/ 1012227 h 2380521"/>
              <a:gd name="connsiteX1579" fmla="*/ 4225107 w 8023328"/>
              <a:gd name="connsiteY1579" fmla="*/ 998371 h 2380521"/>
              <a:gd name="connsiteX1580" fmla="*/ 4153295 w 8023328"/>
              <a:gd name="connsiteY1580" fmla="*/ 998371 h 2380521"/>
              <a:gd name="connsiteX1581" fmla="*/ 4168083 w 8023328"/>
              <a:gd name="connsiteY1581" fmla="*/ 1012227 h 2380521"/>
              <a:gd name="connsiteX1582" fmla="*/ 4153295 w 8023328"/>
              <a:gd name="connsiteY1582" fmla="*/ 1024625 h 2380521"/>
              <a:gd name="connsiteX1583" fmla="*/ 4138507 w 8023328"/>
              <a:gd name="connsiteY1583" fmla="*/ 1012227 h 2380521"/>
              <a:gd name="connsiteX1584" fmla="*/ 4153295 w 8023328"/>
              <a:gd name="connsiteY1584" fmla="*/ 998371 h 2380521"/>
              <a:gd name="connsiteX1585" fmla="*/ 4082465 w 8023328"/>
              <a:gd name="connsiteY1585" fmla="*/ 998371 h 2380521"/>
              <a:gd name="connsiteX1586" fmla="*/ 4097254 w 8023328"/>
              <a:gd name="connsiteY1586" fmla="*/ 1012227 h 2380521"/>
              <a:gd name="connsiteX1587" fmla="*/ 4082465 w 8023328"/>
              <a:gd name="connsiteY1587" fmla="*/ 1024625 h 2380521"/>
              <a:gd name="connsiteX1588" fmla="*/ 4067676 w 8023328"/>
              <a:gd name="connsiteY1588" fmla="*/ 1012227 h 2380521"/>
              <a:gd name="connsiteX1589" fmla="*/ 4082465 w 8023328"/>
              <a:gd name="connsiteY1589" fmla="*/ 998371 h 2380521"/>
              <a:gd name="connsiteX1590" fmla="*/ 4011635 w 8023328"/>
              <a:gd name="connsiteY1590" fmla="*/ 998371 h 2380521"/>
              <a:gd name="connsiteX1591" fmla="*/ 4026423 w 8023328"/>
              <a:gd name="connsiteY1591" fmla="*/ 1012227 h 2380521"/>
              <a:gd name="connsiteX1592" fmla="*/ 4011635 w 8023328"/>
              <a:gd name="connsiteY1592" fmla="*/ 1024625 h 2380521"/>
              <a:gd name="connsiteX1593" fmla="*/ 3996847 w 8023328"/>
              <a:gd name="connsiteY1593" fmla="*/ 1012227 h 2380521"/>
              <a:gd name="connsiteX1594" fmla="*/ 4011635 w 8023328"/>
              <a:gd name="connsiteY1594" fmla="*/ 998371 h 2380521"/>
              <a:gd name="connsiteX1595" fmla="*/ 3939871 w 8023328"/>
              <a:gd name="connsiteY1595" fmla="*/ 998371 h 2380521"/>
              <a:gd name="connsiteX1596" fmla="*/ 3952268 w 8023328"/>
              <a:gd name="connsiteY1596" fmla="*/ 1012227 h 2380521"/>
              <a:gd name="connsiteX1597" fmla="*/ 3939871 w 8023328"/>
              <a:gd name="connsiteY1597" fmla="*/ 1024625 h 2380521"/>
              <a:gd name="connsiteX1598" fmla="*/ 3926015 w 8023328"/>
              <a:gd name="connsiteY1598" fmla="*/ 1012227 h 2380521"/>
              <a:gd name="connsiteX1599" fmla="*/ 3939871 w 8023328"/>
              <a:gd name="connsiteY1599" fmla="*/ 998371 h 2380521"/>
              <a:gd name="connsiteX1600" fmla="*/ 3869042 w 8023328"/>
              <a:gd name="connsiteY1600" fmla="*/ 998371 h 2380521"/>
              <a:gd name="connsiteX1601" fmla="*/ 3881439 w 8023328"/>
              <a:gd name="connsiteY1601" fmla="*/ 1013160 h 2380521"/>
              <a:gd name="connsiteX1602" fmla="*/ 3869042 w 8023328"/>
              <a:gd name="connsiteY1602" fmla="*/ 1027949 h 2380521"/>
              <a:gd name="connsiteX1603" fmla="*/ 3855186 w 8023328"/>
              <a:gd name="connsiteY1603" fmla="*/ 1013160 h 2380521"/>
              <a:gd name="connsiteX1604" fmla="*/ 3869042 w 8023328"/>
              <a:gd name="connsiteY1604" fmla="*/ 998371 h 2380521"/>
              <a:gd name="connsiteX1605" fmla="*/ 3798211 w 8023328"/>
              <a:gd name="connsiteY1605" fmla="*/ 998371 h 2380521"/>
              <a:gd name="connsiteX1606" fmla="*/ 3810608 w 8023328"/>
              <a:gd name="connsiteY1606" fmla="*/ 1013160 h 2380521"/>
              <a:gd name="connsiteX1607" fmla="*/ 3798211 w 8023328"/>
              <a:gd name="connsiteY1607" fmla="*/ 1027949 h 2380521"/>
              <a:gd name="connsiteX1608" fmla="*/ 3784355 w 8023328"/>
              <a:gd name="connsiteY1608" fmla="*/ 1013160 h 2380521"/>
              <a:gd name="connsiteX1609" fmla="*/ 3798211 w 8023328"/>
              <a:gd name="connsiteY1609" fmla="*/ 998371 h 2380521"/>
              <a:gd name="connsiteX1610" fmla="*/ 3725922 w 8023328"/>
              <a:gd name="connsiteY1610" fmla="*/ 998371 h 2380521"/>
              <a:gd name="connsiteX1611" fmla="*/ 3739778 w 8023328"/>
              <a:gd name="connsiteY1611" fmla="*/ 1013160 h 2380521"/>
              <a:gd name="connsiteX1612" fmla="*/ 3725922 w 8023328"/>
              <a:gd name="connsiteY1612" fmla="*/ 1027949 h 2380521"/>
              <a:gd name="connsiteX1613" fmla="*/ 3713525 w 8023328"/>
              <a:gd name="connsiteY1613" fmla="*/ 1013160 h 2380521"/>
              <a:gd name="connsiteX1614" fmla="*/ 3725922 w 8023328"/>
              <a:gd name="connsiteY1614" fmla="*/ 998371 h 2380521"/>
              <a:gd name="connsiteX1615" fmla="*/ 724105 w 8023328"/>
              <a:gd name="connsiteY1615" fmla="*/ 998371 h 2380521"/>
              <a:gd name="connsiteX1616" fmla="*/ 737962 w 8023328"/>
              <a:gd name="connsiteY1616" fmla="*/ 1010768 h 2380521"/>
              <a:gd name="connsiteX1617" fmla="*/ 724105 w 8023328"/>
              <a:gd name="connsiteY1617" fmla="*/ 1024625 h 2380521"/>
              <a:gd name="connsiteX1618" fmla="*/ 711707 w 8023328"/>
              <a:gd name="connsiteY1618" fmla="*/ 1010768 h 2380521"/>
              <a:gd name="connsiteX1619" fmla="*/ 724105 w 8023328"/>
              <a:gd name="connsiteY1619" fmla="*/ 998371 h 2380521"/>
              <a:gd name="connsiteX1620" fmla="*/ 653274 w 8023328"/>
              <a:gd name="connsiteY1620" fmla="*/ 998371 h 2380521"/>
              <a:gd name="connsiteX1621" fmla="*/ 667129 w 8023328"/>
              <a:gd name="connsiteY1621" fmla="*/ 1010768 h 2380521"/>
              <a:gd name="connsiteX1622" fmla="*/ 653274 w 8023328"/>
              <a:gd name="connsiteY1622" fmla="*/ 1024625 h 2380521"/>
              <a:gd name="connsiteX1623" fmla="*/ 640877 w 8023328"/>
              <a:gd name="connsiteY1623" fmla="*/ 1010768 h 2380521"/>
              <a:gd name="connsiteX1624" fmla="*/ 653274 w 8023328"/>
              <a:gd name="connsiteY1624" fmla="*/ 998371 h 2380521"/>
              <a:gd name="connsiteX1625" fmla="*/ 582446 w 8023328"/>
              <a:gd name="connsiteY1625" fmla="*/ 998371 h 2380521"/>
              <a:gd name="connsiteX1626" fmla="*/ 596301 w 8023328"/>
              <a:gd name="connsiteY1626" fmla="*/ 1010768 h 2380521"/>
              <a:gd name="connsiteX1627" fmla="*/ 582446 w 8023328"/>
              <a:gd name="connsiteY1627" fmla="*/ 1024625 h 2380521"/>
              <a:gd name="connsiteX1628" fmla="*/ 570047 w 8023328"/>
              <a:gd name="connsiteY1628" fmla="*/ 1010768 h 2380521"/>
              <a:gd name="connsiteX1629" fmla="*/ 582446 w 8023328"/>
              <a:gd name="connsiteY1629" fmla="*/ 998371 h 2380521"/>
              <a:gd name="connsiteX1630" fmla="*/ 513636 w 8023328"/>
              <a:gd name="connsiteY1630" fmla="*/ 998371 h 2380521"/>
              <a:gd name="connsiteX1631" fmla="*/ 528813 w 8023328"/>
              <a:gd name="connsiteY1631" fmla="*/ 1010768 h 2380521"/>
              <a:gd name="connsiteX1632" fmla="*/ 513636 w 8023328"/>
              <a:gd name="connsiteY1632" fmla="*/ 1024625 h 2380521"/>
              <a:gd name="connsiteX1633" fmla="*/ 499216 w 8023328"/>
              <a:gd name="connsiteY1633" fmla="*/ 1010768 h 2380521"/>
              <a:gd name="connsiteX1634" fmla="*/ 513636 w 8023328"/>
              <a:gd name="connsiteY1634" fmla="*/ 998371 h 2380521"/>
              <a:gd name="connsiteX1635" fmla="*/ 439802 w 8023328"/>
              <a:gd name="connsiteY1635" fmla="*/ 998371 h 2380521"/>
              <a:gd name="connsiteX1636" fmla="*/ 454592 w 8023328"/>
              <a:gd name="connsiteY1636" fmla="*/ 1010768 h 2380521"/>
              <a:gd name="connsiteX1637" fmla="*/ 439802 w 8023328"/>
              <a:gd name="connsiteY1637" fmla="*/ 1024625 h 2380521"/>
              <a:gd name="connsiteX1638" fmla="*/ 425014 w 8023328"/>
              <a:gd name="connsiteY1638" fmla="*/ 1010768 h 2380521"/>
              <a:gd name="connsiteX1639" fmla="*/ 439802 w 8023328"/>
              <a:gd name="connsiteY1639" fmla="*/ 998371 h 2380521"/>
              <a:gd name="connsiteX1640" fmla="*/ 368040 w 8023328"/>
              <a:gd name="connsiteY1640" fmla="*/ 998371 h 2380521"/>
              <a:gd name="connsiteX1641" fmla="*/ 380438 w 8023328"/>
              <a:gd name="connsiteY1641" fmla="*/ 1012227 h 2380521"/>
              <a:gd name="connsiteX1642" fmla="*/ 368040 w 8023328"/>
              <a:gd name="connsiteY1642" fmla="*/ 1024625 h 2380521"/>
              <a:gd name="connsiteX1643" fmla="*/ 354183 w 8023328"/>
              <a:gd name="connsiteY1643" fmla="*/ 1012227 h 2380521"/>
              <a:gd name="connsiteX1644" fmla="*/ 368040 w 8023328"/>
              <a:gd name="connsiteY1644" fmla="*/ 998371 h 2380521"/>
              <a:gd name="connsiteX1645" fmla="*/ 297208 w 8023328"/>
              <a:gd name="connsiteY1645" fmla="*/ 998371 h 2380521"/>
              <a:gd name="connsiteX1646" fmla="*/ 309606 w 8023328"/>
              <a:gd name="connsiteY1646" fmla="*/ 1012227 h 2380521"/>
              <a:gd name="connsiteX1647" fmla="*/ 297208 w 8023328"/>
              <a:gd name="connsiteY1647" fmla="*/ 1024625 h 2380521"/>
              <a:gd name="connsiteX1648" fmla="*/ 283352 w 8023328"/>
              <a:gd name="connsiteY1648" fmla="*/ 1012227 h 2380521"/>
              <a:gd name="connsiteX1649" fmla="*/ 297208 w 8023328"/>
              <a:gd name="connsiteY1649" fmla="*/ 998371 h 2380521"/>
              <a:gd name="connsiteX1650" fmla="*/ 226379 w 8023328"/>
              <a:gd name="connsiteY1650" fmla="*/ 998371 h 2380521"/>
              <a:gd name="connsiteX1651" fmla="*/ 238778 w 8023328"/>
              <a:gd name="connsiteY1651" fmla="*/ 1012227 h 2380521"/>
              <a:gd name="connsiteX1652" fmla="*/ 226379 w 8023328"/>
              <a:gd name="connsiteY1652" fmla="*/ 1024625 h 2380521"/>
              <a:gd name="connsiteX1653" fmla="*/ 212523 w 8023328"/>
              <a:gd name="connsiteY1653" fmla="*/ 1012227 h 2380521"/>
              <a:gd name="connsiteX1654" fmla="*/ 226379 w 8023328"/>
              <a:gd name="connsiteY1654" fmla="*/ 998371 h 2380521"/>
              <a:gd name="connsiteX1655" fmla="*/ 154085 w 8023328"/>
              <a:gd name="connsiteY1655" fmla="*/ 998371 h 2380521"/>
              <a:gd name="connsiteX1656" fmla="*/ 167941 w 8023328"/>
              <a:gd name="connsiteY1656" fmla="*/ 1012227 h 2380521"/>
              <a:gd name="connsiteX1657" fmla="*/ 154085 w 8023328"/>
              <a:gd name="connsiteY1657" fmla="*/ 1024625 h 2380521"/>
              <a:gd name="connsiteX1658" fmla="*/ 141687 w 8023328"/>
              <a:gd name="connsiteY1658" fmla="*/ 1012227 h 2380521"/>
              <a:gd name="connsiteX1659" fmla="*/ 154085 w 8023328"/>
              <a:gd name="connsiteY1659" fmla="*/ 998371 h 2380521"/>
              <a:gd name="connsiteX1660" fmla="*/ 83255 w 8023328"/>
              <a:gd name="connsiteY1660" fmla="*/ 998371 h 2380521"/>
              <a:gd name="connsiteX1661" fmla="*/ 97111 w 8023328"/>
              <a:gd name="connsiteY1661" fmla="*/ 1012227 h 2380521"/>
              <a:gd name="connsiteX1662" fmla="*/ 83255 w 8023328"/>
              <a:gd name="connsiteY1662" fmla="*/ 1024625 h 2380521"/>
              <a:gd name="connsiteX1663" fmla="*/ 70858 w 8023328"/>
              <a:gd name="connsiteY1663" fmla="*/ 1012227 h 2380521"/>
              <a:gd name="connsiteX1664" fmla="*/ 83255 w 8023328"/>
              <a:gd name="connsiteY1664" fmla="*/ 998371 h 2380521"/>
              <a:gd name="connsiteX1665" fmla="*/ 12019 w 8023328"/>
              <a:gd name="connsiteY1665" fmla="*/ 998371 h 2380521"/>
              <a:gd name="connsiteX1666" fmla="*/ 26260 w 8023328"/>
              <a:gd name="connsiteY1666" fmla="*/ 1012227 h 2380521"/>
              <a:gd name="connsiteX1667" fmla="*/ 12019 w 8023328"/>
              <a:gd name="connsiteY1667" fmla="*/ 1024625 h 2380521"/>
              <a:gd name="connsiteX1668" fmla="*/ 27 w 8023328"/>
              <a:gd name="connsiteY1668" fmla="*/ 1012227 h 2380521"/>
              <a:gd name="connsiteX1669" fmla="*/ 12019 w 8023328"/>
              <a:gd name="connsiteY1669" fmla="*/ 998371 h 2380521"/>
              <a:gd name="connsiteX1670" fmla="*/ 870603 w 8023328"/>
              <a:gd name="connsiteY1670" fmla="*/ 927542 h 2380521"/>
              <a:gd name="connsiteX1671" fmla="*/ 883001 w 8023328"/>
              <a:gd name="connsiteY1671" fmla="*/ 939939 h 2380521"/>
              <a:gd name="connsiteX1672" fmla="*/ 870603 w 8023328"/>
              <a:gd name="connsiteY1672" fmla="*/ 953796 h 2380521"/>
              <a:gd name="connsiteX1673" fmla="*/ 856747 w 8023328"/>
              <a:gd name="connsiteY1673" fmla="*/ 939939 h 2380521"/>
              <a:gd name="connsiteX1674" fmla="*/ 870603 w 8023328"/>
              <a:gd name="connsiteY1674" fmla="*/ 927542 h 2380521"/>
              <a:gd name="connsiteX1675" fmla="*/ 799773 w 8023328"/>
              <a:gd name="connsiteY1675" fmla="*/ 927542 h 2380521"/>
              <a:gd name="connsiteX1676" fmla="*/ 812171 w 8023328"/>
              <a:gd name="connsiteY1676" fmla="*/ 939939 h 2380521"/>
              <a:gd name="connsiteX1677" fmla="*/ 799773 w 8023328"/>
              <a:gd name="connsiteY1677" fmla="*/ 953796 h 2380521"/>
              <a:gd name="connsiteX1678" fmla="*/ 785917 w 8023328"/>
              <a:gd name="connsiteY1678" fmla="*/ 939939 h 2380521"/>
              <a:gd name="connsiteX1679" fmla="*/ 799773 w 8023328"/>
              <a:gd name="connsiteY1679" fmla="*/ 927542 h 2380521"/>
              <a:gd name="connsiteX1680" fmla="*/ 724112 w 8023328"/>
              <a:gd name="connsiteY1680" fmla="*/ 927542 h 2380521"/>
              <a:gd name="connsiteX1681" fmla="*/ 737968 w 8023328"/>
              <a:gd name="connsiteY1681" fmla="*/ 939939 h 2380521"/>
              <a:gd name="connsiteX1682" fmla="*/ 724112 w 8023328"/>
              <a:gd name="connsiteY1682" fmla="*/ 953796 h 2380521"/>
              <a:gd name="connsiteX1683" fmla="*/ 711714 w 8023328"/>
              <a:gd name="connsiteY1683" fmla="*/ 939939 h 2380521"/>
              <a:gd name="connsiteX1684" fmla="*/ 724112 w 8023328"/>
              <a:gd name="connsiteY1684" fmla="*/ 927542 h 2380521"/>
              <a:gd name="connsiteX1685" fmla="*/ 653281 w 8023328"/>
              <a:gd name="connsiteY1685" fmla="*/ 927542 h 2380521"/>
              <a:gd name="connsiteX1686" fmla="*/ 667137 w 8023328"/>
              <a:gd name="connsiteY1686" fmla="*/ 939939 h 2380521"/>
              <a:gd name="connsiteX1687" fmla="*/ 653281 w 8023328"/>
              <a:gd name="connsiteY1687" fmla="*/ 953796 h 2380521"/>
              <a:gd name="connsiteX1688" fmla="*/ 640884 w 8023328"/>
              <a:gd name="connsiteY1688" fmla="*/ 939939 h 2380521"/>
              <a:gd name="connsiteX1689" fmla="*/ 653281 w 8023328"/>
              <a:gd name="connsiteY1689" fmla="*/ 927542 h 2380521"/>
              <a:gd name="connsiteX1690" fmla="*/ 582453 w 8023328"/>
              <a:gd name="connsiteY1690" fmla="*/ 927542 h 2380521"/>
              <a:gd name="connsiteX1691" fmla="*/ 596309 w 8023328"/>
              <a:gd name="connsiteY1691" fmla="*/ 939939 h 2380521"/>
              <a:gd name="connsiteX1692" fmla="*/ 582453 w 8023328"/>
              <a:gd name="connsiteY1692" fmla="*/ 953796 h 2380521"/>
              <a:gd name="connsiteX1693" fmla="*/ 570054 w 8023328"/>
              <a:gd name="connsiteY1693" fmla="*/ 939939 h 2380521"/>
              <a:gd name="connsiteX1694" fmla="*/ 582453 w 8023328"/>
              <a:gd name="connsiteY1694" fmla="*/ 927542 h 2380521"/>
              <a:gd name="connsiteX1695" fmla="*/ 513642 w 8023328"/>
              <a:gd name="connsiteY1695" fmla="*/ 927542 h 2380521"/>
              <a:gd name="connsiteX1696" fmla="*/ 528820 w 8023328"/>
              <a:gd name="connsiteY1696" fmla="*/ 939939 h 2380521"/>
              <a:gd name="connsiteX1697" fmla="*/ 513642 w 8023328"/>
              <a:gd name="connsiteY1697" fmla="*/ 953796 h 2380521"/>
              <a:gd name="connsiteX1698" fmla="*/ 499223 w 8023328"/>
              <a:gd name="connsiteY1698" fmla="*/ 939939 h 2380521"/>
              <a:gd name="connsiteX1699" fmla="*/ 513642 w 8023328"/>
              <a:gd name="connsiteY1699" fmla="*/ 927542 h 2380521"/>
              <a:gd name="connsiteX1700" fmla="*/ 439809 w 8023328"/>
              <a:gd name="connsiteY1700" fmla="*/ 927542 h 2380521"/>
              <a:gd name="connsiteX1701" fmla="*/ 454599 w 8023328"/>
              <a:gd name="connsiteY1701" fmla="*/ 939939 h 2380521"/>
              <a:gd name="connsiteX1702" fmla="*/ 439809 w 8023328"/>
              <a:gd name="connsiteY1702" fmla="*/ 953796 h 2380521"/>
              <a:gd name="connsiteX1703" fmla="*/ 425021 w 8023328"/>
              <a:gd name="connsiteY1703" fmla="*/ 939939 h 2380521"/>
              <a:gd name="connsiteX1704" fmla="*/ 439809 w 8023328"/>
              <a:gd name="connsiteY1704" fmla="*/ 927542 h 2380521"/>
              <a:gd name="connsiteX1705" fmla="*/ 368046 w 8023328"/>
              <a:gd name="connsiteY1705" fmla="*/ 927542 h 2380521"/>
              <a:gd name="connsiteX1706" fmla="*/ 380444 w 8023328"/>
              <a:gd name="connsiteY1706" fmla="*/ 939939 h 2380521"/>
              <a:gd name="connsiteX1707" fmla="*/ 368046 w 8023328"/>
              <a:gd name="connsiteY1707" fmla="*/ 953796 h 2380521"/>
              <a:gd name="connsiteX1708" fmla="*/ 354191 w 8023328"/>
              <a:gd name="connsiteY1708" fmla="*/ 939939 h 2380521"/>
              <a:gd name="connsiteX1709" fmla="*/ 368046 w 8023328"/>
              <a:gd name="connsiteY1709" fmla="*/ 927542 h 2380521"/>
              <a:gd name="connsiteX1710" fmla="*/ 297214 w 8023328"/>
              <a:gd name="connsiteY1710" fmla="*/ 927542 h 2380521"/>
              <a:gd name="connsiteX1711" fmla="*/ 309612 w 8023328"/>
              <a:gd name="connsiteY1711" fmla="*/ 939939 h 2380521"/>
              <a:gd name="connsiteX1712" fmla="*/ 297214 w 8023328"/>
              <a:gd name="connsiteY1712" fmla="*/ 953796 h 2380521"/>
              <a:gd name="connsiteX1713" fmla="*/ 283359 w 8023328"/>
              <a:gd name="connsiteY1713" fmla="*/ 939939 h 2380521"/>
              <a:gd name="connsiteX1714" fmla="*/ 297214 w 8023328"/>
              <a:gd name="connsiteY1714" fmla="*/ 927542 h 2380521"/>
              <a:gd name="connsiteX1715" fmla="*/ 226386 w 8023328"/>
              <a:gd name="connsiteY1715" fmla="*/ 927542 h 2380521"/>
              <a:gd name="connsiteX1716" fmla="*/ 238784 w 8023328"/>
              <a:gd name="connsiteY1716" fmla="*/ 939939 h 2380521"/>
              <a:gd name="connsiteX1717" fmla="*/ 226386 w 8023328"/>
              <a:gd name="connsiteY1717" fmla="*/ 953796 h 2380521"/>
              <a:gd name="connsiteX1718" fmla="*/ 212530 w 8023328"/>
              <a:gd name="connsiteY1718" fmla="*/ 939939 h 2380521"/>
              <a:gd name="connsiteX1719" fmla="*/ 226386 w 8023328"/>
              <a:gd name="connsiteY1719" fmla="*/ 927542 h 2380521"/>
              <a:gd name="connsiteX1720" fmla="*/ 154091 w 8023328"/>
              <a:gd name="connsiteY1720" fmla="*/ 927542 h 2380521"/>
              <a:gd name="connsiteX1721" fmla="*/ 167947 w 8023328"/>
              <a:gd name="connsiteY1721" fmla="*/ 939939 h 2380521"/>
              <a:gd name="connsiteX1722" fmla="*/ 154091 w 8023328"/>
              <a:gd name="connsiteY1722" fmla="*/ 953796 h 2380521"/>
              <a:gd name="connsiteX1723" fmla="*/ 141693 w 8023328"/>
              <a:gd name="connsiteY1723" fmla="*/ 939939 h 2380521"/>
              <a:gd name="connsiteX1724" fmla="*/ 154091 w 8023328"/>
              <a:gd name="connsiteY1724" fmla="*/ 927542 h 2380521"/>
              <a:gd name="connsiteX1725" fmla="*/ 83261 w 8023328"/>
              <a:gd name="connsiteY1725" fmla="*/ 927542 h 2380521"/>
              <a:gd name="connsiteX1726" fmla="*/ 97117 w 8023328"/>
              <a:gd name="connsiteY1726" fmla="*/ 939939 h 2380521"/>
              <a:gd name="connsiteX1727" fmla="*/ 83261 w 8023328"/>
              <a:gd name="connsiteY1727" fmla="*/ 953796 h 2380521"/>
              <a:gd name="connsiteX1728" fmla="*/ 70864 w 8023328"/>
              <a:gd name="connsiteY1728" fmla="*/ 939939 h 2380521"/>
              <a:gd name="connsiteX1729" fmla="*/ 83261 w 8023328"/>
              <a:gd name="connsiteY1729" fmla="*/ 927542 h 2380521"/>
              <a:gd name="connsiteX1730" fmla="*/ 12025 w 8023328"/>
              <a:gd name="connsiteY1730" fmla="*/ 927542 h 2380521"/>
              <a:gd name="connsiteX1731" fmla="*/ 26266 w 8023328"/>
              <a:gd name="connsiteY1731" fmla="*/ 939939 h 2380521"/>
              <a:gd name="connsiteX1732" fmla="*/ 12025 w 8023328"/>
              <a:gd name="connsiteY1732" fmla="*/ 953796 h 2380521"/>
              <a:gd name="connsiteX1733" fmla="*/ 33 w 8023328"/>
              <a:gd name="connsiteY1733" fmla="*/ 939939 h 2380521"/>
              <a:gd name="connsiteX1734" fmla="*/ 12025 w 8023328"/>
              <a:gd name="connsiteY1734" fmla="*/ 927542 h 2380521"/>
              <a:gd name="connsiteX1735" fmla="*/ 6581764 w 8023328"/>
              <a:gd name="connsiteY1735" fmla="*/ 924168 h 2380521"/>
              <a:gd name="connsiteX1736" fmla="*/ 6596552 w 8023328"/>
              <a:gd name="connsiteY1736" fmla="*/ 936565 h 2380521"/>
              <a:gd name="connsiteX1737" fmla="*/ 6581764 w 8023328"/>
              <a:gd name="connsiteY1737" fmla="*/ 950422 h 2380521"/>
              <a:gd name="connsiteX1738" fmla="*/ 6566976 w 8023328"/>
              <a:gd name="connsiteY1738" fmla="*/ 936565 h 2380521"/>
              <a:gd name="connsiteX1739" fmla="*/ 6581764 w 8023328"/>
              <a:gd name="connsiteY1739" fmla="*/ 924168 h 2380521"/>
              <a:gd name="connsiteX1740" fmla="*/ 6510933 w 8023328"/>
              <a:gd name="connsiteY1740" fmla="*/ 924168 h 2380521"/>
              <a:gd name="connsiteX1741" fmla="*/ 6525722 w 8023328"/>
              <a:gd name="connsiteY1741" fmla="*/ 936565 h 2380521"/>
              <a:gd name="connsiteX1742" fmla="*/ 6510933 w 8023328"/>
              <a:gd name="connsiteY1742" fmla="*/ 950422 h 2380521"/>
              <a:gd name="connsiteX1743" fmla="*/ 6496144 w 8023328"/>
              <a:gd name="connsiteY1743" fmla="*/ 936565 h 2380521"/>
              <a:gd name="connsiteX1744" fmla="*/ 6510933 w 8023328"/>
              <a:gd name="connsiteY1744" fmla="*/ 924168 h 2380521"/>
              <a:gd name="connsiteX1745" fmla="*/ 6440492 w 8023328"/>
              <a:gd name="connsiteY1745" fmla="*/ 924168 h 2380521"/>
              <a:gd name="connsiteX1746" fmla="*/ 6454911 w 8023328"/>
              <a:gd name="connsiteY1746" fmla="*/ 936565 h 2380521"/>
              <a:gd name="connsiteX1747" fmla="*/ 6440492 w 8023328"/>
              <a:gd name="connsiteY1747" fmla="*/ 950422 h 2380521"/>
              <a:gd name="connsiteX1748" fmla="*/ 6425315 w 8023328"/>
              <a:gd name="connsiteY1748" fmla="*/ 936565 h 2380521"/>
              <a:gd name="connsiteX1749" fmla="*/ 6440492 w 8023328"/>
              <a:gd name="connsiteY1749" fmla="*/ 924168 h 2380521"/>
              <a:gd name="connsiteX1750" fmla="*/ 6368340 w 8023328"/>
              <a:gd name="connsiteY1750" fmla="*/ 924168 h 2380521"/>
              <a:gd name="connsiteX1751" fmla="*/ 6380737 w 8023328"/>
              <a:gd name="connsiteY1751" fmla="*/ 936565 h 2380521"/>
              <a:gd name="connsiteX1752" fmla="*/ 6368340 w 8023328"/>
              <a:gd name="connsiteY1752" fmla="*/ 950422 h 2380521"/>
              <a:gd name="connsiteX1753" fmla="*/ 6354484 w 8023328"/>
              <a:gd name="connsiteY1753" fmla="*/ 936565 h 2380521"/>
              <a:gd name="connsiteX1754" fmla="*/ 6368340 w 8023328"/>
              <a:gd name="connsiteY1754" fmla="*/ 924168 h 2380521"/>
              <a:gd name="connsiteX1755" fmla="*/ 6297511 w 8023328"/>
              <a:gd name="connsiteY1755" fmla="*/ 924168 h 2380521"/>
              <a:gd name="connsiteX1756" fmla="*/ 6309908 w 8023328"/>
              <a:gd name="connsiteY1756" fmla="*/ 936565 h 2380521"/>
              <a:gd name="connsiteX1757" fmla="*/ 6297511 w 8023328"/>
              <a:gd name="connsiteY1757" fmla="*/ 950422 h 2380521"/>
              <a:gd name="connsiteX1758" fmla="*/ 6283655 w 8023328"/>
              <a:gd name="connsiteY1758" fmla="*/ 936565 h 2380521"/>
              <a:gd name="connsiteX1759" fmla="*/ 6297511 w 8023328"/>
              <a:gd name="connsiteY1759" fmla="*/ 924168 h 2380521"/>
              <a:gd name="connsiteX1760" fmla="*/ 6226679 w 8023328"/>
              <a:gd name="connsiteY1760" fmla="*/ 924168 h 2380521"/>
              <a:gd name="connsiteX1761" fmla="*/ 6239076 w 8023328"/>
              <a:gd name="connsiteY1761" fmla="*/ 936565 h 2380521"/>
              <a:gd name="connsiteX1762" fmla="*/ 6226679 w 8023328"/>
              <a:gd name="connsiteY1762" fmla="*/ 950422 h 2380521"/>
              <a:gd name="connsiteX1763" fmla="*/ 6212823 w 8023328"/>
              <a:gd name="connsiteY1763" fmla="*/ 936565 h 2380521"/>
              <a:gd name="connsiteX1764" fmla="*/ 6226679 w 8023328"/>
              <a:gd name="connsiteY1764" fmla="*/ 924168 h 2380521"/>
              <a:gd name="connsiteX1765" fmla="*/ 6154391 w 8023328"/>
              <a:gd name="connsiteY1765" fmla="*/ 924168 h 2380521"/>
              <a:gd name="connsiteX1766" fmla="*/ 6168247 w 8023328"/>
              <a:gd name="connsiteY1766" fmla="*/ 936565 h 2380521"/>
              <a:gd name="connsiteX1767" fmla="*/ 6154391 w 8023328"/>
              <a:gd name="connsiteY1767" fmla="*/ 950422 h 2380521"/>
              <a:gd name="connsiteX1768" fmla="*/ 6141994 w 8023328"/>
              <a:gd name="connsiteY1768" fmla="*/ 936565 h 2380521"/>
              <a:gd name="connsiteX1769" fmla="*/ 6154391 w 8023328"/>
              <a:gd name="connsiteY1769" fmla="*/ 924168 h 2380521"/>
              <a:gd name="connsiteX1770" fmla="*/ 6083559 w 8023328"/>
              <a:gd name="connsiteY1770" fmla="*/ 924168 h 2380521"/>
              <a:gd name="connsiteX1771" fmla="*/ 6097415 w 8023328"/>
              <a:gd name="connsiteY1771" fmla="*/ 936565 h 2380521"/>
              <a:gd name="connsiteX1772" fmla="*/ 6083559 w 8023328"/>
              <a:gd name="connsiteY1772" fmla="*/ 950422 h 2380521"/>
              <a:gd name="connsiteX1773" fmla="*/ 6071162 w 8023328"/>
              <a:gd name="connsiteY1773" fmla="*/ 936565 h 2380521"/>
              <a:gd name="connsiteX1774" fmla="*/ 6083559 w 8023328"/>
              <a:gd name="connsiteY1774" fmla="*/ 924168 h 2380521"/>
              <a:gd name="connsiteX1775" fmla="*/ 6011748 w 8023328"/>
              <a:gd name="connsiteY1775" fmla="*/ 924168 h 2380521"/>
              <a:gd name="connsiteX1776" fmla="*/ 6026537 w 8023328"/>
              <a:gd name="connsiteY1776" fmla="*/ 936565 h 2380521"/>
              <a:gd name="connsiteX1777" fmla="*/ 6011748 w 8023328"/>
              <a:gd name="connsiteY1777" fmla="*/ 950422 h 2380521"/>
              <a:gd name="connsiteX1778" fmla="*/ 5996959 w 8023328"/>
              <a:gd name="connsiteY1778" fmla="*/ 936565 h 2380521"/>
              <a:gd name="connsiteX1779" fmla="*/ 6011748 w 8023328"/>
              <a:gd name="connsiteY1779" fmla="*/ 924168 h 2380521"/>
              <a:gd name="connsiteX1780" fmla="*/ 5940548 w 8023328"/>
              <a:gd name="connsiteY1780" fmla="*/ 924168 h 2380521"/>
              <a:gd name="connsiteX1781" fmla="*/ 5955726 w 8023328"/>
              <a:gd name="connsiteY1781" fmla="*/ 936565 h 2380521"/>
              <a:gd name="connsiteX1782" fmla="*/ 5940548 w 8023328"/>
              <a:gd name="connsiteY1782" fmla="*/ 950422 h 2380521"/>
              <a:gd name="connsiteX1783" fmla="*/ 5926130 w 8023328"/>
              <a:gd name="connsiteY1783" fmla="*/ 936565 h 2380521"/>
              <a:gd name="connsiteX1784" fmla="*/ 5940548 w 8023328"/>
              <a:gd name="connsiteY1784" fmla="*/ 924168 h 2380521"/>
              <a:gd name="connsiteX1785" fmla="*/ 5870088 w 8023328"/>
              <a:gd name="connsiteY1785" fmla="*/ 924168 h 2380521"/>
              <a:gd name="connsiteX1786" fmla="*/ 5884877 w 8023328"/>
              <a:gd name="connsiteY1786" fmla="*/ 936565 h 2380521"/>
              <a:gd name="connsiteX1787" fmla="*/ 5870088 w 8023328"/>
              <a:gd name="connsiteY1787" fmla="*/ 950422 h 2380521"/>
              <a:gd name="connsiteX1788" fmla="*/ 5855299 w 8023328"/>
              <a:gd name="connsiteY1788" fmla="*/ 936565 h 2380521"/>
              <a:gd name="connsiteX1789" fmla="*/ 5870088 w 8023328"/>
              <a:gd name="connsiteY1789" fmla="*/ 924168 h 2380521"/>
              <a:gd name="connsiteX1790" fmla="*/ 5798325 w 8023328"/>
              <a:gd name="connsiteY1790" fmla="*/ 924168 h 2380521"/>
              <a:gd name="connsiteX1791" fmla="*/ 5810722 w 8023328"/>
              <a:gd name="connsiteY1791" fmla="*/ 936565 h 2380521"/>
              <a:gd name="connsiteX1792" fmla="*/ 5798325 w 8023328"/>
              <a:gd name="connsiteY1792" fmla="*/ 950422 h 2380521"/>
              <a:gd name="connsiteX1793" fmla="*/ 5784469 w 8023328"/>
              <a:gd name="connsiteY1793" fmla="*/ 936565 h 2380521"/>
              <a:gd name="connsiteX1794" fmla="*/ 5798325 w 8023328"/>
              <a:gd name="connsiteY1794" fmla="*/ 924168 h 2380521"/>
              <a:gd name="connsiteX1795" fmla="*/ 5724122 w 8023328"/>
              <a:gd name="connsiteY1795" fmla="*/ 924168 h 2380521"/>
              <a:gd name="connsiteX1796" fmla="*/ 5736519 w 8023328"/>
              <a:gd name="connsiteY1796" fmla="*/ 936565 h 2380521"/>
              <a:gd name="connsiteX1797" fmla="*/ 5724122 w 8023328"/>
              <a:gd name="connsiteY1797" fmla="*/ 950422 h 2380521"/>
              <a:gd name="connsiteX1798" fmla="*/ 5710266 w 8023328"/>
              <a:gd name="connsiteY1798" fmla="*/ 936565 h 2380521"/>
              <a:gd name="connsiteX1799" fmla="*/ 5724122 w 8023328"/>
              <a:gd name="connsiteY1799" fmla="*/ 924168 h 2380521"/>
              <a:gd name="connsiteX1800" fmla="*/ 5653291 w 8023328"/>
              <a:gd name="connsiteY1800" fmla="*/ 924168 h 2380521"/>
              <a:gd name="connsiteX1801" fmla="*/ 5665688 w 8023328"/>
              <a:gd name="connsiteY1801" fmla="*/ 936565 h 2380521"/>
              <a:gd name="connsiteX1802" fmla="*/ 5653291 w 8023328"/>
              <a:gd name="connsiteY1802" fmla="*/ 950422 h 2380521"/>
              <a:gd name="connsiteX1803" fmla="*/ 5639435 w 8023328"/>
              <a:gd name="connsiteY1803" fmla="*/ 936565 h 2380521"/>
              <a:gd name="connsiteX1804" fmla="*/ 5653291 w 8023328"/>
              <a:gd name="connsiteY1804" fmla="*/ 924168 h 2380521"/>
              <a:gd name="connsiteX1805" fmla="*/ 5581002 w 8023328"/>
              <a:gd name="connsiteY1805" fmla="*/ 924168 h 2380521"/>
              <a:gd name="connsiteX1806" fmla="*/ 5594858 w 8023328"/>
              <a:gd name="connsiteY1806" fmla="*/ 936565 h 2380521"/>
              <a:gd name="connsiteX1807" fmla="*/ 5581002 w 8023328"/>
              <a:gd name="connsiteY1807" fmla="*/ 950422 h 2380521"/>
              <a:gd name="connsiteX1808" fmla="*/ 5568605 w 8023328"/>
              <a:gd name="connsiteY1808" fmla="*/ 936565 h 2380521"/>
              <a:gd name="connsiteX1809" fmla="*/ 5581002 w 8023328"/>
              <a:gd name="connsiteY1809" fmla="*/ 924168 h 2380521"/>
              <a:gd name="connsiteX1810" fmla="*/ 5510171 w 8023328"/>
              <a:gd name="connsiteY1810" fmla="*/ 924168 h 2380521"/>
              <a:gd name="connsiteX1811" fmla="*/ 5524027 w 8023328"/>
              <a:gd name="connsiteY1811" fmla="*/ 936565 h 2380521"/>
              <a:gd name="connsiteX1812" fmla="*/ 5510171 w 8023328"/>
              <a:gd name="connsiteY1812" fmla="*/ 950422 h 2380521"/>
              <a:gd name="connsiteX1813" fmla="*/ 5497774 w 8023328"/>
              <a:gd name="connsiteY1813" fmla="*/ 936565 h 2380521"/>
              <a:gd name="connsiteX1814" fmla="*/ 5510171 w 8023328"/>
              <a:gd name="connsiteY1814" fmla="*/ 924168 h 2380521"/>
              <a:gd name="connsiteX1815" fmla="*/ 5438937 w 8023328"/>
              <a:gd name="connsiteY1815" fmla="*/ 924168 h 2380521"/>
              <a:gd name="connsiteX1816" fmla="*/ 5453178 w 8023328"/>
              <a:gd name="connsiteY1816" fmla="*/ 936565 h 2380521"/>
              <a:gd name="connsiteX1817" fmla="*/ 5438937 w 8023328"/>
              <a:gd name="connsiteY1817" fmla="*/ 950422 h 2380521"/>
              <a:gd name="connsiteX1818" fmla="*/ 5426945 w 8023328"/>
              <a:gd name="connsiteY1818" fmla="*/ 936565 h 2380521"/>
              <a:gd name="connsiteX1819" fmla="*/ 5438937 w 8023328"/>
              <a:gd name="connsiteY1819" fmla="*/ 924168 h 2380521"/>
              <a:gd name="connsiteX1820" fmla="*/ 5367530 w 8023328"/>
              <a:gd name="connsiteY1820" fmla="*/ 924168 h 2380521"/>
              <a:gd name="connsiteX1821" fmla="*/ 5382318 w 8023328"/>
              <a:gd name="connsiteY1821" fmla="*/ 936565 h 2380521"/>
              <a:gd name="connsiteX1822" fmla="*/ 5367530 w 8023328"/>
              <a:gd name="connsiteY1822" fmla="*/ 950422 h 2380521"/>
              <a:gd name="connsiteX1823" fmla="*/ 5352742 w 8023328"/>
              <a:gd name="connsiteY1823" fmla="*/ 936565 h 2380521"/>
              <a:gd name="connsiteX1824" fmla="*/ 5367530 w 8023328"/>
              <a:gd name="connsiteY1824" fmla="*/ 924168 h 2380521"/>
              <a:gd name="connsiteX1825" fmla="*/ 5296699 w 8023328"/>
              <a:gd name="connsiteY1825" fmla="*/ 924168 h 2380521"/>
              <a:gd name="connsiteX1826" fmla="*/ 5311488 w 8023328"/>
              <a:gd name="connsiteY1826" fmla="*/ 936565 h 2380521"/>
              <a:gd name="connsiteX1827" fmla="*/ 5296699 w 8023328"/>
              <a:gd name="connsiteY1827" fmla="*/ 950422 h 2380521"/>
              <a:gd name="connsiteX1828" fmla="*/ 5281910 w 8023328"/>
              <a:gd name="connsiteY1828" fmla="*/ 936565 h 2380521"/>
              <a:gd name="connsiteX1829" fmla="*/ 5296699 w 8023328"/>
              <a:gd name="connsiteY1829" fmla="*/ 924168 h 2380521"/>
              <a:gd name="connsiteX1830" fmla="*/ 5225869 w 8023328"/>
              <a:gd name="connsiteY1830" fmla="*/ 924168 h 2380521"/>
              <a:gd name="connsiteX1831" fmla="*/ 5240657 w 8023328"/>
              <a:gd name="connsiteY1831" fmla="*/ 936565 h 2380521"/>
              <a:gd name="connsiteX1832" fmla="*/ 5225869 w 8023328"/>
              <a:gd name="connsiteY1832" fmla="*/ 950422 h 2380521"/>
              <a:gd name="connsiteX1833" fmla="*/ 5211081 w 8023328"/>
              <a:gd name="connsiteY1833" fmla="*/ 936565 h 2380521"/>
              <a:gd name="connsiteX1834" fmla="*/ 5225869 w 8023328"/>
              <a:gd name="connsiteY1834" fmla="*/ 924168 h 2380521"/>
              <a:gd name="connsiteX1835" fmla="*/ 5154105 w 8023328"/>
              <a:gd name="connsiteY1835" fmla="*/ 924168 h 2380521"/>
              <a:gd name="connsiteX1836" fmla="*/ 5166502 w 8023328"/>
              <a:gd name="connsiteY1836" fmla="*/ 936565 h 2380521"/>
              <a:gd name="connsiteX1837" fmla="*/ 5154105 w 8023328"/>
              <a:gd name="connsiteY1837" fmla="*/ 950422 h 2380521"/>
              <a:gd name="connsiteX1838" fmla="*/ 5140249 w 8023328"/>
              <a:gd name="connsiteY1838" fmla="*/ 936565 h 2380521"/>
              <a:gd name="connsiteX1839" fmla="*/ 5154105 w 8023328"/>
              <a:gd name="connsiteY1839" fmla="*/ 924168 h 2380521"/>
              <a:gd name="connsiteX1840" fmla="*/ 5083276 w 8023328"/>
              <a:gd name="connsiteY1840" fmla="*/ 924168 h 2380521"/>
              <a:gd name="connsiteX1841" fmla="*/ 5095673 w 8023328"/>
              <a:gd name="connsiteY1841" fmla="*/ 936565 h 2380521"/>
              <a:gd name="connsiteX1842" fmla="*/ 5083276 w 8023328"/>
              <a:gd name="connsiteY1842" fmla="*/ 950422 h 2380521"/>
              <a:gd name="connsiteX1843" fmla="*/ 5069420 w 8023328"/>
              <a:gd name="connsiteY1843" fmla="*/ 936565 h 2380521"/>
              <a:gd name="connsiteX1844" fmla="*/ 5083276 w 8023328"/>
              <a:gd name="connsiteY1844" fmla="*/ 924168 h 2380521"/>
              <a:gd name="connsiteX1845" fmla="*/ 5012445 w 8023328"/>
              <a:gd name="connsiteY1845" fmla="*/ 924168 h 2380521"/>
              <a:gd name="connsiteX1846" fmla="*/ 5024842 w 8023328"/>
              <a:gd name="connsiteY1846" fmla="*/ 936565 h 2380521"/>
              <a:gd name="connsiteX1847" fmla="*/ 5012445 w 8023328"/>
              <a:gd name="connsiteY1847" fmla="*/ 950422 h 2380521"/>
              <a:gd name="connsiteX1848" fmla="*/ 4998589 w 8023328"/>
              <a:gd name="connsiteY1848" fmla="*/ 938024 h 2380521"/>
              <a:gd name="connsiteX1849" fmla="*/ 5012445 w 8023328"/>
              <a:gd name="connsiteY1849" fmla="*/ 924168 h 2380521"/>
              <a:gd name="connsiteX1850" fmla="*/ 4940157 w 8023328"/>
              <a:gd name="connsiteY1850" fmla="*/ 924168 h 2380521"/>
              <a:gd name="connsiteX1851" fmla="*/ 4954013 w 8023328"/>
              <a:gd name="connsiteY1851" fmla="*/ 938024 h 2380521"/>
              <a:gd name="connsiteX1852" fmla="*/ 4940157 w 8023328"/>
              <a:gd name="connsiteY1852" fmla="*/ 950422 h 2380521"/>
              <a:gd name="connsiteX1853" fmla="*/ 4927760 w 8023328"/>
              <a:gd name="connsiteY1853" fmla="*/ 938024 h 2380521"/>
              <a:gd name="connsiteX1854" fmla="*/ 4940157 w 8023328"/>
              <a:gd name="connsiteY1854" fmla="*/ 924168 h 2380521"/>
              <a:gd name="connsiteX1855" fmla="*/ 4865953 w 8023328"/>
              <a:gd name="connsiteY1855" fmla="*/ 924168 h 2380521"/>
              <a:gd name="connsiteX1856" fmla="*/ 4879809 w 8023328"/>
              <a:gd name="connsiteY1856" fmla="*/ 938024 h 2380521"/>
              <a:gd name="connsiteX1857" fmla="*/ 4865953 w 8023328"/>
              <a:gd name="connsiteY1857" fmla="*/ 950422 h 2380521"/>
              <a:gd name="connsiteX1858" fmla="*/ 4853556 w 8023328"/>
              <a:gd name="connsiteY1858" fmla="*/ 938024 h 2380521"/>
              <a:gd name="connsiteX1859" fmla="*/ 4865953 w 8023328"/>
              <a:gd name="connsiteY1859" fmla="*/ 924168 h 2380521"/>
              <a:gd name="connsiteX1860" fmla="*/ 4797514 w 8023328"/>
              <a:gd name="connsiteY1860" fmla="*/ 924168 h 2380521"/>
              <a:gd name="connsiteX1861" fmla="*/ 4812303 w 8023328"/>
              <a:gd name="connsiteY1861" fmla="*/ 938024 h 2380521"/>
              <a:gd name="connsiteX1862" fmla="*/ 4797514 w 8023328"/>
              <a:gd name="connsiteY1862" fmla="*/ 950422 h 2380521"/>
              <a:gd name="connsiteX1863" fmla="*/ 4782725 w 8023328"/>
              <a:gd name="connsiteY1863" fmla="*/ 938024 h 2380521"/>
              <a:gd name="connsiteX1864" fmla="*/ 4797514 w 8023328"/>
              <a:gd name="connsiteY1864" fmla="*/ 924168 h 2380521"/>
              <a:gd name="connsiteX1865" fmla="*/ 4726684 w 8023328"/>
              <a:gd name="connsiteY1865" fmla="*/ 924168 h 2380521"/>
              <a:gd name="connsiteX1866" fmla="*/ 4741472 w 8023328"/>
              <a:gd name="connsiteY1866" fmla="*/ 938024 h 2380521"/>
              <a:gd name="connsiteX1867" fmla="*/ 4726684 w 8023328"/>
              <a:gd name="connsiteY1867" fmla="*/ 950422 h 2380521"/>
              <a:gd name="connsiteX1868" fmla="*/ 4711896 w 8023328"/>
              <a:gd name="connsiteY1868" fmla="*/ 938024 h 2380521"/>
              <a:gd name="connsiteX1869" fmla="*/ 4726684 w 8023328"/>
              <a:gd name="connsiteY1869" fmla="*/ 924168 h 2380521"/>
              <a:gd name="connsiteX1870" fmla="*/ 4655853 w 8023328"/>
              <a:gd name="connsiteY1870" fmla="*/ 924168 h 2380521"/>
              <a:gd name="connsiteX1871" fmla="*/ 4670642 w 8023328"/>
              <a:gd name="connsiteY1871" fmla="*/ 938024 h 2380521"/>
              <a:gd name="connsiteX1872" fmla="*/ 4655853 w 8023328"/>
              <a:gd name="connsiteY1872" fmla="*/ 950422 h 2380521"/>
              <a:gd name="connsiteX1873" fmla="*/ 4641064 w 8023328"/>
              <a:gd name="connsiteY1873" fmla="*/ 938024 h 2380521"/>
              <a:gd name="connsiteX1874" fmla="*/ 4655853 w 8023328"/>
              <a:gd name="connsiteY1874" fmla="*/ 924168 h 2380521"/>
              <a:gd name="connsiteX1875" fmla="*/ 4584091 w 8023328"/>
              <a:gd name="connsiteY1875" fmla="*/ 924168 h 2380521"/>
              <a:gd name="connsiteX1876" fmla="*/ 4596488 w 8023328"/>
              <a:gd name="connsiteY1876" fmla="*/ 938024 h 2380521"/>
              <a:gd name="connsiteX1877" fmla="*/ 4584091 w 8023328"/>
              <a:gd name="connsiteY1877" fmla="*/ 950422 h 2380521"/>
              <a:gd name="connsiteX1878" fmla="*/ 4570235 w 8023328"/>
              <a:gd name="connsiteY1878" fmla="*/ 938024 h 2380521"/>
              <a:gd name="connsiteX1879" fmla="*/ 4584091 w 8023328"/>
              <a:gd name="connsiteY1879" fmla="*/ 924168 h 2380521"/>
              <a:gd name="connsiteX1880" fmla="*/ 4513260 w 8023328"/>
              <a:gd name="connsiteY1880" fmla="*/ 924168 h 2380521"/>
              <a:gd name="connsiteX1881" fmla="*/ 4525657 w 8023328"/>
              <a:gd name="connsiteY1881" fmla="*/ 938024 h 2380521"/>
              <a:gd name="connsiteX1882" fmla="*/ 4513260 w 8023328"/>
              <a:gd name="connsiteY1882" fmla="*/ 950422 h 2380521"/>
              <a:gd name="connsiteX1883" fmla="*/ 4499404 w 8023328"/>
              <a:gd name="connsiteY1883" fmla="*/ 938024 h 2380521"/>
              <a:gd name="connsiteX1884" fmla="*/ 4513260 w 8023328"/>
              <a:gd name="connsiteY1884" fmla="*/ 924168 h 2380521"/>
              <a:gd name="connsiteX1885" fmla="*/ 4439056 w 8023328"/>
              <a:gd name="connsiteY1885" fmla="*/ 924168 h 2380521"/>
              <a:gd name="connsiteX1886" fmla="*/ 4451453 w 8023328"/>
              <a:gd name="connsiteY1886" fmla="*/ 938024 h 2380521"/>
              <a:gd name="connsiteX1887" fmla="*/ 4439056 w 8023328"/>
              <a:gd name="connsiteY1887" fmla="*/ 950422 h 2380521"/>
              <a:gd name="connsiteX1888" fmla="*/ 4425200 w 8023328"/>
              <a:gd name="connsiteY1888" fmla="*/ 938024 h 2380521"/>
              <a:gd name="connsiteX1889" fmla="*/ 4439056 w 8023328"/>
              <a:gd name="connsiteY1889" fmla="*/ 924168 h 2380521"/>
              <a:gd name="connsiteX1890" fmla="*/ 4366768 w 8023328"/>
              <a:gd name="connsiteY1890" fmla="*/ 924168 h 2380521"/>
              <a:gd name="connsiteX1891" fmla="*/ 4380624 w 8023328"/>
              <a:gd name="connsiteY1891" fmla="*/ 938024 h 2380521"/>
              <a:gd name="connsiteX1892" fmla="*/ 4366768 w 8023328"/>
              <a:gd name="connsiteY1892" fmla="*/ 950422 h 2380521"/>
              <a:gd name="connsiteX1893" fmla="*/ 4354371 w 8023328"/>
              <a:gd name="connsiteY1893" fmla="*/ 938024 h 2380521"/>
              <a:gd name="connsiteX1894" fmla="*/ 4366768 w 8023328"/>
              <a:gd name="connsiteY1894" fmla="*/ 924168 h 2380521"/>
              <a:gd name="connsiteX1895" fmla="*/ 4295937 w 8023328"/>
              <a:gd name="connsiteY1895" fmla="*/ 924168 h 2380521"/>
              <a:gd name="connsiteX1896" fmla="*/ 4309793 w 8023328"/>
              <a:gd name="connsiteY1896" fmla="*/ 938024 h 2380521"/>
              <a:gd name="connsiteX1897" fmla="*/ 4295937 w 8023328"/>
              <a:gd name="connsiteY1897" fmla="*/ 950422 h 2380521"/>
              <a:gd name="connsiteX1898" fmla="*/ 4283540 w 8023328"/>
              <a:gd name="connsiteY1898" fmla="*/ 938024 h 2380521"/>
              <a:gd name="connsiteX1899" fmla="*/ 4295937 w 8023328"/>
              <a:gd name="connsiteY1899" fmla="*/ 924168 h 2380521"/>
              <a:gd name="connsiteX1900" fmla="*/ 4225107 w 8023328"/>
              <a:gd name="connsiteY1900" fmla="*/ 924168 h 2380521"/>
              <a:gd name="connsiteX1901" fmla="*/ 4238963 w 8023328"/>
              <a:gd name="connsiteY1901" fmla="*/ 938024 h 2380521"/>
              <a:gd name="connsiteX1902" fmla="*/ 4225107 w 8023328"/>
              <a:gd name="connsiteY1902" fmla="*/ 950422 h 2380521"/>
              <a:gd name="connsiteX1903" fmla="*/ 4212710 w 8023328"/>
              <a:gd name="connsiteY1903" fmla="*/ 938024 h 2380521"/>
              <a:gd name="connsiteX1904" fmla="*/ 4225107 w 8023328"/>
              <a:gd name="connsiteY1904" fmla="*/ 924168 h 2380521"/>
              <a:gd name="connsiteX1905" fmla="*/ 4153295 w 8023328"/>
              <a:gd name="connsiteY1905" fmla="*/ 924168 h 2380521"/>
              <a:gd name="connsiteX1906" fmla="*/ 4168083 w 8023328"/>
              <a:gd name="connsiteY1906" fmla="*/ 938024 h 2380521"/>
              <a:gd name="connsiteX1907" fmla="*/ 4153295 w 8023328"/>
              <a:gd name="connsiteY1907" fmla="*/ 950422 h 2380521"/>
              <a:gd name="connsiteX1908" fmla="*/ 4138507 w 8023328"/>
              <a:gd name="connsiteY1908" fmla="*/ 938024 h 2380521"/>
              <a:gd name="connsiteX1909" fmla="*/ 4153295 w 8023328"/>
              <a:gd name="connsiteY1909" fmla="*/ 924168 h 2380521"/>
              <a:gd name="connsiteX1910" fmla="*/ 4082465 w 8023328"/>
              <a:gd name="connsiteY1910" fmla="*/ 924168 h 2380521"/>
              <a:gd name="connsiteX1911" fmla="*/ 4097254 w 8023328"/>
              <a:gd name="connsiteY1911" fmla="*/ 938024 h 2380521"/>
              <a:gd name="connsiteX1912" fmla="*/ 4082465 w 8023328"/>
              <a:gd name="connsiteY1912" fmla="*/ 950422 h 2380521"/>
              <a:gd name="connsiteX1913" fmla="*/ 4067676 w 8023328"/>
              <a:gd name="connsiteY1913" fmla="*/ 938024 h 2380521"/>
              <a:gd name="connsiteX1914" fmla="*/ 4082465 w 8023328"/>
              <a:gd name="connsiteY1914" fmla="*/ 924168 h 2380521"/>
              <a:gd name="connsiteX1915" fmla="*/ 4011635 w 8023328"/>
              <a:gd name="connsiteY1915" fmla="*/ 924168 h 2380521"/>
              <a:gd name="connsiteX1916" fmla="*/ 4026423 w 8023328"/>
              <a:gd name="connsiteY1916" fmla="*/ 938024 h 2380521"/>
              <a:gd name="connsiteX1917" fmla="*/ 4011635 w 8023328"/>
              <a:gd name="connsiteY1917" fmla="*/ 950422 h 2380521"/>
              <a:gd name="connsiteX1918" fmla="*/ 3996847 w 8023328"/>
              <a:gd name="connsiteY1918" fmla="*/ 938024 h 2380521"/>
              <a:gd name="connsiteX1919" fmla="*/ 4011635 w 8023328"/>
              <a:gd name="connsiteY1919" fmla="*/ 924168 h 2380521"/>
              <a:gd name="connsiteX1920" fmla="*/ 3939871 w 8023328"/>
              <a:gd name="connsiteY1920" fmla="*/ 924168 h 2380521"/>
              <a:gd name="connsiteX1921" fmla="*/ 3952268 w 8023328"/>
              <a:gd name="connsiteY1921" fmla="*/ 938024 h 2380521"/>
              <a:gd name="connsiteX1922" fmla="*/ 3939871 w 8023328"/>
              <a:gd name="connsiteY1922" fmla="*/ 950422 h 2380521"/>
              <a:gd name="connsiteX1923" fmla="*/ 3926015 w 8023328"/>
              <a:gd name="connsiteY1923" fmla="*/ 938024 h 2380521"/>
              <a:gd name="connsiteX1924" fmla="*/ 3939871 w 8023328"/>
              <a:gd name="connsiteY1924" fmla="*/ 924168 h 2380521"/>
              <a:gd name="connsiteX1925" fmla="*/ 3869042 w 8023328"/>
              <a:gd name="connsiteY1925" fmla="*/ 924168 h 2380521"/>
              <a:gd name="connsiteX1926" fmla="*/ 3881439 w 8023328"/>
              <a:gd name="connsiteY1926" fmla="*/ 938024 h 2380521"/>
              <a:gd name="connsiteX1927" fmla="*/ 3869042 w 8023328"/>
              <a:gd name="connsiteY1927" fmla="*/ 950422 h 2380521"/>
              <a:gd name="connsiteX1928" fmla="*/ 3855186 w 8023328"/>
              <a:gd name="connsiteY1928" fmla="*/ 938024 h 2380521"/>
              <a:gd name="connsiteX1929" fmla="*/ 3869042 w 8023328"/>
              <a:gd name="connsiteY1929" fmla="*/ 924168 h 2380521"/>
              <a:gd name="connsiteX1930" fmla="*/ 3798211 w 8023328"/>
              <a:gd name="connsiteY1930" fmla="*/ 924168 h 2380521"/>
              <a:gd name="connsiteX1931" fmla="*/ 3810608 w 8023328"/>
              <a:gd name="connsiteY1931" fmla="*/ 938024 h 2380521"/>
              <a:gd name="connsiteX1932" fmla="*/ 3798211 w 8023328"/>
              <a:gd name="connsiteY1932" fmla="*/ 950422 h 2380521"/>
              <a:gd name="connsiteX1933" fmla="*/ 3784355 w 8023328"/>
              <a:gd name="connsiteY1933" fmla="*/ 938024 h 2380521"/>
              <a:gd name="connsiteX1934" fmla="*/ 3798211 w 8023328"/>
              <a:gd name="connsiteY1934" fmla="*/ 924168 h 2380521"/>
              <a:gd name="connsiteX1935" fmla="*/ 3725922 w 8023328"/>
              <a:gd name="connsiteY1935" fmla="*/ 924168 h 2380521"/>
              <a:gd name="connsiteX1936" fmla="*/ 3739778 w 8023328"/>
              <a:gd name="connsiteY1936" fmla="*/ 938024 h 2380521"/>
              <a:gd name="connsiteX1937" fmla="*/ 3725922 w 8023328"/>
              <a:gd name="connsiteY1937" fmla="*/ 950422 h 2380521"/>
              <a:gd name="connsiteX1938" fmla="*/ 3713525 w 8023328"/>
              <a:gd name="connsiteY1938" fmla="*/ 938024 h 2380521"/>
              <a:gd name="connsiteX1939" fmla="*/ 3725922 w 8023328"/>
              <a:gd name="connsiteY1939" fmla="*/ 924168 h 2380521"/>
              <a:gd name="connsiteX1940" fmla="*/ 3655091 w 8023328"/>
              <a:gd name="connsiteY1940" fmla="*/ 924168 h 2380521"/>
              <a:gd name="connsiteX1941" fmla="*/ 3668947 w 8023328"/>
              <a:gd name="connsiteY1941" fmla="*/ 938024 h 2380521"/>
              <a:gd name="connsiteX1942" fmla="*/ 3655091 w 8023328"/>
              <a:gd name="connsiteY1942" fmla="*/ 950422 h 2380521"/>
              <a:gd name="connsiteX1943" fmla="*/ 3642694 w 8023328"/>
              <a:gd name="connsiteY1943" fmla="*/ 938024 h 2380521"/>
              <a:gd name="connsiteX1944" fmla="*/ 3655091 w 8023328"/>
              <a:gd name="connsiteY1944" fmla="*/ 924168 h 2380521"/>
              <a:gd name="connsiteX1945" fmla="*/ 3583280 w 8023328"/>
              <a:gd name="connsiteY1945" fmla="*/ 924168 h 2380521"/>
              <a:gd name="connsiteX1946" fmla="*/ 3598069 w 8023328"/>
              <a:gd name="connsiteY1946" fmla="*/ 938024 h 2380521"/>
              <a:gd name="connsiteX1947" fmla="*/ 3583280 w 8023328"/>
              <a:gd name="connsiteY1947" fmla="*/ 950422 h 2380521"/>
              <a:gd name="connsiteX1948" fmla="*/ 3568491 w 8023328"/>
              <a:gd name="connsiteY1948" fmla="*/ 938024 h 2380521"/>
              <a:gd name="connsiteX1949" fmla="*/ 3583280 w 8023328"/>
              <a:gd name="connsiteY1949" fmla="*/ 924168 h 2380521"/>
              <a:gd name="connsiteX1950" fmla="*/ 941441 w 8023328"/>
              <a:gd name="connsiteY1950" fmla="*/ 856710 h 2380521"/>
              <a:gd name="connsiteX1951" fmla="*/ 953839 w 8023328"/>
              <a:gd name="connsiteY1951" fmla="*/ 869107 h 2380521"/>
              <a:gd name="connsiteX1952" fmla="*/ 941441 w 8023328"/>
              <a:gd name="connsiteY1952" fmla="*/ 882964 h 2380521"/>
              <a:gd name="connsiteX1953" fmla="*/ 927585 w 8023328"/>
              <a:gd name="connsiteY1953" fmla="*/ 869107 h 2380521"/>
              <a:gd name="connsiteX1954" fmla="*/ 941441 w 8023328"/>
              <a:gd name="connsiteY1954" fmla="*/ 856710 h 2380521"/>
              <a:gd name="connsiteX1955" fmla="*/ 870610 w 8023328"/>
              <a:gd name="connsiteY1955" fmla="*/ 856710 h 2380521"/>
              <a:gd name="connsiteX1956" fmla="*/ 883008 w 8023328"/>
              <a:gd name="connsiteY1956" fmla="*/ 869107 h 2380521"/>
              <a:gd name="connsiteX1957" fmla="*/ 870610 w 8023328"/>
              <a:gd name="connsiteY1957" fmla="*/ 882964 h 2380521"/>
              <a:gd name="connsiteX1958" fmla="*/ 856754 w 8023328"/>
              <a:gd name="connsiteY1958" fmla="*/ 869107 h 2380521"/>
              <a:gd name="connsiteX1959" fmla="*/ 870610 w 8023328"/>
              <a:gd name="connsiteY1959" fmla="*/ 856710 h 2380521"/>
              <a:gd name="connsiteX1960" fmla="*/ 799780 w 8023328"/>
              <a:gd name="connsiteY1960" fmla="*/ 856710 h 2380521"/>
              <a:gd name="connsiteX1961" fmla="*/ 812178 w 8023328"/>
              <a:gd name="connsiteY1961" fmla="*/ 869107 h 2380521"/>
              <a:gd name="connsiteX1962" fmla="*/ 799780 w 8023328"/>
              <a:gd name="connsiteY1962" fmla="*/ 882964 h 2380521"/>
              <a:gd name="connsiteX1963" fmla="*/ 785924 w 8023328"/>
              <a:gd name="connsiteY1963" fmla="*/ 869107 h 2380521"/>
              <a:gd name="connsiteX1964" fmla="*/ 799780 w 8023328"/>
              <a:gd name="connsiteY1964" fmla="*/ 856710 h 2380521"/>
              <a:gd name="connsiteX1965" fmla="*/ 724119 w 8023328"/>
              <a:gd name="connsiteY1965" fmla="*/ 856710 h 2380521"/>
              <a:gd name="connsiteX1966" fmla="*/ 737976 w 8023328"/>
              <a:gd name="connsiteY1966" fmla="*/ 869107 h 2380521"/>
              <a:gd name="connsiteX1967" fmla="*/ 724119 w 8023328"/>
              <a:gd name="connsiteY1967" fmla="*/ 882964 h 2380521"/>
              <a:gd name="connsiteX1968" fmla="*/ 711721 w 8023328"/>
              <a:gd name="connsiteY1968" fmla="*/ 869107 h 2380521"/>
              <a:gd name="connsiteX1969" fmla="*/ 724119 w 8023328"/>
              <a:gd name="connsiteY1969" fmla="*/ 856710 h 2380521"/>
              <a:gd name="connsiteX1970" fmla="*/ 653288 w 8023328"/>
              <a:gd name="connsiteY1970" fmla="*/ 856710 h 2380521"/>
              <a:gd name="connsiteX1971" fmla="*/ 667144 w 8023328"/>
              <a:gd name="connsiteY1971" fmla="*/ 869107 h 2380521"/>
              <a:gd name="connsiteX1972" fmla="*/ 653288 w 8023328"/>
              <a:gd name="connsiteY1972" fmla="*/ 882964 h 2380521"/>
              <a:gd name="connsiteX1973" fmla="*/ 640891 w 8023328"/>
              <a:gd name="connsiteY1973" fmla="*/ 869107 h 2380521"/>
              <a:gd name="connsiteX1974" fmla="*/ 653288 w 8023328"/>
              <a:gd name="connsiteY1974" fmla="*/ 856710 h 2380521"/>
              <a:gd name="connsiteX1975" fmla="*/ 584851 w 8023328"/>
              <a:gd name="connsiteY1975" fmla="*/ 856710 h 2380521"/>
              <a:gd name="connsiteX1976" fmla="*/ 599638 w 8023328"/>
              <a:gd name="connsiteY1976" fmla="*/ 869107 h 2380521"/>
              <a:gd name="connsiteX1977" fmla="*/ 584851 w 8023328"/>
              <a:gd name="connsiteY1977" fmla="*/ 882964 h 2380521"/>
              <a:gd name="connsiteX1978" fmla="*/ 570061 w 8023328"/>
              <a:gd name="connsiteY1978" fmla="*/ 869107 h 2380521"/>
              <a:gd name="connsiteX1979" fmla="*/ 584851 w 8023328"/>
              <a:gd name="connsiteY1979" fmla="*/ 856710 h 2380521"/>
              <a:gd name="connsiteX1980" fmla="*/ 513649 w 8023328"/>
              <a:gd name="connsiteY1980" fmla="*/ 856710 h 2380521"/>
              <a:gd name="connsiteX1981" fmla="*/ 528826 w 8023328"/>
              <a:gd name="connsiteY1981" fmla="*/ 869107 h 2380521"/>
              <a:gd name="connsiteX1982" fmla="*/ 513649 w 8023328"/>
              <a:gd name="connsiteY1982" fmla="*/ 882964 h 2380521"/>
              <a:gd name="connsiteX1983" fmla="*/ 499230 w 8023328"/>
              <a:gd name="connsiteY1983" fmla="*/ 869107 h 2380521"/>
              <a:gd name="connsiteX1984" fmla="*/ 513649 w 8023328"/>
              <a:gd name="connsiteY1984" fmla="*/ 856710 h 2380521"/>
              <a:gd name="connsiteX1985" fmla="*/ 439816 w 8023328"/>
              <a:gd name="connsiteY1985" fmla="*/ 856710 h 2380521"/>
              <a:gd name="connsiteX1986" fmla="*/ 454606 w 8023328"/>
              <a:gd name="connsiteY1986" fmla="*/ 869107 h 2380521"/>
              <a:gd name="connsiteX1987" fmla="*/ 439816 w 8023328"/>
              <a:gd name="connsiteY1987" fmla="*/ 882964 h 2380521"/>
              <a:gd name="connsiteX1988" fmla="*/ 425028 w 8023328"/>
              <a:gd name="connsiteY1988" fmla="*/ 869107 h 2380521"/>
              <a:gd name="connsiteX1989" fmla="*/ 439816 w 8023328"/>
              <a:gd name="connsiteY1989" fmla="*/ 856710 h 2380521"/>
              <a:gd name="connsiteX1990" fmla="*/ 368053 w 8023328"/>
              <a:gd name="connsiteY1990" fmla="*/ 856710 h 2380521"/>
              <a:gd name="connsiteX1991" fmla="*/ 380451 w 8023328"/>
              <a:gd name="connsiteY1991" fmla="*/ 869107 h 2380521"/>
              <a:gd name="connsiteX1992" fmla="*/ 368053 w 8023328"/>
              <a:gd name="connsiteY1992" fmla="*/ 882964 h 2380521"/>
              <a:gd name="connsiteX1993" fmla="*/ 354198 w 8023328"/>
              <a:gd name="connsiteY1993" fmla="*/ 869107 h 2380521"/>
              <a:gd name="connsiteX1994" fmla="*/ 368053 w 8023328"/>
              <a:gd name="connsiteY1994" fmla="*/ 856710 h 2380521"/>
              <a:gd name="connsiteX1995" fmla="*/ 297222 w 8023328"/>
              <a:gd name="connsiteY1995" fmla="*/ 856710 h 2380521"/>
              <a:gd name="connsiteX1996" fmla="*/ 309618 w 8023328"/>
              <a:gd name="connsiteY1996" fmla="*/ 869107 h 2380521"/>
              <a:gd name="connsiteX1997" fmla="*/ 297222 w 8023328"/>
              <a:gd name="connsiteY1997" fmla="*/ 882964 h 2380521"/>
              <a:gd name="connsiteX1998" fmla="*/ 283366 w 8023328"/>
              <a:gd name="connsiteY1998" fmla="*/ 869107 h 2380521"/>
              <a:gd name="connsiteX1999" fmla="*/ 297222 w 8023328"/>
              <a:gd name="connsiteY1999" fmla="*/ 856710 h 2380521"/>
              <a:gd name="connsiteX2000" fmla="*/ 226393 w 8023328"/>
              <a:gd name="connsiteY2000" fmla="*/ 856710 h 2380521"/>
              <a:gd name="connsiteX2001" fmla="*/ 238791 w 8023328"/>
              <a:gd name="connsiteY2001" fmla="*/ 869107 h 2380521"/>
              <a:gd name="connsiteX2002" fmla="*/ 226393 w 8023328"/>
              <a:gd name="connsiteY2002" fmla="*/ 882964 h 2380521"/>
              <a:gd name="connsiteX2003" fmla="*/ 212537 w 8023328"/>
              <a:gd name="connsiteY2003" fmla="*/ 869107 h 2380521"/>
              <a:gd name="connsiteX2004" fmla="*/ 226393 w 8023328"/>
              <a:gd name="connsiteY2004" fmla="*/ 856710 h 2380521"/>
              <a:gd name="connsiteX2005" fmla="*/ 154097 w 8023328"/>
              <a:gd name="connsiteY2005" fmla="*/ 856710 h 2380521"/>
              <a:gd name="connsiteX2006" fmla="*/ 167953 w 8023328"/>
              <a:gd name="connsiteY2006" fmla="*/ 869107 h 2380521"/>
              <a:gd name="connsiteX2007" fmla="*/ 154097 w 8023328"/>
              <a:gd name="connsiteY2007" fmla="*/ 882964 h 2380521"/>
              <a:gd name="connsiteX2008" fmla="*/ 141699 w 8023328"/>
              <a:gd name="connsiteY2008" fmla="*/ 869107 h 2380521"/>
              <a:gd name="connsiteX2009" fmla="*/ 154097 w 8023328"/>
              <a:gd name="connsiteY2009" fmla="*/ 856710 h 2380521"/>
              <a:gd name="connsiteX2010" fmla="*/ 83267 w 8023328"/>
              <a:gd name="connsiteY2010" fmla="*/ 856710 h 2380521"/>
              <a:gd name="connsiteX2011" fmla="*/ 97123 w 8023328"/>
              <a:gd name="connsiteY2011" fmla="*/ 869107 h 2380521"/>
              <a:gd name="connsiteX2012" fmla="*/ 83267 w 8023328"/>
              <a:gd name="connsiteY2012" fmla="*/ 882964 h 2380521"/>
              <a:gd name="connsiteX2013" fmla="*/ 70870 w 8023328"/>
              <a:gd name="connsiteY2013" fmla="*/ 869107 h 2380521"/>
              <a:gd name="connsiteX2014" fmla="*/ 83267 w 8023328"/>
              <a:gd name="connsiteY2014" fmla="*/ 856710 h 2380521"/>
              <a:gd name="connsiteX2015" fmla="*/ 12032 w 8023328"/>
              <a:gd name="connsiteY2015" fmla="*/ 856710 h 2380521"/>
              <a:gd name="connsiteX2016" fmla="*/ 26273 w 8023328"/>
              <a:gd name="connsiteY2016" fmla="*/ 869107 h 2380521"/>
              <a:gd name="connsiteX2017" fmla="*/ 12032 w 8023328"/>
              <a:gd name="connsiteY2017" fmla="*/ 882964 h 2380521"/>
              <a:gd name="connsiteX2018" fmla="*/ 39 w 8023328"/>
              <a:gd name="connsiteY2018" fmla="*/ 869107 h 2380521"/>
              <a:gd name="connsiteX2019" fmla="*/ 12032 w 8023328"/>
              <a:gd name="connsiteY2019" fmla="*/ 856710 h 2380521"/>
              <a:gd name="connsiteX2020" fmla="*/ 6368340 w 8023328"/>
              <a:gd name="connsiteY2020" fmla="*/ 853339 h 2380521"/>
              <a:gd name="connsiteX2021" fmla="*/ 6380737 w 8023328"/>
              <a:gd name="connsiteY2021" fmla="*/ 867757 h 2380521"/>
              <a:gd name="connsiteX2022" fmla="*/ 6368340 w 8023328"/>
              <a:gd name="connsiteY2022" fmla="*/ 882935 h 2380521"/>
              <a:gd name="connsiteX2023" fmla="*/ 6354484 w 8023328"/>
              <a:gd name="connsiteY2023" fmla="*/ 867757 h 2380521"/>
              <a:gd name="connsiteX2024" fmla="*/ 6368340 w 8023328"/>
              <a:gd name="connsiteY2024" fmla="*/ 853339 h 2380521"/>
              <a:gd name="connsiteX2025" fmla="*/ 6297511 w 8023328"/>
              <a:gd name="connsiteY2025" fmla="*/ 853339 h 2380521"/>
              <a:gd name="connsiteX2026" fmla="*/ 6309908 w 8023328"/>
              <a:gd name="connsiteY2026" fmla="*/ 867757 h 2380521"/>
              <a:gd name="connsiteX2027" fmla="*/ 6297511 w 8023328"/>
              <a:gd name="connsiteY2027" fmla="*/ 882935 h 2380521"/>
              <a:gd name="connsiteX2028" fmla="*/ 6283655 w 8023328"/>
              <a:gd name="connsiteY2028" fmla="*/ 867757 h 2380521"/>
              <a:gd name="connsiteX2029" fmla="*/ 6297511 w 8023328"/>
              <a:gd name="connsiteY2029" fmla="*/ 853339 h 2380521"/>
              <a:gd name="connsiteX2030" fmla="*/ 6226679 w 8023328"/>
              <a:gd name="connsiteY2030" fmla="*/ 853339 h 2380521"/>
              <a:gd name="connsiteX2031" fmla="*/ 6239076 w 8023328"/>
              <a:gd name="connsiteY2031" fmla="*/ 867757 h 2380521"/>
              <a:gd name="connsiteX2032" fmla="*/ 6226679 w 8023328"/>
              <a:gd name="connsiteY2032" fmla="*/ 882935 h 2380521"/>
              <a:gd name="connsiteX2033" fmla="*/ 6212823 w 8023328"/>
              <a:gd name="connsiteY2033" fmla="*/ 867757 h 2380521"/>
              <a:gd name="connsiteX2034" fmla="*/ 6226679 w 8023328"/>
              <a:gd name="connsiteY2034" fmla="*/ 853339 h 2380521"/>
              <a:gd name="connsiteX2035" fmla="*/ 6154391 w 8023328"/>
              <a:gd name="connsiteY2035" fmla="*/ 853339 h 2380521"/>
              <a:gd name="connsiteX2036" fmla="*/ 6168247 w 8023328"/>
              <a:gd name="connsiteY2036" fmla="*/ 865007 h 2380521"/>
              <a:gd name="connsiteX2037" fmla="*/ 6154391 w 8023328"/>
              <a:gd name="connsiteY2037" fmla="*/ 879593 h 2380521"/>
              <a:gd name="connsiteX2038" fmla="*/ 6141994 w 8023328"/>
              <a:gd name="connsiteY2038" fmla="*/ 865007 h 2380521"/>
              <a:gd name="connsiteX2039" fmla="*/ 6154391 w 8023328"/>
              <a:gd name="connsiteY2039" fmla="*/ 853339 h 2380521"/>
              <a:gd name="connsiteX2040" fmla="*/ 6083559 w 8023328"/>
              <a:gd name="connsiteY2040" fmla="*/ 853339 h 2380521"/>
              <a:gd name="connsiteX2041" fmla="*/ 6097415 w 8023328"/>
              <a:gd name="connsiteY2041" fmla="*/ 865007 h 2380521"/>
              <a:gd name="connsiteX2042" fmla="*/ 6083559 w 8023328"/>
              <a:gd name="connsiteY2042" fmla="*/ 879593 h 2380521"/>
              <a:gd name="connsiteX2043" fmla="*/ 6071162 w 8023328"/>
              <a:gd name="connsiteY2043" fmla="*/ 865007 h 2380521"/>
              <a:gd name="connsiteX2044" fmla="*/ 6083559 w 8023328"/>
              <a:gd name="connsiteY2044" fmla="*/ 853339 h 2380521"/>
              <a:gd name="connsiteX2045" fmla="*/ 6011748 w 8023328"/>
              <a:gd name="connsiteY2045" fmla="*/ 853339 h 2380521"/>
              <a:gd name="connsiteX2046" fmla="*/ 6026537 w 8023328"/>
              <a:gd name="connsiteY2046" fmla="*/ 865007 h 2380521"/>
              <a:gd name="connsiteX2047" fmla="*/ 6011748 w 8023328"/>
              <a:gd name="connsiteY2047" fmla="*/ 879593 h 2380521"/>
              <a:gd name="connsiteX2048" fmla="*/ 5996959 w 8023328"/>
              <a:gd name="connsiteY2048" fmla="*/ 865007 h 2380521"/>
              <a:gd name="connsiteX2049" fmla="*/ 6011748 w 8023328"/>
              <a:gd name="connsiteY2049" fmla="*/ 853339 h 2380521"/>
              <a:gd name="connsiteX2050" fmla="*/ 5940548 w 8023328"/>
              <a:gd name="connsiteY2050" fmla="*/ 853339 h 2380521"/>
              <a:gd name="connsiteX2051" fmla="*/ 5955726 w 8023328"/>
              <a:gd name="connsiteY2051" fmla="*/ 865007 h 2380521"/>
              <a:gd name="connsiteX2052" fmla="*/ 5940548 w 8023328"/>
              <a:gd name="connsiteY2052" fmla="*/ 879593 h 2380521"/>
              <a:gd name="connsiteX2053" fmla="*/ 5926130 w 8023328"/>
              <a:gd name="connsiteY2053" fmla="*/ 865007 h 2380521"/>
              <a:gd name="connsiteX2054" fmla="*/ 5940548 w 8023328"/>
              <a:gd name="connsiteY2054" fmla="*/ 853339 h 2380521"/>
              <a:gd name="connsiteX2055" fmla="*/ 5870088 w 8023328"/>
              <a:gd name="connsiteY2055" fmla="*/ 853339 h 2380521"/>
              <a:gd name="connsiteX2056" fmla="*/ 5884877 w 8023328"/>
              <a:gd name="connsiteY2056" fmla="*/ 865007 h 2380521"/>
              <a:gd name="connsiteX2057" fmla="*/ 5870088 w 8023328"/>
              <a:gd name="connsiteY2057" fmla="*/ 879593 h 2380521"/>
              <a:gd name="connsiteX2058" fmla="*/ 5855299 w 8023328"/>
              <a:gd name="connsiteY2058" fmla="*/ 865007 h 2380521"/>
              <a:gd name="connsiteX2059" fmla="*/ 5870088 w 8023328"/>
              <a:gd name="connsiteY2059" fmla="*/ 853339 h 2380521"/>
              <a:gd name="connsiteX2060" fmla="*/ 5798325 w 8023328"/>
              <a:gd name="connsiteY2060" fmla="*/ 853339 h 2380521"/>
              <a:gd name="connsiteX2061" fmla="*/ 5810722 w 8023328"/>
              <a:gd name="connsiteY2061" fmla="*/ 865007 h 2380521"/>
              <a:gd name="connsiteX2062" fmla="*/ 5798325 w 8023328"/>
              <a:gd name="connsiteY2062" fmla="*/ 879593 h 2380521"/>
              <a:gd name="connsiteX2063" fmla="*/ 5784469 w 8023328"/>
              <a:gd name="connsiteY2063" fmla="*/ 865007 h 2380521"/>
              <a:gd name="connsiteX2064" fmla="*/ 5798325 w 8023328"/>
              <a:gd name="connsiteY2064" fmla="*/ 853339 h 2380521"/>
              <a:gd name="connsiteX2065" fmla="*/ 5724122 w 8023328"/>
              <a:gd name="connsiteY2065" fmla="*/ 853339 h 2380521"/>
              <a:gd name="connsiteX2066" fmla="*/ 5736519 w 8023328"/>
              <a:gd name="connsiteY2066" fmla="*/ 865007 h 2380521"/>
              <a:gd name="connsiteX2067" fmla="*/ 5724122 w 8023328"/>
              <a:gd name="connsiteY2067" fmla="*/ 879593 h 2380521"/>
              <a:gd name="connsiteX2068" fmla="*/ 5710266 w 8023328"/>
              <a:gd name="connsiteY2068" fmla="*/ 865007 h 2380521"/>
              <a:gd name="connsiteX2069" fmla="*/ 5724122 w 8023328"/>
              <a:gd name="connsiteY2069" fmla="*/ 853339 h 2380521"/>
              <a:gd name="connsiteX2070" fmla="*/ 5653291 w 8023328"/>
              <a:gd name="connsiteY2070" fmla="*/ 853339 h 2380521"/>
              <a:gd name="connsiteX2071" fmla="*/ 5665688 w 8023328"/>
              <a:gd name="connsiteY2071" fmla="*/ 865007 h 2380521"/>
              <a:gd name="connsiteX2072" fmla="*/ 5653291 w 8023328"/>
              <a:gd name="connsiteY2072" fmla="*/ 879593 h 2380521"/>
              <a:gd name="connsiteX2073" fmla="*/ 5639435 w 8023328"/>
              <a:gd name="connsiteY2073" fmla="*/ 865007 h 2380521"/>
              <a:gd name="connsiteX2074" fmla="*/ 5653291 w 8023328"/>
              <a:gd name="connsiteY2074" fmla="*/ 853339 h 2380521"/>
              <a:gd name="connsiteX2075" fmla="*/ 5581002 w 8023328"/>
              <a:gd name="connsiteY2075" fmla="*/ 853339 h 2380521"/>
              <a:gd name="connsiteX2076" fmla="*/ 5594858 w 8023328"/>
              <a:gd name="connsiteY2076" fmla="*/ 865007 h 2380521"/>
              <a:gd name="connsiteX2077" fmla="*/ 5581002 w 8023328"/>
              <a:gd name="connsiteY2077" fmla="*/ 879593 h 2380521"/>
              <a:gd name="connsiteX2078" fmla="*/ 5568605 w 8023328"/>
              <a:gd name="connsiteY2078" fmla="*/ 865007 h 2380521"/>
              <a:gd name="connsiteX2079" fmla="*/ 5581002 w 8023328"/>
              <a:gd name="connsiteY2079" fmla="*/ 853339 h 2380521"/>
              <a:gd name="connsiteX2080" fmla="*/ 5510171 w 8023328"/>
              <a:gd name="connsiteY2080" fmla="*/ 853339 h 2380521"/>
              <a:gd name="connsiteX2081" fmla="*/ 5524027 w 8023328"/>
              <a:gd name="connsiteY2081" fmla="*/ 865007 h 2380521"/>
              <a:gd name="connsiteX2082" fmla="*/ 5510171 w 8023328"/>
              <a:gd name="connsiteY2082" fmla="*/ 879593 h 2380521"/>
              <a:gd name="connsiteX2083" fmla="*/ 5497774 w 8023328"/>
              <a:gd name="connsiteY2083" fmla="*/ 865007 h 2380521"/>
              <a:gd name="connsiteX2084" fmla="*/ 5510171 w 8023328"/>
              <a:gd name="connsiteY2084" fmla="*/ 853339 h 2380521"/>
              <a:gd name="connsiteX2085" fmla="*/ 5438937 w 8023328"/>
              <a:gd name="connsiteY2085" fmla="*/ 853339 h 2380521"/>
              <a:gd name="connsiteX2086" fmla="*/ 5453178 w 8023328"/>
              <a:gd name="connsiteY2086" fmla="*/ 865007 h 2380521"/>
              <a:gd name="connsiteX2087" fmla="*/ 5438937 w 8023328"/>
              <a:gd name="connsiteY2087" fmla="*/ 879593 h 2380521"/>
              <a:gd name="connsiteX2088" fmla="*/ 5426945 w 8023328"/>
              <a:gd name="connsiteY2088" fmla="*/ 865007 h 2380521"/>
              <a:gd name="connsiteX2089" fmla="*/ 5438937 w 8023328"/>
              <a:gd name="connsiteY2089" fmla="*/ 853339 h 2380521"/>
              <a:gd name="connsiteX2090" fmla="*/ 5367530 w 8023328"/>
              <a:gd name="connsiteY2090" fmla="*/ 853339 h 2380521"/>
              <a:gd name="connsiteX2091" fmla="*/ 5382318 w 8023328"/>
              <a:gd name="connsiteY2091" fmla="*/ 865007 h 2380521"/>
              <a:gd name="connsiteX2092" fmla="*/ 5367530 w 8023328"/>
              <a:gd name="connsiteY2092" fmla="*/ 879593 h 2380521"/>
              <a:gd name="connsiteX2093" fmla="*/ 5352742 w 8023328"/>
              <a:gd name="connsiteY2093" fmla="*/ 865007 h 2380521"/>
              <a:gd name="connsiteX2094" fmla="*/ 5367530 w 8023328"/>
              <a:gd name="connsiteY2094" fmla="*/ 853339 h 2380521"/>
              <a:gd name="connsiteX2095" fmla="*/ 5296699 w 8023328"/>
              <a:gd name="connsiteY2095" fmla="*/ 853339 h 2380521"/>
              <a:gd name="connsiteX2096" fmla="*/ 5311488 w 8023328"/>
              <a:gd name="connsiteY2096" fmla="*/ 865007 h 2380521"/>
              <a:gd name="connsiteX2097" fmla="*/ 5296699 w 8023328"/>
              <a:gd name="connsiteY2097" fmla="*/ 879593 h 2380521"/>
              <a:gd name="connsiteX2098" fmla="*/ 5281910 w 8023328"/>
              <a:gd name="connsiteY2098" fmla="*/ 865007 h 2380521"/>
              <a:gd name="connsiteX2099" fmla="*/ 5296699 w 8023328"/>
              <a:gd name="connsiteY2099" fmla="*/ 853339 h 2380521"/>
              <a:gd name="connsiteX2100" fmla="*/ 5225869 w 8023328"/>
              <a:gd name="connsiteY2100" fmla="*/ 853339 h 2380521"/>
              <a:gd name="connsiteX2101" fmla="*/ 5240657 w 8023328"/>
              <a:gd name="connsiteY2101" fmla="*/ 865007 h 2380521"/>
              <a:gd name="connsiteX2102" fmla="*/ 5225869 w 8023328"/>
              <a:gd name="connsiteY2102" fmla="*/ 879593 h 2380521"/>
              <a:gd name="connsiteX2103" fmla="*/ 5211081 w 8023328"/>
              <a:gd name="connsiteY2103" fmla="*/ 865007 h 2380521"/>
              <a:gd name="connsiteX2104" fmla="*/ 5225869 w 8023328"/>
              <a:gd name="connsiteY2104" fmla="*/ 853339 h 2380521"/>
              <a:gd name="connsiteX2105" fmla="*/ 5154105 w 8023328"/>
              <a:gd name="connsiteY2105" fmla="*/ 853339 h 2380521"/>
              <a:gd name="connsiteX2106" fmla="*/ 5166502 w 8023328"/>
              <a:gd name="connsiteY2106" fmla="*/ 865007 h 2380521"/>
              <a:gd name="connsiteX2107" fmla="*/ 5154105 w 8023328"/>
              <a:gd name="connsiteY2107" fmla="*/ 879593 h 2380521"/>
              <a:gd name="connsiteX2108" fmla="*/ 5140249 w 8023328"/>
              <a:gd name="connsiteY2108" fmla="*/ 865007 h 2380521"/>
              <a:gd name="connsiteX2109" fmla="*/ 5154105 w 8023328"/>
              <a:gd name="connsiteY2109" fmla="*/ 853339 h 2380521"/>
              <a:gd name="connsiteX2110" fmla="*/ 5083276 w 8023328"/>
              <a:gd name="connsiteY2110" fmla="*/ 853339 h 2380521"/>
              <a:gd name="connsiteX2111" fmla="*/ 5095673 w 8023328"/>
              <a:gd name="connsiteY2111" fmla="*/ 865007 h 2380521"/>
              <a:gd name="connsiteX2112" fmla="*/ 5083276 w 8023328"/>
              <a:gd name="connsiteY2112" fmla="*/ 879593 h 2380521"/>
              <a:gd name="connsiteX2113" fmla="*/ 5069420 w 8023328"/>
              <a:gd name="connsiteY2113" fmla="*/ 865007 h 2380521"/>
              <a:gd name="connsiteX2114" fmla="*/ 5083276 w 8023328"/>
              <a:gd name="connsiteY2114" fmla="*/ 853339 h 2380521"/>
              <a:gd name="connsiteX2115" fmla="*/ 5012445 w 8023328"/>
              <a:gd name="connsiteY2115" fmla="*/ 853339 h 2380521"/>
              <a:gd name="connsiteX2116" fmla="*/ 5024842 w 8023328"/>
              <a:gd name="connsiteY2116" fmla="*/ 865007 h 2380521"/>
              <a:gd name="connsiteX2117" fmla="*/ 5012445 w 8023328"/>
              <a:gd name="connsiteY2117" fmla="*/ 879593 h 2380521"/>
              <a:gd name="connsiteX2118" fmla="*/ 4998589 w 8023328"/>
              <a:gd name="connsiteY2118" fmla="*/ 865007 h 2380521"/>
              <a:gd name="connsiteX2119" fmla="*/ 5012445 w 8023328"/>
              <a:gd name="connsiteY2119" fmla="*/ 853339 h 2380521"/>
              <a:gd name="connsiteX2120" fmla="*/ 4940157 w 8023328"/>
              <a:gd name="connsiteY2120" fmla="*/ 853339 h 2380521"/>
              <a:gd name="connsiteX2121" fmla="*/ 4954013 w 8023328"/>
              <a:gd name="connsiteY2121" fmla="*/ 865007 h 2380521"/>
              <a:gd name="connsiteX2122" fmla="*/ 4940157 w 8023328"/>
              <a:gd name="connsiteY2122" fmla="*/ 879593 h 2380521"/>
              <a:gd name="connsiteX2123" fmla="*/ 4927760 w 8023328"/>
              <a:gd name="connsiteY2123" fmla="*/ 865007 h 2380521"/>
              <a:gd name="connsiteX2124" fmla="*/ 4940157 w 8023328"/>
              <a:gd name="connsiteY2124" fmla="*/ 853339 h 2380521"/>
              <a:gd name="connsiteX2125" fmla="*/ 4865953 w 8023328"/>
              <a:gd name="connsiteY2125" fmla="*/ 853339 h 2380521"/>
              <a:gd name="connsiteX2126" fmla="*/ 4879809 w 8023328"/>
              <a:gd name="connsiteY2126" fmla="*/ 865007 h 2380521"/>
              <a:gd name="connsiteX2127" fmla="*/ 4865953 w 8023328"/>
              <a:gd name="connsiteY2127" fmla="*/ 879593 h 2380521"/>
              <a:gd name="connsiteX2128" fmla="*/ 4853556 w 8023328"/>
              <a:gd name="connsiteY2128" fmla="*/ 865007 h 2380521"/>
              <a:gd name="connsiteX2129" fmla="*/ 4865953 w 8023328"/>
              <a:gd name="connsiteY2129" fmla="*/ 853339 h 2380521"/>
              <a:gd name="connsiteX2130" fmla="*/ 4797514 w 8023328"/>
              <a:gd name="connsiteY2130" fmla="*/ 853339 h 2380521"/>
              <a:gd name="connsiteX2131" fmla="*/ 4812303 w 8023328"/>
              <a:gd name="connsiteY2131" fmla="*/ 865007 h 2380521"/>
              <a:gd name="connsiteX2132" fmla="*/ 4797514 w 8023328"/>
              <a:gd name="connsiteY2132" fmla="*/ 879593 h 2380521"/>
              <a:gd name="connsiteX2133" fmla="*/ 4782725 w 8023328"/>
              <a:gd name="connsiteY2133" fmla="*/ 865007 h 2380521"/>
              <a:gd name="connsiteX2134" fmla="*/ 4797514 w 8023328"/>
              <a:gd name="connsiteY2134" fmla="*/ 853339 h 2380521"/>
              <a:gd name="connsiteX2135" fmla="*/ 4726684 w 8023328"/>
              <a:gd name="connsiteY2135" fmla="*/ 853339 h 2380521"/>
              <a:gd name="connsiteX2136" fmla="*/ 4741472 w 8023328"/>
              <a:gd name="connsiteY2136" fmla="*/ 865007 h 2380521"/>
              <a:gd name="connsiteX2137" fmla="*/ 4726684 w 8023328"/>
              <a:gd name="connsiteY2137" fmla="*/ 879593 h 2380521"/>
              <a:gd name="connsiteX2138" fmla="*/ 4711896 w 8023328"/>
              <a:gd name="connsiteY2138" fmla="*/ 865007 h 2380521"/>
              <a:gd name="connsiteX2139" fmla="*/ 4726684 w 8023328"/>
              <a:gd name="connsiteY2139" fmla="*/ 853339 h 2380521"/>
              <a:gd name="connsiteX2140" fmla="*/ 4655853 w 8023328"/>
              <a:gd name="connsiteY2140" fmla="*/ 853339 h 2380521"/>
              <a:gd name="connsiteX2141" fmla="*/ 4670642 w 8023328"/>
              <a:gd name="connsiteY2141" fmla="*/ 865007 h 2380521"/>
              <a:gd name="connsiteX2142" fmla="*/ 4655853 w 8023328"/>
              <a:gd name="connsiteY2142" fmla="*/ 879593 h 2380521"/>
              <a:gd name="connsiteX2143" fmla="*/ 4641064 w 8023328"/>
              <a:gd name="connsiteY2143" fmla="*/ 865007 h 2380521"/>
              <a:gd name="connsiteX2144" fmla="*/ 4655853 w 8023328"/>
              <a:gd name="connsiteY2144" fmla="*/ 853339 h 2380521"/>
              <a:gd name="connsiteX2145" fmla="*/ 4584091 w 8023328"/>
              <a:gd name="connsiteY2145" fmla="*/ 853339 h 2380521"/>
              <a:gd name="connsiteX2146" fmla="*/ 4596488 w 8023328"/>
              <a:gd name="connsiteY2146" fmla="*/ 865007 h 2380521"/>
              <a:gd name="connsiteX2147" fmla="*/ 4584091 w 8023328"/>
              <a:gd name="connsiteY2147" fmla="*/ 879593 h 2380521"/>
              <a:gd name="connsiteX2148" fmla="*/ 4570235 w 8023328"/>
              <a:gd name="connsiteY2148" fmla="*/ 865007 h 2380521"/>
              <a:gd name="connsiteX2149" fmla="*/ 4584091 w 8023328"/>
              <a:gd name="connsiteY2149" fmla="*/ 853339 h 2380521"/>
              <a:gd name="connsiteX2150" fmla="*/ 4513260 w 8023328"/>
              <a:gd name="connsiteY2150" fmla="*/ 853339 h 2380521"/>
              <a:gd name="connsiteX2151" fmla="*/ 4525657 w 8023328"/>
              <a:gd name="connsiteY2151" fmla="*/ 865007 h 2380521"/>
              <a:gd name="connsiteX2152" fmla="*/ 4513260 w 8023328"/>
              <a:gd name="connsiteY2152" fmla="*/ 879593 h 2380521"/>
              <a:gd name="connsiteX2153" fmla="*/ 4499404 w 8023328"/>
              <a:gd name="connsiteY2153" fmla="*/ 865007 h 2380521"/>
              <a:gd name="connsiteX2154" fmla="*/ 4513260 w 8023328"/>
              <a:gd name="connsiteY2154" fmla="*/ 853339 h 2380521"/>
              <a:gd name="connsiteX2155" fmla="*/ 4439056 w 8023328"/>
              <a:gd name="connsiteY2155" fmla="*/ 853339 h 2380521"/>
              <a:gd name="connsiteX2156" fmla="*/ 4451453 w 8023328"/>
              <a:gd name="connsiteY2156" fmla="*/ 865007 h 2380521"/>
              <a:gd name="connsiteX2157" fmla="*/ 4439056 w 8023328"/>
              <a:gd name="connsiteY2157" fmla="*/ 879593 h 2380521"/>
              <a:gd name="connsiteX2158" fmla="*/ 4425200 w 8023328"/>
              <a:gd name="connsiteY2158" fmla="*/ 865007 h 2380521"/>
              <a:gd name="connsiteX2159" fmla="*/ 4439056 w 8023328"/>
              <a:gd name="connsiteY2159" fmla="*/ 853339 h 2380521"/>
              <a:gd name="connsiteX2160" fmla="*/ 4366768 w 8023328"/>
              <a:gd name="connsiteY2160" fmla="*/ 853339 h 2380521"/>
              <a:gd name="connsiteX2161" fmla="*/ 4380624 w 8023328"/>
              <a:gd name="connsiteY2161" fmla="*/ 865007 h 2380521"/>
              <a:gd name="connsiteX2162" fmla="*/ 4366768 w 8023328"/>
              <a:gd name="connsiteY2162" fmla="*/ 879593 h 2380521"/>
              <a:gd name="connsiteX2163" fmla="*/ 4354371 w 8023328"/>
              <a:gd name="connsiteY2163" fmla="*/ 867195 h 2380521"/>
              <a:gd name="connsiteX2164" fmla="*/ 4366768 w 8023328"/>
              <a:gd name="connsiteY2164" fmla="*/ 853339 h 2380521"/>
              <a:gd name="connsiteX2165" fmla="*/ 4295937 w 8023328"/>
              <a:gd name="connsiteY2165" fmla="*/ 853339 h 2380521"/>
              <a:gd name="connsiteX2166" fmla="*/ 4309793 w 8023328"/>
              <a:gd name="connsiteY2166" fmla="*/ 867195 h 2380521"/>
              <a:gd name="connsiteX2167" fmla="*/ 4295937 w 8023328"/>
              <a:gd name="connsiteY2167" fmla="*/ 879593 h 2380521"/>
              <a:gd name="connsiteX2168" fmla="*/ 4283540 w 8023328"/>
              <a:gd name="connsiteY2168" fmla="*/ 867195 h 2380521"/>
              <a:gd name="connsiteX2169" fmla="*/ 4295937 w 8023328"/>
              <a:gd name="connsiteY2169" fmla="*/ 853339 h 2380521"/>
              <a:gd name="connsiteX2170" fmla="*/ 4225107 w 8023328"/>
              <a:gd name="connsiteY2170" fmla="*/ 853339 h 2380521"/>
              <a:gd name="connsiteX2171" fmla="*/ 4238963 w 8023328"/>
              <a:gd name="connsiteY2171" fmla="*/ 867195 h 2380521"/>
              <a:gd name="connsiteX2172" fmla="*/ 4225107 w 8023328"/>
              <a:gd name="connsiteY2172" fmla="*/ 879593 h 2380521"/>
              <a:gd name="connsiteX2173" fmla="*/ 4212710 w 8023328"/>
              <a:gd name="connsiteY2173" fmla="*/ 867195 h 2380521"/>
              <a:gd name="connsiteX2174" fmla="*/ 4225107 w 8023328"/>
              <a:gd name="connsiteY2174" fmla="*/ 853339 h 2380521"/>
              <a:gd name="connsiteX2175" fmla="*/ 4153295 w 8023328"/>
              <a:gd name="connsiteY2175" fmla="*/ 853339 h 2380521"/>
              <a:gd name="connsiteX2176" fmla="*/ 4168083 w 8023328"/>
              <a:gd name="connsiteY2176" fmla="*/ 867195 h 2380521"/>
              <a:gd name="connsiteX2177" fmla="*/ 4153295 w 8023328"/>
              <a:gd name="connsiteY2177" fmla="*/ 879593 h 2380521"/>
              <a:gd name="connsiteX2178" fmla="*/ 4138507 w 8023328"/>
              <a:gd name="connsiteY2178" fmla="*/ 867195 h 2380521"/>
              <a:gd name="connsiteX2179" fmla="*/ 4153295 w 8023328"/>
              <a:gd name="connsiteY2179" fmla="*/ 853339 h 2380521"/>
              <a:gd name="connsiteX2180" fmla="*/ 4082465 w 8023328"/>
              <a:gd name="connsiteY2180" fmla="*/ 853339 h 2380521"/>
              <a:gd name="connsiteX2181" fmla="*/ 4097254 w 8023328"/>
              <a:gd name="connsiteY2181" fmla="*/ 867195 h 2380521"/>
              <a:gd name="connsiteX2182" fmla="*/ 4082465 w 8023328"/>
              <a:gd name="connsiteY2182" fmla="*/ 879593 h 2380521"/>
              <a:gd name="connsiteX2183" fmla="*/ 4067676 w 8023328"/>
              <a:gd name="connsiteY2183" fmla="*/ 867195 h 2380521"/>
              <a:gd name="connsiteX2184" fmla="*/ 4082465 w 8023328"/>
              <a:gd name="connsiteY2184" fmla="*/ 853339 h 2380521"/>
              <a:gd name="connsiteX2185" fmla="*/ 4011635 w 8023328"/>
              <a:gd name="connsiteY2185" fmla="*/ 853339 h 2380521"/>
              <a:gd name="connsiteX2186" fmla="*/ 4026423 w 8023328"/>
              <a:gd name="connsiteY2186" fmla="*/ 867195 h 2380521"/>
              <a:gd name="connsiteX2187" fmla="*/ 4011635 w 8023328"/>
              <a:gd name="connsiteY2187" fmla="*/ 879593 h 2380521"/>
              <a:gd name="connsiteX2188" fmla="*/ 3996847 w 8023328"/>
              <a:gd name="connsiteY2188" fmla="*/ 867195 h 2380521"/>
              <a:gd name="connsiteX2189" fmla="*/ 4011635 w 8023328"/>
              <a:gd name="connsiteY2189" fmla="*/ 853339 h 2380521"/>
              <a:gd name="connsiteX2190" fmla="*/ 3939871 w 8023328"/>
              <a:gd name="connsiteY2190" fmla="*/ 853339 h 2380521"/>
              <a:gd name="connsiteX2191" fmla="*/ 3952268 w 8023328"/>
              <a:gd name="connsiteY2191" fmla="*/ 867195 h 2380521"/>
              <a:gd name="connsiteX2192" fmla="*/ 3939871 w 8023328"/>
              <a:gd name="connsiteY2192" fmla="*/ 879593 h 2380521"/>
              <a:gd name="connsiteX2193" fmla="*/ 3926015 w 8023328"/>
              <a:gd name="connsiteY2193" fmla="*/ 867195 h 2380521"/>
              <a:gd name="connsiteX2194" fmla="*/ 3939871 w 8023328"/>
              <a:gd name="connsiteY2194" fmla="*/ 853339 h 2380521"/>
              <a:gd name="connsiteX2195" fmla="*/ 3869042 w 8023328"/>
              <a:gd name="connsiteY2195" fmla="*/ 853339 h 2380521"/>
              <a:gd name="connsiteX2196" fmla="*/ 3881439 w 8023328"/>
              <a:gd name="connsiteY2196" fmla="*/ 867195 h 2380521"/>
              <a:gd name="connsiteX2197" fmla="*/ 3869042 w 8023328"/>
              <a:gd name="connsiteY2197" fmla="*/ 879593 h 2380521"/>
              <a:gd name="connsiteX2198" fmla="*/ 3855186 w 8023328"/>
              <a:gd name="connsiteY2198" fmla="*/ 867195 h 2380521"/>
              <a:gd name="connsiteX2199" fmla="*/ 3869042 w 8023328"/>
              <a:gd name="connsiteY2199" fmla="*/ 853339 h 2380521"/>
              <a:gd name="connsiteX2200" fmla="*/ 3796752 w 8023328"/>
              <a:gd name="connsiteY2200" fmla="*/ 853339 h 2380521"/>
              <a:gd name="connsiteX2201" fmla="*/ 3810608 w 8023328"/>
              <a:gd name="connsiteY2201" fmla="*/ 867195 h 2380521"/>
              <a:gd name="connsiteX2202" fmla="*/ 3796752 w 8023328"/>
              <a:gd name="connsiteY2202" fmla="*/ 879593 h 2380521"/>
              <a:gd name="connsiteX2203" fmla="*/ 3784355 w 8023328"/>
              <a:gd name="connsiteY2203" fmla="*/ 867195 h 2380521"/>
              <a:gd name="connsiteX2204" fmla="*/ 3796752 w 8023328"/>
              <a:gd name="connsiteY2204" fmla="*/ 853339 h 2380521"/>
              <a:gd name="connsiteX2205" fmla="*/ 3725922 w 8023328"/>
              <a:gd name="connsiteY2205" fmla="*/ 853339 h 2380521"/>
              <a:gd name="connsiteX2206" fmla="*/ 3739778 w 8023328"/>
              <a:gd name="connsiteY2206" fmla="*/ 867195 h 2380521"/>
              <a:gd name="connsiteX2207" fmla="*/ 3725922 w 8023328"/>
              <a:gd name="connsiteY2207" fmla="*/ 879593 h 2380521"/>
              <a:gd name="connsiteX2208" fmla="*/ 3713525 w 8023328"/>
              <a:gd name="connsiteY2208" fmla="*/ 867195 h 2380521"/>
              <a:gd name="connsiteX2209" fmla="*/ 3725922 w 8023328"/>
              <a:gd name="connsiteY2209" fmla="*/ 853339 h 2380521"/>
              <a:gd name="connsiteX2210" fmla="*/ 3655091 w 8023328"/>
              <a:gd name="connsiteY2210" fmla="*/ 853339 h 2380521"/>
              <a:gd name="connsiteX2211" fmla="*/ 3668947 w 8023328"/>
              <a:gd name="connsiteY2211" fmla="*/ 867195 h 2380521"/>
              <a:gd name="connsiteX2212" fmla="*/ 3655091 w 8023328"/>
              <a:gd name="connsiteY2212" fmla="*/ 879593 h 2380521"/>
              <a:gd name="connsiteX2213" fmla="*/ 3642694 w 8023328"/>
              <a:gd name="connsiteY2213" fmla="*/ 867195 h 2380521"/>
              <a:gd name="connsiteX2214" fmla="*/ 3655091 w 8023328"/>
              <a:gd name="connsiteY2214" fmla="*/ 853339 h 2380521"/>
              <a:gd name="connsiteX2215" fmla="*/ 3583280 w 8023328"/>
              <a:gd name="connsiteY2215" fmla="*/ 853339 h 2380521"/>
              <a:gd name="connsiteX2216" fmla="*/ 3598069 w 8023328"/>
              <a:gd name="connsiteY2216" fmla="*/ 867195 h 2380521"/>
              <a:gd name="connsiteX2217" fmla="*/ 3583280 w 8023328"/>
              <a:gd name="connsiteY2217" fmla="*/ 879593 h 2380521"/>
              <a:gd name="connsiteX2218" fmla="*/ 3568491 w 8023328"/>
              <a:gd name="connsiteY2218" fmla="*/ 867195 h 2380521"/>
              <a:gd name="connsiteX2219" fmla="*/ 3583280 w 8023328"/>
              <a:gd name="connsiteY2219" fmla="*/ 853339 h 2380521"/>
              <a:gd name="connsiteX2220" fmla="*/ 3512449 w 8023328"/>
              <a:gd name="connsiteY2220" fmla="*/ 853339 h 2380521"/>
              <a:gd name="connsiteX2221" fmla="*/ 3527237 w 8023328"/>
              <a:gd name="connsiteY2221" fmla="*/ 867195 h 2380521"/>
              <a:gd name="connsiteX2222" fmla="*/ 3512449 w 8023328"/>
              <a:gd name="connsiteY2222" fmla="*/ 879593 h 2380521"/>
              <a:gd name="connsiteX2223" fmla="*/ 3497661 w 8023328"/>
              <a:gd name="connsiteY2223" fmla="*/ 867195 h 2380521"/>
              <a:gd name="connsiteX2224" fmla="*/ 3512449 w 8023328"/>
              <a:gd name="connsiteY2224" fmla="*/ 853339 h 2380521"/>
              <a:gd name="connsiteX2225" fmla="*/ 3441619 w 8023328"/>
              <a:gd name="connsiteY2225" fmla="*/ 853339 h 2380521"/>
              <a:gd name="connsiteX2226" fmla="*/ 3456408 w 8023328"/>
              <a:gd name="connsiteY2226" fmla="*/ 867195 h 2380521"/>
              <a:gd name="connsiteX2227" fmla="*/ 3441619 w 8023328"/>
              <a:gd name="connsiteY2227" fmla="*/ 879593 h 2380521"/>
              <a:gd name="connsiteX2228" fmla="*/ 3426830 w 8023328"/>
              <a:gd name="connsiteY2228" fmla="*/ 867195 h 2380521"/>
              <a:gd name="connsiteX2229" fmla="*/ 3441619 w 8023328"/>
              <a:gd name="connsiteY2229" fmla="*/ 853339 h 2380521"/>
              <a:gd name="connsiteX2230" fmla="*/ 3369857 w 8023328"/>
              <a:gd name="connsiteY2230" fmla="*/ 853339 h 2380521"/>
              <a:gd name="connsiteX2231" fmla="*/ 3382254 w 8023328"/>
              <a:gd name="connsiteY2231" fmla="*/ 867195 h 2380521"/>
              <a:gd name="connsiteX2232" fmla="*/ 3369857 w 8023328"/>
              <a:gd name="connsiteY2232" fmla="*/ 879593 h 2380521"/>
              <a:gd name="connsiteX2233" fmla="*/ 3356001 w 8023328"/>
              <a:gd name="connsiteY2233" fmla="*/ 867195 h 2380521"/>
              <a:gd name="connsiteX2234" fmla="*/ 3369857 w 8023328"/>
              <a:gd name="connsiteY2234" fmla="*/ 853339 h 2380521"/>
              <a:gd name="connsiteX2235" fmla="*/ 1013589 w 8023328"/>
              <a:gd name="connsiteY2235" fmla="*/ 853339 h 2380521"/>
              <a:gd name="connsiteX2236" fmla="*/ 1028011 w 8023328"/>
              <a:gd name="connsiteY2236" fmla="*/ 868127 h 2380521"/>
              <a:gd name="connsiteX2237" fmla="*/ 1013589 w 8023328"/>
              <a:gd name="connsiteY2237" fmla="*/ 882916 h 2380521"/>
              <a:gd name="connsiteX2238" fmla="*/ 998413 w 8023328"/>
              <a:gd name="connsiteY2238" fmla="*/ 868127 h 2380521"/>
              <a:gd name="connsiteX2239" fmla="*/ 1013589 w 8023328"/>
              <a:gd name="connsiteY2239" fmla="*/ 853339 h 2380521"/>
              <a:gd name="connsiteX2240" fmla="*/ 368059 w 8023328"/>
              <a:gd name="connsiteY2240" fmla="*/ 785881 h 2380521"/>
              <a:gd name="connsiteX2241" fmla="*/ 380456 w 8023328"/>
              <a:gd name="connsiteY2241" fmla="*/ 797549 h 2380521"/>
              <a:gd name="connsiteX2242" fmla="*/ 368059 w 8023328"/>
              <a:gd name="connsiteY2242" fmla="*/ 812135 h 2380521"/>
              <a:gd name="connsiteX2243" fmla="*/ 354203 w 8023328"/>
              <a:gd name="connsiteY2243" fmla="*/ 797549 h 2380521"/>
              <a:gd name="connsiteX2244" fmla="*/ 368059 w 8023328"/>
              <a:gd name="connsiteY2244" fmla="*/ 785881 h 2380521"/>
              <a:gd name="connsiteX2245" fmla="*/ 297226 w 8023328"/>
              <a:gd name="connsiteY2245" fmla="*/ 785881 h 2380521"/>
              <a:gd name="connsiteX2246" fmla="*/ 309624 w 8023328"/>
              <a:gd name="connsiteY2246" fmla="*/ 797549 h 2380521"/>
              <a:gd name="connsiteX2247" fmla="*/ 297226 w 8023328"/>
              <a:gd name="connsiteY2247" fmla="*/ 812135 h 2380521"/>
              <a:gd name="connsiteX2248" fmla="*/ 283371 w 8023328"/>
              <a:gd name="connsiteY2248" fmla="*/ 797549 h 2380521"/>
              <a:gd name="connsiteX2249" fmla="*/ 297226 w 8023328"/>
              <a:gd name="connsiteY2249" fmla="*/ 785881 h 2380521"/>
              <a:gd name="connsiteX2250" fmla="*/ 226398 w 8023328"/>
              <a:gd name="connsiteY2250" fmla="*/ 785881 h 2380521"/>
              <a:gd name="connsiteX2251" fmla="*/ 238797 w 8023328"/>
              <a:gd name="connsiteY2251" fmla="*/ 797549 h 2380521"/>
              <a:gd name="connsiteX2252" fmla="*/ 226398 w 8023328"/>
              <a:gd name="connsiteY2252" fmla="*/ 812135 h 2380521"/>
              <a:gd name="connsiteX2253" fmla="*/ 212542 w 8023328"/>
              <a:gd name="connsiteY2253" fmla="*/ 797549 h 2380521"/>
              <a:gd name="connsiteX2254" fmla="*/ 226398 w 8023328"/>
              <a:gd name="connsiteY2254" fmla="*/ 785881 h 2380521"/>
              <a:gd name="connsiteX2255" fmla="*/ 154101 w 8023328"/>
              <a:gd name="connsiteY2255" fmla="*/ 785881 h 2380521"/>
              <a:gd name="connsiteX2256" fmla="*/ 167957 w 8023328"/>
              <a:gd name="connsiteY2256" fmla="*/ 797549 h 2380521"/>
              <a:gd name="connsiteX2257" fmla="*/ 154101 w 8023328"/>
              <a:gd name="connsiteY2257" fmla="*/ 812135 h 2380521"/>
              <a:gd name="connsiteX2258" fmla="*/ 141704 w 8023328"/>
              <a:gd name="connsiteY2258" fmla="*/ 797549 h 2380521"/>
              <a:gd name="connsiteX2259" fmla="*/ 154101 w 8023328"/>
              <a:gd name="connsiteY2259" fmla="*/ 785881 h 2380521"/>
              <a:gd name="connsiteX2260" fmla="*/ 83272 w 8023328"/>
              <a:gd name="connsiteY2260" fmla="*/ 785881 h 2380521"/>
              <a:gd name="connsiteX2261" fmla="*/ 97128 w 8023328"/>
              <a:gd name="connsiteY2261" fmla="*/ 797549 h 2380521"/>
              <a:gd name="connsiteX2262" fmla="*/ 83272 w 8023328"/>
              <a:gd name="connsiteY2262" fmla="*/ 812135 h 2380521"/>
              <a:gd name="connsiteX2263" fmla="*/ 70874 w 8023328"/>
              <a:gd name="connsiteY2263" fmla="*/ 797549 h 2380521"/>
              <a:gd name="connsiteX2264" fmla="*/ 83272 w 8023328"/>
              <a:gd name="connsiteY2264" fmla="*/ 785881 h 2380521"/>
              <a:gd name="connsiteX2265" fmla="*/ 12036 w 8023328"/>
              <a:gd name="connsiteY2265" fmla="*/ 785881 h 2380521"/>
              <a:gd name="connsiteX2266" fmla="*/ 26277 w 8023328"/>
              <a:gd name="connsiteY2266" fmla="*/ 797549 h 2380521"/>
              <a:gd name="connsiteX2267" fmla="*/ 12036 w 8023328"/>
              <a:gd name="connsiteY2267" fmla="*/ 812135 h 2380521"/>
              <a:gd name="connsiteX2268" fmla="*/ 44 w 8023328"/>
              <a:gd name="connsiteY2268" fmla="*/ 797549 h 2380521"/>
              <a:gd name="connsiteX2269" fmla="*/ 12036 w 8023328"/>
              <a:gd name="connsiteY2269" fmla="*/ 785881 h 2380521"/>
              <a:gd name="connsiteX2270" fmla="*/ 4726684 w 8023328"/>
              <a:gd name="connsiteY2270" fmla="*/ 782507 h 2380521"/>
              <a:gd name="connsiteX2271" fmla="*/ 4741472 w 8023328"/>
              <a:gd name="connsiteY2271" fmla="*/ 794904 h 2380521"/>
              <a:gd name="connsiteX2272" fmla="*/ 4726684 w 8023328"/>
              <a:gd name="connsiteY2272" fmla="*/ 808761 h 2380521"/>
              <a:gd name="connsiteX2273" fmla="*/ 4711896 w 8023328"/>
              <a:gd name="connsiteY2273" fmla="*/ 794904 h 2380521"/>
              <a:gd name="connsiteX2274" fmla="*/ 4726684 w 8023328"/>
              <a:gd name="connsiteY2274" fmla="*/ 782507 h 2380521"/>
              <a:gd name="connsiteX2275" fmla="*/ 4655853 w 8023328"/>
              <a:gd name="connsiteY2275" fmla="*/ 782507 h 2380521"/>
              <a:gd name="connsiteX2276" fmla="*/ 4670642 w 8023328"/>
              <a:gd name="connsiteY2276" fmla="*/ 794904 h 2380521"/>
              <a:gd name="connsiteX2277" fmla="*/ 4655853 w 8023328"/>
              <a:gd name="connsiteY2277" fmla="*/ 808761 h 2380521"/>
              <a:gd name="connsiteX2278" fmla="*/ 4641064 w 8023328"/>
              <a:gd name="connsiteY2278" fmla="*/ 794904 h 2380521"/>
              <a:gd name="connsiteX2279" fmla="*/ 4655853 w 8023328"/>
              <a:gd name="connsiteY2279" fmla="*/ 782507 h 2380521"/>
              <a:gd name="connsiteX2280" fmla="*/ 4584091 w 8023328"/>
              <a:gd name="connsiteY2280" fmla="*/ 782507 h 2380521"/>
              <a:gd name="connsiteX2281" fmla="*/ 4596488 w 8023328"/>
              <a:gd name="connsiteY2281" fmla="*/ 794904 h 2380521"/>
              <a:gd name="connsiteX2282" fmla="*/ 4584091 w 8023328"/>
              <a:gd name="connsiteY2282" fmla="*/ 808761 h 2380521"/>
              <a:gd name="connsiteX2283" fmla="*/ 4570235 w 8023328"/>
              <a:gd name="connsiteY2283" fmla="*/ 794904 h 2380521"/>
              <a:gd name="connsiteX2284" fmla="*/ 4584091 w 8023328"/>
              <a:gd name="connsiteY2284" fmla="*/ 782507 h 2380521"/>
              <a:gd name="connsiteX2285" fmla="*/ 4513260 w 8023328"/>
              <a:gd name="connsiteY2285" fmla="*/ 782507 h 2380521"/>
              <a:gd name="connsiteX2286" fmla="*/ 4525657 w 8023328"/>
              <a:gd name="connsiteY2286" fmla="*/ 794904 h 2380521"/>
              <a:gd name="connsiteX2287" fmla="*/ 4513260 w 8023328"/>
              <a:gd name="connsiteY2287" fmla="*/ 808761 h 2380521"/>
              <a:gd name="connsiteX2288" fmla="*/ 4499404 w 8023328"/>
              <a:gd name="connsiteY2288" fmla="*/ 794904 h 2380521"/>
              <a:gd name="connsiteX2289" fmla="*/ 4513260 w 8023328"/>
              <a:gd name="connsiteY2289" fmla="*/ 782507 h 2380521"/>
              <a:gd name="connsiteX2290" fmla="*/ 4439056 w 8023328"/>
              <a:gd name="connsiteY2290" fmla="*/ 782507 h 2380521"/>
              <a:gd name="connsiteX2291" fmla="*/ 4451453 w 8023328"/>
              <a:gd name="connsiteY2291" fmla="*/ 794904 h 2380521"/>
              <a:gd name="connsiteX2292" fmla="*/ 4439056 w 8023328"/>
              <a:gd name="connsiteY2292" fmla="*/ 808761 h 2380521"/>
              <a:gd name="connsiteX2293" fmla="*/ 4425200 w 8023328"/>
              <a:gd name="connsiteY2293" fmla="*/ 794904 h 2380521"/>
              <a:gd name="connsiteX2294" fmla="*/ 4439056 w 8023328"/>
              <a:gd name="connsiteY2294" fmla="*/ 782507 h 2380521"/>
              <a:gd name="connsiteX2295" fmla="*/ 4366768 w 8023328"/>
              <a:gd name="connsiteY2295" fmla="*/ 782507 h 2380521"/>
              <a:gd name="connsiteX2296" fmla="*/ 4380624 w 8023328"/>
              <a:gd name="connsiteY2296" fmla="*/ 794904 h 2380521"/>
              <a:gd name="connsiteX2297" fmla="*/ 4366768 w 8023328"/>
              <a:gd name="connsiteY2297" fmla="*/ 808761 h 2380521"/>
              <a:gd name="connsiteX2298" fmla="*/ 4354371 w 8023328"/>
              <a:gd name="connsiteY2298" fmla="*/ 794904 h 2380521"/>
              <a:gd name="connsiteX2299" fmla="*/ 4366768 w 8023328"/>
              <a:gd name="connsiteY2299" fmla="*/ 782507 h 2380521"/>
              <a:gd name="connsiteX2300" fmla="*/ 4295937 w 8023328"/>
              <a:gd name="connsiteY2300" fmla="*/ 782507 h 2380521"/>
              <a:gd name="connsiteX2301" fmla="*/ 4309793 w 8023328"/>
              <a:gd name="connsiteY2301" fmla="*/ 794904 h 2380521"/>
              <a:gd name="connsiteX2302" fmla="*/ 4295937 w 8023328"/>
              <a:gd name="connsiteY2302" fmla="*/ 808761 h 2380521"/>
              <a:gd name="connsiteX2303" fmla="*/ 4283540 w 8023328"/>
              <a:gd name="connsiteY2303" fmla="*/ 794904 h 2380521"/>
              <a:gd name="connsiteX2304" fmla="*/ 4295937 w 8023328"/>
              <a:gd name="connsiteY2304" fmla="*/ 782507 h 2380521"/>
              <a:gd name="connsiteX2305" fmla="*/ 4225107 w 8023328"/>
              <a:gd name="connsiteY2305" fmla="*/ 782507 h 2380521"/>
              <a:gd name="connsiteX2306" fmla="*/ 4238963 w 8023328"/>
              <a:gd name="connsiteY2306" fmla="*/ 794904 h 2380521"/>
              <a:gd name="connsiteX2307" fmla="*/ 4225107 w 8023328"/>
              <a:gd name="connsiteY2307" fmla="*/ 808761 h 2380521"/>
              <a:gd name="connsiteX2308" fmla="*/ 4212710 w 8023328"/>
              <a:gd name="connsiteY2308" fmla="*/ 794904 h 2380521"/>
              <a:gd name="connsiteX2309" fmla="*/ 4225107 w 8023328"/>
              <a:gd name="connsiteY2309" fmla="*/ 782507 h 2380521"/>
              <a:gd name="connsiteX2310" fmla="*/ 4153295 w 8023328"/>
              <a:gd name="connsiteY2310" fmla="*/ 782507 h 2380521"/>
              <a:gd name="connsiteX2311" fmla="*/ 4168083 w 8023328"/>
              <a:gd name="connsiteY2311" fmla="*/ 794904 h 2380521"/>
              <a:gd name="connsiteX2312" fmla="*/ 4153295 w 8023328"/>
              <a:gd name="connsiteY2312" fmla="*/ 808761 h 2380521"/>
              <a:gd name="connsiteX2313" fmla="*/ 4138507 w 8023328"/>
              <a:gd name="connsiteY2313" fmla="*/ 794904 h 2380521"/>
              <a:gd name="connsiteX2314" fmla="*/ 4153295 w 8023328"/>
              <a:gd name="connsiteY2314" fmla="*/ 782507 h 2380521"/>
              <a:gd name="connsiteX2315" fmla="*/ 4082465 w 8023328"/>
              <a:gd name="connsiteY2315" fmla="*/ 782507 h 2380521"/>
              <a:gd name="connsiteX2316" fmla="*/ 4097254 w 8023328"/>
              <a:gd name="connsiteY2316" fmla="*/ 794904 h 2380521"/>
              <a:gd name="connsiteX2317" fmla="*/ 4082465 w 8023328"/>
              <a:gd name="connsiteY2317" fmla="*/ 808761 h 2380521"/>
              <a:gd name="connsiteX2318" fmla="*/ 4067676 w 8023328"/>
              <a:gd name="connsiteY2318" fmla="*/ 794904 h 2380521"/>
              <a:gd name="connsiteX2319" fmla="*/ 4082465 w 8023328"/>
              <a:gd name="connsiteY2319" fmla="*/ 782507 h 2380521"/>
              <a:gd name="connsiteX2320" fmla="*/ 4010703 w 8023328"/>
              <a:gd name="connsiteY2320" fmla="*/ 782507 h 2380521"/>
              <a:gd name="connsiteX2321" fmla="*/ 4023100 w 8023328"/>
              <a:gd name="connsiteY2321" fmla="*/ 794904 h 2380521"/>
              <a:gd name="connsiteX2322" fmla="*/ 4010703 w 8023328"/>
              <a:gd name="connsiteY2322" fmla="*/ 808761 h 2380521"/>
              <a:gd name="connsiteX2323" fmla="*/ 3996847 w 8023328"/>
              <a:gd name="connsiteY2323" fmla="*/ 794904 h 2380521"/>
              <a:gd name="connsiteX2324" fmla="*/ 4010703 w 8023328"/>
              <a:gd name="connsiteY2324" fmla="*/ 782507 h 2380521"/>
              <a:gd name="connsiteX2325" fmla="*/ 3939871 w 8023328"/>
              <a:gd name="connsiteY2325" fmla="*/ 782507 h 2380521"/>
              <a:gd name="connsiteX2326" fmla="*/ 3952268 w 8023328"/>
              <a:gd name="connsiteY2326" fmla="*/ 794904 h 2380521"/>
              <a:gd name="connsiteX2327" fmla="*/ 3939871 w 8023328"/>
              <a:gd name="connsiteY2327" fmla="*/ 808761 h 2380521"/>
              <a:gd name="connsiteX2328" fmla="*/ 3926015 w 8023328"/>
              <a:gd name="connsiteY2328" fmla="*/ 794904 h 2380521"/>
              <a:gd name="connsiteX2329" fmla="*/ 3939871 w 8023328"/>
              <a:gd name="connsiteY2329" fmla="*/ 782507 h 2380521"/>
              <a:gd name="connsiteX2330" fmla="*/ 3869042 w 8023328"/>
              <a:gd name="connsiteY2330" fmla="*/ 782507 h 2380521"/>
              <a:gd name="connsiteX2331" fmla="*/ 3881439 w 8023328"/>
              <a:gd name="connsiteY2331" fmla="*/ 794904 h 2380521"/>
              <a:gd name="connsiteX2332" fmla="*/ 3869042 w 8023328"/>
              <a:gd name="connsiteY2332" fmla="*/ 808761 h 2380521"/>
              <a:gd name="connsiteX2333" fmla="*/ 3855186 w 8023328"/>
              <a:gd name="connsiteY2333" fmla="*/ 794904 h 2380521"/>
              <a:gd name="connsiteX2334" fmla="*/ 3869042 w 8023328"/>
              <a:gd name="connsiteY2334" fmla="*/ 782507 h 2380521"/>
              <a:gd name="connsiteX2335" fmla="*/ 3796752 w 8023328"/>
              <a:gd name="connsiteY2335" fmla="*/ 782507 h 2380521"/>
              <a:gd name="connsiteX2336" fmla="*/ 3810608 w 8023328"/>
              <a:gd name="connsiteY2336" fmla="*/ 796363 h 2380521"/>
              <a:gd name="connsiteX2337" fmla="*/ 3796752 w 8023328"/>
              <a:gd name="connsiteY2337" fmla="*/ 808761 h 2380521"/>
              <a:gd name="connsiteX2338" fmla="*/ 3784355 w 8023328"/>
              <a:gd name="connsiteY2338" fmla="*/ 796363 h 2380521"/>
              <a:gd name="connsiteX2339" fmla="*/ 3796752 w 8023328"/>
              <a:gd name="connsiteY2339" fmla="*/ 782507 h 2380521"/>
              <a:gd name="connsiteX2340" fmla="*/ 3725922 w 8023328"/>
              <a:gd name="connsiteY2340" fmla="*/ 782507 h 2380521"/>
              <a:gd name="connsiteX2341" fmla="*/ 3739778 w 8023328"/>
              <a:gd name="connsiteY2341" fmla="*/ 796363 h 2380521"/>
              <a:gd name="connsiteX2342" fmla="*/ 3725922 w 8023328"/>
              <a:gd name="connsiteY2342" fmla="*/ 808761 h 2380521"/>
              <a:gd name="connsiteX2343" fmla="*/ 3713525 w 8023328"/>
              <a:gd name="connsiteY2343" fmla="*/ 796363 h 2380521"/>
              <a:gd name="connsiteX2344" fmla="*/ 3725922 w 8023328"/>
              <a:gd name="connsiteY2344" fmla="*/ 782507 h 2380521"/>
              <a:gd name="connsiteX2345" fmla="*/ 3655091 w 8023328"/>
              <a:gd name="connsiteY2345" fmla="*/ 782507 h 2380521"/>
              <a:gd name="connsiteX2346" fmla="*/ 3668947 w 8023328"/>
              <a:gd name="connsiteY2346" fmla="*/ 796363 h 2380521"/>
              <a:gd name="connsiteX2347" fmla="*/ 3655091 w 8023328"/>
              <a:gd name="connsiteY2347" fmla="*/ 808761 h 2380521"/>
              <a:gd name="connsiteX2348" fmla="*/ 3642694 w 8023328"/>
              <a:gd name="connsiteY2348" fmla="*/ 796363 h 2380521"/>
              <a:gd name="connsiteX2349" fmla="*/ 3655091 w 8023328"/>
              <a:gd name="connsiteY2349" fmla="*/ 782507 h 2380521"/>
              <a:gd name="connsiteX2350" fmla="*/ 3583280 w 8023328"/>
              <a:gd name="connsiteY2350" fmla="*/ 782507 h 2380521"/>
              <a:gd name="connsiteX2351" fmla="*/ 3598069 w 8023328"/>
              <a:gd name="connsiteY2351" fmla="*/ 796363 h 2380521"/>
              <a:gd name="connsiteX2352" fmla="*/ 3583280 w 8023328"/>
              <a:gd name="connsiteY2352" fmla="*/ 808761 h 2380521"/>
              <a:gd name="connsiteX2353" fmla="*/ 3568491 w 8023328"/>
              <a:gd name="connsiteY2353" fmla="*/ 796363 h 2380521"/>
              <a:gd name="connsiteX2354" fmla="*/ 3583280 w 8023328"/>
              <a:gd name="connsiteY2354" fmla="*/ 782507 h 2380521"/>
              <a:gd name="connsiteX2355" fmla="*/ 3512449 w 8023328"/>
              <a:gd name="connsiteY2355" fmla="*/ 782507 h 2380521"/>
              <a:gd name="connsiteX2356" fmla="*/ 3527237 w 8023328"/>
              <a:gd name="connsiteY2356" fmla="*/ 796363 h 2380521"/>
              <a:gd name="connsiteX2357" fmla="*/ 3512449 w 8023328"/>
              <a:gd name="connsiteY2357" fmla="*/ 808761 h 2380521"/>
              <a:gd name="connsiteX2358" fmla="*/ 3497661 w 8023328"/>
              <a:gd name="connsiteY2358" fmla="*/ 796363 h 2380521"/>
              <a:gd name="connsiteX2359" fmla="*/ 3512449 w 8023328"/>
              <a:gd name="connsiteY2359" fmla="*/ 782507 h 2380521"/>
              <a:gd name="connsiteX2360" fmla="*/ 3441619 w 8023328"/>
              <a:gd name="connsiteY2360" fmla="*/ 782507 h 2380521"/>
              <a:gd name="connsiteX2361" fmla="*/ 3456408 w 8023328"/>
              <a:gd name="connsiteY2361" fmla="*/ 796363 h 2380521"/>
              <a:gd name="connsiteX2362" fmla="*/ 3441619 w 8023328"/>
              <a:gd name="connsiteY2362" fmla="*/ 808761 h 2380521"/>
              <a:gd name="connsiteX2363" fmla="*/ 3426830 w 8023328"/>
              <a:gd name="connsiteY2363" fmla="*/ 796363 h 2380521"/>
              <a:gd name="connsiteX2364" fmla="*/ 3441619 w 8023328"/>
              <a:gd name="connsiteY2364" fmla="*/ 782507 h 2380521"/>
              <a:gd name="connsiteX2365" fmla="*/ 3369857 w 8023328"/>
              <a:gd name="connsiteY2365" fmla="*/ 782507 h 2380521"/>
              <a:gd name="connsiteX2366" fmla="*/ 3382254 w 8023328"/>
              <a:gd name="connsiteY2366" fmla="*/ 796363 h 2380521"/>
              <a:gd name="connsiteX2367" fmla="*/ 3369857 w 8023328"/>
              <a:gd name="connsiteY2367" fmla="*/ 808761 h 2380521"/>
              <a:gd name="connsiteX2368" fmla="*/ 3356001 w 8023328"/>
              <a:gd name="connsiteY2368" fmla="*/ 796363 h 2380521"/>
              <a:gd name="connsiteX2369" fmla="*/ 3369857 w 8023328"/>
              <a:gd name="connsiteY2369" fmla="*/ 782507 h 2380521"/>
              <a:gd name="connsiteX2370" fmla="*/ 3299083 w 8023328"/>
              <a:gd name="connsiteY2370" fmla="*/ 782507 h 2380521"/>
              <a:gd name="connsiteX2371" fmla="*/ 3311480 w 8023328"/>
              <a:gd name="connsiteY2371" fmla="*/ 796363 h 2380521"/>
              <a:gd name="connsiteX2372" fmla="*/ 3299083 w 8023328"/>
              <a:gd name="connsiteY2372" fmla="*/ 808761 h 2380521"/>
              <a:gd name="connsiteX2373" fmla="*/ 3285229 w 8023328"/>
              <a:gd name="connsiteY2373" fmla="*/ 796363 h 2380521"/>
              <a:gd name="connsiteX2374" fmla="*/ 3299083 w 8023328"/>
              <a:gd name="connsiteY2374" fmla="*/ 782507 h 2380521"/>
              <a:gd name="connsiteX2375" fmla="*/ 3228250 w 8023328"/>
              <a:gd name="connsiteY2375" fmla="*/ 782507 h 2380521"/>
              <a:gd name="connsiteX2376" fmla="*/ 3240649 w 8023328"/>
              <a:gd name="connsiteY2376" fmla="*/ 796363 h 2380521"/>
              <a:gd name="connsiteX2377" fmla="*/ 3228250 w 8023328"/>
              <a:gd name="connsiteY2377" fmla="*/ 808761 h 2380521"/>
              <a:gd name="connsiteX2378" fmla="*/ 3214395 w 8023328"/>
              <a:gd name="connsiteY2378" fmla="*/ 796363 h 2380521"/>
              <a:gd name="connsiteX2379" fmla="*/ 3228250 w 8023328"/>
              <a:gd name="connsiteY2379" fmla="*/ 782507 h 2380521"/>
              <a:gd name="connsiteX2380" fmla="*/ 3152591 w 8023328"/>
              <a:gd name="connsiteY2380" fmla="*/ 782507 h 2380521"/>
              <a:gd name="connsiteX2381" fmla="*/ 3166447 w 8023328"/>
              <a:gd name="connsiteY2381" fmla="*/ 796363 h 2380521"/>
              <a:gd name="connsiteX2382" fmla="*/ 3152591 w 8023328"/>
              <a:gd name="connsiteY2382" fmla="*/ 808761 h 2380521"/>
              <a:gd name="connsiteX2383" fmla="*/ 3140193 w 8023328"/>
              <a:gd name="connsiteY2383" fmla="*/ 796363 h 2380521"/>
              <a:gd name="connsiteX2384" fmla="*/ 3152591 w 8023328"/>
              <a:gd name="connsiteY2384" fmla="*/ 782507 h 2380521"/>
              <a:gd name="connsiteX2385" fmla="*/ 1226672 w 8023328"/>
              <a:gd name="connsiteY2385" fmla="*/ 782507 h 2380521"/>
              <a:gd name="connsiteX2386" fmla="*/ 1240529 w 8023328"/>
              <a:gd name="connsiteY2386" fmla="*/ 796926 h 2380521"/>
              <a:gd name="connsiteX2387" fmla="*/ 1226672 w 8023328"/>
              <a:gd name="connsiteY2387" fmla="*/ 812105 h 2380521"/>
              <a:gd name="connsiteX2388" fmla="*/ 1214283 w 8023328"/>
              <a:gd name="connsiteY2388" fmla="*/ 796926 h 2380521"/>
              <a:gd name="connsiteX2389" fmla="*/ 1226672 w 8023328"/>
              <a:gd name="connsiteY2389" fmla="*/ 782507 h 2380521"/>
              <a:gd name="connsiteX2390" fmla="*/ 1154869 w 8023328"/>
              <a:gd name="connsiteY2390" fmla="*/ 782507 h 2380521"/>
              <a:gd name="connsiteX2391" fmla="*/ 1169658 w 8023328"/>
              <a:gd name="connsiteY2391" fmla="*/ 796926 h 2380521"/>
              <a:gd name="connsiteX2392" fmla="*/ 1154869 w 8023328"/>
              <a:gd name="connsiteY2392" fmla="*/ 812105 h 2380521"/>
              <a:gd name="connsiteX2393" fmla="*/ 1140080 w 8023328"/>
              <a:gd name="connsiteY2393" fmla="*/ 796926 h 2380521"/>
              <a:gd name="connsiteX2394" fmla="*/ 1154869 w 8023328"/>
              <a:gd name="connsiteY2394" fmla="*/ 782507 h 2380521"/>
              <a:gd name="connsiteX2395" fmla="*/ 1084040 w 8023328"/>
              <a:gd name="connsiteY2395" fmla="*/ 782507 h 2380521"/>
              <a:gd name="connsiteX2396" fmla="*/ 1098826 w 8023328"/>
              <a:gd name="connsiteY2396" fmla="*/ 796926 h 2380521"/>
              <a:gd name="connsiteX2397" fmla="*/ 1084040 w 8023328"/>
              <a:gd name="connsiteY2397" fmla="*/ 812105 h 2380521"/>
              <a:gd name="connsiteX2398" fmla="*/ 1069250 w 8023328"/>
              <a:gd name="connsiteY2398" fmla="*/ 796926 h 2380521"/>
              <a:gd name="connsiteX2399" fmla="*/ 1084040 w 8023328"/>
              <a:gd name="connsiteY2399" fmla="*/ 782507 h 2380521"/>
              <a:gd name="connsiteX2400" fmla="*/ 1013594 w 8023328"/>
              <a:gd name="connsiteY2400" fmla="*/ 782507 h 2380521"/>
              <a:gd name="connsiteX2401" fmla="*/ 1028015 w 8023328"/>
              <a:gd name="connsiteY2401" fmla="*/ 796926 h 2380521"/>
              <a:gd name="connsiteX2402" fmla="*/ 1013594 w 8023328"/>
              <a:gd name="connsiteY2402" fmla="*/ 812105 h 2380521"/>
              <a:gd name="connsiteX2403" fmla="*/ 998417 w 8023328"/>
              <a:gd name="connsiteY2403" fmla="*/ 796926 h 2380521"/>
              <a:gd name="connsiteX2404" fmla="*/ 1013594 w 8023328"/>
              <a:gd name="connsiteY2404" fmla="*/ 782507 h 2380521"/>
              <a:gd name="connsiteX2405" fmla="*/ 941447 w 8023328"/>
              <a:gd name="connsiteY2405" fmla="*/ 782507 h 2380521"/>
              <a:gd name="connsiteX2406" fmla="*/ 953844 w 8023328"/>
              <a:gd name="connsiteY2406" fmla="*/ 796926 h 2380521"/>
              <a:gd name="connsiteX2407" fmla="*/ 941447 w 8023328"/>
              <a:gd name="connsiteY2407" fmla="*/ 812105 h 2380521"/>
              <a:gd name="connsiteX2408" fmla="*/ 927591 w 8023328"/>
              <a:gd name="connsiteY2408" fmla="*/ 796926 h 2380521"/>
              <a:gd name="connsiteX2409" fmla="*/ 941447 w 8023328"/>
              <a:gd name="connsiteY2409" fmla="*/ 782507 h 2380521"/>
              <a:gd name="connsiteX2410" fmla="*/ 870615 w 8023328"/>
              <a:gd name="connsiteY2410" fmla="*/ 782507 h 2380521"/>
              <a:gd name="connsiteX2411" fmla="*/ 883013 w 8023328"/>
              <a:gd name="connsiteY2411" fmla="*/ 796926 h 2380521"/>
              <a:gd name="connsiteX2412" fmla="*/ 870615 w 8023328"/>
              <a:gd name="connsiteY2412" fmla="*/ 812105 h 2380521"/>
              <a:gd name="connsiteX2413" fmla="*/ 856759 w 8023328"/>
              <a:gd name="connsiteY2413" fmla="*/ 796926 h 2380521"/>
              <a:gd name="connsiteX2414" fmla="*/ 870615 w 8023328"/>
              <a:gd name="connsiteY2414" fmla="*/ 782507 h 2380521"/>
              <a:gd name="connsiteX2415" fmla="*/ 799784 w 8023328"/>
              <a:gd name="connsiteY2415" fmla="*/ 782507 h 2380521"/>
              <a:gd name="connsiteX2416" fmla="*/ 812183 w 8023328"/>
              <a:gd name="connsiteY2416" fmla="*/ 796926 h 2380521"/>
              <a:gd name="connsiteX2417" fmla="*/ 799784 w 8023328"/>
              <a:gd name="connsiteY2417" fmla="*/ 812105 h 2380521"/>
              <a:gd name="connsiteX2418" fmla="*/ 785929 w 8023328"/>
              <a:gd name="connsiteY2418" fmla="*/ 796926 h 2380521"/>
              <a:gd name="connsiteX2419" fmla="*/ 799784 w 8023328"/>
              <a:gd name="connsiteY2419" fmla="*/ 782507 h 2380521"/>
              <a:gd name="connsiteX2420" fmla="*/ 724123 w 8023328"/>
              <a:gd name="connsiteY2420" fmla="*/ 782507 h 2380521"/>
              <a:gd name="connsiteX2421" fmla="*/ 737981 w 8023328"/>
              <a:gd name="connsiteY2421" fmla="*/ 796926 h 2380521"/>
              <a:gd name="connsiteX2422" fmla="*/ 724123 w 8023328"/>
              <a:gd name="connsiteY2422" fmla="*/ 812105 h 2380521"/>
              <a:gd name="connsiteX2423" fmla="*/ 711726 w 8023328"/>
              <a:gd name="connsiteY2423" fmla="*/ 796926 h 2380521"/>
              <a:gd name="connsiteX2424" fmla="*/ 724123 w 8023328"/>
              <a:gd name="connsiteY2424" fmla="*/ 782507 h 2380521"/>
              <a:gd name="connsiteX2425" fmla="*/ 653293 w 8023328"/>
              <a:gd name="connsiteY2425" fmla="*/ 782507 h 2380521"/>
              <a:gd name="connsiteX2426" fmla="*/ 667149 w 8023328"/>
              <a:gd name="connsiteY2426" fmla="*/ 796926 h 2380521"/>
              <a:gd name="connsiteX2427" fmla="*/ 653293 w 8023328"/>
              <a:gd name="connsiteY2427" fmla="*/ 812105 h 2380521"/>
              <a:gd name="connsiteX2428" fmla="*/ 640896 w 8023328"/>
              <a:gd name="connsiteY2428" fmla="*/ 796926 h 2380521"/>
              <a:gd name="connsiteX2429" fmla="*/ 653293 w 8023328"/>
              <a:gd name="connsiteY2429" fmla="*/ 782507 h 2380521"/>
              <a:gd name="connsiteX2430" fmla="*/ 584855 w 8023328"/>
              <a:gd name="connsiteY2430" fmla="*/ 782507 h 2380521"/>
              <a:gd name="connsiteX2431" fmla="*/ 599643 w 8023328"/>
              <a:gd name="connsiteY2431" fmla="*/ 796926 h 2380521"/>
              <a:gd name="connsiteX2432" fmla="*/ 584855 w 8023328"/>
              <a:gd name="connsiteY2432" fmla="*/ 812105 h 2380521"/>
              <a:gd name="connsiteX2433" fmla="*/ 570066 w 8023328"/>
              <a:gd name="connsiteY2433" fmla="*/ 796926 h 2380521"/>
              <a:gd name="connsiteX2434" fmla="*/ 584855 w 8023328"/>
              <a:gd name="connsiteY2434" fmla="*/ 782507 h 2380521"/>
              <a:gd name="connsiteX2435" fmla="*/ 513654 w 8023328"/>
              <a:gd name="connsiteY2435" fmla="*/ 782507 h 2380521"/>
              <a:gd name="connsiteX2436" fmla="*/ 528831 w 8023328"/>
              <a:gd name="connsiteY2436" fmla="*/ 796926 h 2380521"/>
              <a:gd name="connsiteX2437" fmla="*/ 513654 w 8023328"/>
              <a:gd name="connsiteY2437" fmla="*/ 812105 h 2380521"/>
              <a:gd name="connsiteX2438" fmla="*/ 499235 w 8023328"/>
              <a:gd name="connsiteY2438" fmla="*/ 796926 h 2380521"/>
              <a:gd name="connsiteX2439" fmla="*/ 513654 w 8023328"/>
              <a:gd name="connsiteY2439" fmla="*/ 782507 h 2380521"/>
              <a:gd name="connsiteX2440" fmla="*/ 439821 w 8023328"/>
              <a:gd name="connsiteY2440" fmla="*/ 782507 h 2380521"/>
              <a:gd name="connsiteX2441" fmla="*/ 454611 w 8023328"/>
              <a:gd name="connsiteY2441" fmla="*/ 796926 h 2380521"/>
              <a:gd name="connsiteX2442" fmla="*/ 439821 w 8023328"/>
              <a:gd name="connsiteY2442" fmla="*/ 812105 h 2380521"/>
              <a:gd name="connsiteX2443" fmla="*/ 425033 w 8023328"/>
              <a:gd name="connsiteY2443" fmla="*/ 796926 h 2380521"/>
              <a:gd name="connsiteX2444" fmla="*/ 439821 w 8023328"/>
              <a:gd name="connsiteY2444" fmla="*/ 782507 h 2380521"/>
              <a:gd name="connsiteX2445" fmla="*/ 4439056 w 8023328"/>
              <a:gd name="connsiteY2445" fmla="*/ 711678 h 2380521"/>
              <a:gd name="connsiteX2446" fmla="*/ 4451453 w 8023328"/>
              <a:gd name="connsiteY2446" fmla="*/ 724075 h 2380521"/>
              <a:gd name="connsiteX2447" fmla="*/ 4439056 w 8023328"/>
              <a:gd name="connsiteY2447" fmla="*/ 737932 h 2380521"/>
              <a:gd name="connsiteX2448" fmla="*/ 4425200 w 8023328"/>
              <a:gd name="connsiteY2448" fmla="*/ 724075 h 2380521"/>
              <a:gd name="connsiteX2449" fmla="*/ 4439056 w 8023328"/>
              <a:gd name="connsiteY2449" fmla="*/ 711678 h 2380521"/>
              <a:gd name="connsiteX2450" fmla="*/ 4366768 w 8023328"/>
              <a:gd name="connsiteY2450" fmla="*/ 711678 h 2380521"/>
              <a:gd name="connsiteX2451" fmla="*/ 4380624 w 8023328"/>
              <a:gd name="connsiteY2451" fmla="*/ 724075 h 2380521"/>
              <a:gd name="connsiteX2452" fmla="*/ 4366768 w 8023328"/>
              <a:gd name="connsiteY2452" fmla="*/ 737932 h 2380521"/>
              <a:gd name="connsiteX2453" fmla="*/ 4354371 w 8023328"/>
              <a:gd name="connsiteY2453" fmla="*/ 724075 h 2380521"/>
              <a:gd name="connsiteX2454" fmla="*/ 4366768 w 8023328"/>
              <a:gd name="connsiteY2454" fmla="*/ 711678 h 2380521"/>
              <a:gd name="connsiteX2455" fmla="*/ 4295937 w 8023328"/>
              <a:gd name="connsiteY2455" fmla="*/ 711678 h 2380521"/>
              <a:gd name="connsiteX2456" fmla="*/ 4309793 w 8023328"/>
              <a:gd name="connsiteY2456" fmla="*/ 724075 h 2380521"/>
              <a:gd name="connsiteX2457" fmla="*/ 4295937 w 8023328"/>
              <a:gd name="connsiteY2457" fmla="*/ 737932 h 2380521"/>
              <a:gd name="connsiteX2458" fmla="*/ 4283540 w 8023328"/>
              <a:gd name="connsiteY2458" fmla="*/ 724075 h 2380521"/>
              <a:gd name="connsiteX2459" fmla="*/ 4295937 w 8023328"/>
              <a:gd name="connsiteY2459" fmla="*/ 711678 h 2380521"/>
              <a:gd name="connsiteX2460" fmla="*/ 4225107 w 8023328"/>
              <a:gd name="connsiteY2460" fmla="*/ 711678 h 2380521"/>
              <a:gd name="connsiteX2461" fmla="*/ 4238963 w 8023328"/>
              <a:gd name="connsiteY2461" fmla="*/ 724075 h 2380521"/>
              <a:gd name="connsiteX2462" fmla="*/ 4225107 w 8023328"/>
              <a:gd name="connsiteY2462" fmla="*/ 737932 h 2380521"/>
              <a:gd name="connsiteX2463" fmla="*/ 4212710 w 8023328"/>
              <a:gd name="connsiteY2463" fmla="*/ 724075 h 2380521"/>
              <a:gd name="connsiteX2464" fmla="*/ 4225107 w 8023328"/>
              <a:gd name="connsiteY2464" fmla="*/ 711678 h 2380521"/>
              <a:gd name="connsiteX2465" fmla="*/ 4153295 w 8023328"/>
              <a:gd name="connsiteY2465" fmla="*/ 711678 h 2380521"/>
              <a:gd name="connsiteX2466" fmla="*/ 4168083 w 8023328"/>
              <a:gd name="connsiteY2466" fmla="*/ 724075 h 2380521"/>
              <a:gd name="connsiteX2467" fmla="*/ 4153295 w 8023328"/>
              <a:gd name="connsiteY2467" fmla="*/ 737932 h 2380521"/>
              <a:gd name="connsiteX2468" fmla="*/ 4138507 w 8023328"/>
              <a:gd name="connsiteY2468" fmla="*/ 724075 h 2380521"/>
              <a:gd name="connsiteX2469" fmla="*/ 4153295 w 8023328"/>
              <a:gd name="connsiteY2469" fmla="*/ 711678 h 2380521"/>
              <a:gd name="connsiteX2470" fmla="*/ 4082465 w 8023328"/>
              <a:gd name="connsiteY2470" fmla="*/ 711678 h 2380521"/>
              <a:gd name="connsiteX2471" fmla="*/ 4097254 w 8023328"/>
              <a:gd name="connsiteY2471" fmla="*/ 724075 h 2380521"/>
              <a:gd name="connsiteX2472" fmla="*/ 4082465 w 8023328"/>
              <a:gd name="connsiteY2472" fmla="*/ 737932 h 2380521"/>
              <a:gd name="connsiteX2473" fmla="*/ 4067676 w 8023328"/>
              <a:gd name="connsiteY2473" fmla="*/ 724075 h 2380521"/>
              <a:gd name="connsiteX2474" fmla="*/ 4082465 w 8023328"/>
              <a:gd name="connsiteY2474" fmla="*/ 711678 h 2380521"/>
              <a:gd name="connsiteX2475" fmla="*/ 4010703 w 8023328"/>
              <a:gd name="connsiteY2475" fmla="*/ 711678 h 2380521"/>
              <a:gd name="connsiteX2476" fmla="*/ 4023100 w 8023328"/>
              <a:gd name="connsiteY2476" fmla="*/ 724075 h 2380521"/>
              <a:gd name="connsiteX2477" fmla="*/ 4010703 w 8023328"/>
              <a:gd name="connsiteY2477" fmla="*/ 737932 h 2380521"/>
              <a:gd name="connsiteX2478" fmla="*/ 3996847 w 8023328"/>
              <a:gd name="connsiteY2478" fmla="*/ 724075 h 2380521"/>
              <a:gd name="connsiteX2479" fmla="*/ 4010703 w 8023328"/>
              <a:gd name="connsiteY2479" fmla="*/ 711678 h 2380521"/>
              <a:gd name="connsiteX2480" fmla="*/ 3939871 w 8023328"/>
              <a:gd name="connsiteY2480" fmla="*/ 711678 h 2380521"/>
              <a:gd name="connsiteX2481" fmla="*/ 3952268 w 8023328"/>
              <a:gd name="connsiteY2481" fmla="*/ 724075 h 2380521"/>
              <a:gd name="connsiteX2482" fmla="*/ 3939871 w 8023328"/>
              <a:gd name="connsiteY2482" fmla="*/ 737932 h 2380521"/>
              <a:gd name="connsiteX2483" fmla="*/ 3926015 w 8023328"/>
              <a:gd name="connsiteY2483" fmla="*/ 724075 h 2380521"/>
              <a:gd name="connsiteX2484" fmla="*/ 3939871 w 8023328"/>
              <a:gd name="connsiteY2484" fmla="*/ 711678 h 2380521"/>
              <a:gd name="connsiteX2485" fmla="*/ 3869042 w 8023328"/>
              <a:gd name="connsiteY2485" fmla="*/ 711678 h 2380521"/>
              <a:gd name="connsiteX2486" fmla="*/ 3881439 w 8023328"/>
              <a:gd name="connsiteY2486" fmla="*/ 724075 h 2380521"/>
              <a:gd name="connsiteX2487" fmla="*/ 3869042 w 8023328"/>
              <a:gd name="connsiteY2487" fmla="*/ 737932 h 2380521"/>
              <a:gd name="connsiteX2488" fmla="*/ 3855186 w 8023328"/>
              <a:gd name="connsiteY2488" fmla="*/ 724075 h 2380521"/>
              <a:gd name="connsiteX2489" fmla="*/ 3869042 w 8023328"/>
              <a:gd name="connsiteY2489" fmla="*/ 711678 h 2380521"/>
              <a:gd name="connsiteX2490" fmla="*/ 3796752 w 8023328"/>
              <a:gd name="connsiteY2490" fmla="*/ 711678 h 2380521"/>
              <a:gd name="connsiteX2491" fmla="*/ 3810608 w 8023328"/>
              <a:gd name="connsiteY2491" fmla="*/ 724075 h 2380521"/>
              <a:gd name="connsiteX2492" fmla="*/ 3796752 w 8023328"/>
              <a:gd name="connsiteY2492" fmla="*/ 737932 h 2380521"/>
              <a:gd name="connsiteX2493" fmla="*/ 3784355 w 8023328"/>
              <a:gd name="connsiteY2493" fmla="*/ 724075 h 2380521"/>
              <a:gd name="connsiteX2494" fmla="*/ 3796752 w 8023328"/>
              <a:gd name="connsiteY2494" fmla="*/ 711678 h 2380521"/>
              <a:gd name="connsiteX2495" fmla="*/ 3725922 w 8023328"/>
              <a:gd name="connsiteY2495" fmla="*/ 711678 h 2380521"/>
              <a:gd name="connsiteX2496" fmla="*/ 3739778 w 8023328"/>
              <a:gd name="connsiteY2496" fmla="*/ 724075 h 2380521"/>
              <a:gd name="connsiteX2497" fmla="*/ 3725922 w 8023328"/>
              <a:gd name="connsiteY2497" fmla="*/ 737932 h 2380521"/>
              <a:gd name="connsiteX2498" fmla="*/ 3713525 w 8023328"/>
              <a:gd name="connsiteY2498" fmla="*/ 724075 h 2380521"/>
              <a:gd name="connsiteX2499" fmla="*/ 3725922 w 8023328"/>
              <a:gd name="connsiteY2499" fmla="*/ 711678 h 2380521"/>
              <a:gd name="connsiteX2500" fmla="*/ 3655091 w 8023328"/>
              <a:gd name="connsiteY2500" fmla="*/ 711678 h 2380521"/>
              <a:gd name="connsiteX2501" fmla="*/ 3668947 w 8023328"/>
              <a:gd name="connsiteY2501" fmla="*/ 724075 h 2380521"/>
              <a:gd name="connsiteX2502" fmla="*/ 3655091 w 8023328"/>
              <a:gd name="connsiteY2502" fmla="*/ 737932 h 2380521"/>
              <a:gd name="connsiteX2503" fmla="*/ 3642694 w 8023328"/>
              <a:gd name="connsiteY2503" fmla="*/ 724075 h 2380521"/>
              <a:gd name="connsiteX2504" fmla="*/ 3655091 w 8023328"/>
              <a:gd name="connsiteY2504" fmla="*/ 711678 h 2380521"/>
              <a:gd name="connsiteX2505" fmla="*/ 3583280 w 8023328"/>
              <a:gd name="connsiteY2505" fmla="*/ 711678 h 2380521"/>
              <a:gd name="connsiteX2506" fmla="*/ 3598069 w 8023328"/>
              <a:gd name="connsiteY2506" fmla="*/ 724075 h 2380521"/>
              <a:gd name="connsiteX2507" fmla="*/ 3583280 w 8023328"/>
              <a:gd name="connsiteY2507" fmla="*/ 737932 h 2380521"/>
              <a:gd name="connsiteX2508" fmla="*/ 3568491 w 8023328"/>
              <a:gd name="connsiteY2508" fmla="*/ 724075 h 2380521"/>
              <a:gd name="connsiteX2509" fmla="*/ 3583280 w 8023328"/>
              <a:gd name="connsiteY2509" fmla="*/ 711678 h 2380521"/>
              <a:gd name="connsiteX2510" fmla="*/ 3512449 w 8023328"/>
              <a:gd name="connsiteY2510" fmla="*/ 711678 h 2380521"/>
              <a:gd name="connsiteX2511" fmla="*/ 3527237 w 8023328"/>
              <a:gd name="connsiteY2511" fmla="*/ 724075 h 2380521"/>
              <a:gd name="connsiteX2512" fmla="*/ 3512449 w 8023328"/>
              <a:gd name="connsiteY2512" fmla="*/ 737932 h 2380521"/>
              <a:gd name="connsiteX2513" fmla="*/ 3497661 w 8023328"/>
              <a:gd name="connsiteY2513" fmla="*/ 724075 h 2380521"/>
              <a:gd name="connsiteX2514" fmla="*/ 3512449 w 8023328"/>
              <a:gd name="connsiteY2514" fmla="*/ 711678 h 2380521"/>
              <a:gd name="connsiteX2515" fmla="*/ 3441619 w 8023328"/>
              <a:gd name="connsiteY2515" fmla="*/ 711678 h 2380521"/>
              <a:gd name="connsiteX2516" fmla="*/ 3456408 w 8023328"/>
              <a:gd name="connsiteY2516" fmla="*/ 724075 h 2380521"/>
              <a:gd name="connsiteX2517" fmla="*/ 3441619 w 8023328"/>
              <a:gd name="connsiteY2517" fmla="*/ 737932 h 2380521"/>
              <a:gd name="connsiteX2518" fmla="*/ 3426830 w 8023328"/>
              <a:gd name="connsiteY2518" fmla="*/ 724075 h 2380521"/>
              <a:gd name="connsiteX2519" fmla="*/ 3441619 w 8023328"/>
              <a:gd name="connsiteY2519" fmla="*/ 711678 h 2380521"/>
              <a:gd name="connsiteX2520" fmla="*/ 3369857 w 8023328"/>
              <a:gd name="connsiteY2520" fmla="*/ 711678 h 2380521"/>
              <a:gd name="connsiteX2521" fmla="*/ 3382254 w 8023328"/>
              <a:gd name="connsiteY2521" fmla="*/ 724075 h 2380521"/>
              <a:gd name="connsiteX2522" fmla="*/ 3369857 w 8023328"/>
              <a:gd name="connsiteY2522" fmla="*/ 737932 h 2380521"/>
              <a:gd name="connsiteX2523" fmla="*/ 3356001 w 8023328"/>
              <a:gd name="connsiteY2523" fmla="*/ 724075 h 2380521"/>
              <a:gd name="connsiteX2524" fmla="*/ 3369857 w 8023328"/>
              <a:gd name="connsiteY2524" fmla="*/ 711678 h 2380521"/>
              <a:gd name="connsiteX2525" fmla="*/ 3299086 w 8023328"/>
              <a:gd name="connsiteY2525" fmla="*/ 711678 h 2380521"/>
              <a:gd name="connsiteX2526" fmla="*/ 3311485 w 8023328"/>
              <a:gd name="connsiteY2526" fmla="*/ 724075 h 2380521"/>
              <a:gd name="connsiteX2527" fmla="*/ 3299086 w 8023328"/>
              <a:gd name="connsiteY2527" fmla="*/ 737932 h 2380521"/>
              <a:gd name="connsiteX2528" fmla="*/ 3285234 w 8023328"/>
              <a:gd name="connsiteY2528" fmla="*/ 724075 h 2380521"/>
              <a:gd name="connsiteX2529" fmla="*/ 3299086 w 8023328"/>
              <a:gd name="connsiteY2529" fmla="*/ 711678 h 2380521"/>
              <a:gd name="connsiteX2530" fmla="*/ 3228255 w 8023328"/>
              <a:gd name="connsiteY2530" fmla="*/ 711678 h 2380521"/>
              <a:gd name="connsiteX2531" fmla="*/ 3240654 w 8023328"/>
              <a:gd name="connsiteY2531" fmla="*/ 724075 h 2380521"/>
              <a:gd name="connsiteX2532" fmla="*/ 3228255 w 8023328"/>
              <a:gd name="connsiteY2532" fmla="*/ 737932 h 2380521"/>
              <a:gd name="connsiteX2533" fmla="*/ 3214398 w 8023328"/>
              <a:gd name="connsiteY2533" fmla="*/ 724075 h 2380521"/>
              <a:gd name="connsiteX2534" fmla="*/ 3228255 w 8023328"/>
              <a:gd name="connsiteY2534" fmla="*/ 711678 h 2380521"/>
              <a:gd name="connsiteX2535" fmla="*/ 3152594 w 8023328"/>
              <a:gd name="connsiteY2535" fmla="*/ 711678 h 2380521"/>
              <a:gd name="connsiteX2536" fmla="*/ 3166451 w 8023328"/>
              <a:gd name="connsiteY2536" fmla="*/ 724075 h 2380521"/>
              <a:gd name="connsiteX2537" fmla="*/ 3152594 w 8023328"/>
              <a:gd name="connsiteY2537" fmla="*/ 737932 h 2380521"/>
              <a:gd name="connsiteX2538" fmla="*/ 3140198 w 8023328"/>
              <a:gd name="connsiteY2538" fmla="*/ 725534 h 2380521"/>
              <a:gd name="connsiteX2539" fmla="*/ 3152594 w 8023328"/>
              <a:gd name="connsiteY2539" fmla="*/ 711678 h 2380521"/>
              <a:gd name="connsiteX2540" fmla="*/ 3081763 w 8023328"/>
              <a:gd name="connsiteY2540" fmla="*/ 711678 h 2380521"/>
              <a:gd name="connsiteX2541" fmla="*/ 3095617 w 8023328"/>
              <a:gd name="connsiteY2541" fmla="*/ 725534 h 2380521"/>
              <a:gd name="connsiteX2542" fmla="*/ 3081763 w 8023328"/>
              <a:gd name="connsiteY2542" fmla="*/ 737932 h 2380521"/>
              <a:gd name="connsiteX2543" fmla="*/ 3069364 w 8023328"/>
              <a:gd name="connsiteY2543" fmla="*/ 725534 h 2380521"/>
              <a:gd name="connsiteX2544" fmla="*/ 3081763 w 8023328"/>
              <a:gd name="connsiteY2544" fmla="*/ 711678 h 2380521"/>
              <a:gd name="connsiteX2545" fmla="*/ 3013707 w 8023328"/>
              <a:gd name="connsiteY2545" fmla="*/ 711678 h 2380521"/>
              <a:gd name="connsiteX2546" fmla="*/ 3028128 w 8023328"/>
              <a:gd name="connsiteY2546" fmla="*/ 725534 h 2380521"/>
              <a:gd name="connsiteX2547" fmla="*/ 3013707 w 8023328"/>
              <a:gd name="connsiteY2547" fmla="*/ 737932 h 2380521"/>
              <a:gd name="connsiteX2548" fmla="*/ 2998531 w 8023328"/>
              <a:gd name="connsiteY2548" fmla="*/ 725534 h 2380521"/>
              <a:gd name="connsiteX2549" fmla="*/ 3013707 w 8023328"/>
              <a:gd name="connsiteY2549" fmla="*/ 711678 h 2380521"/>
              <a:gd name="connsiteX2550" fmla="*/ 2942485 w 8023328"/>
              <a:gd name="connsiteY2550" fmla="*/ 711678 h 2380521"/>
              <a:gd name="connsiteX2551" fmla="*/ 2957280 w 8023328"/>
              <a:gd name="connsiteY2551" fmla="*/ 725534 h 2380521"/>
              <a:gd name="connsiteX2552" fmla="*/ 2942485 w 8023328"/>
              <a:gd name="connsiteY2552" fmla="*/ 737932 h 2380521"/>
              <a:gd name="connsiteX2553" fmla="*/ 2927700 w 8023328"/>
              <a:gd name="connsiteY2553" fmla="*/ 725534 h 2380521"/>
              <a:gd name="connsiteX2554" fmla="*/ 2942485 w 8023328"/>
              <a:gd name="connsiteY2554" fmla="*/ 711678 h 2380521"/>
              <a:gd name="connsiteX2555" fmla="*/ 1440620 w 8023328"/>
              <a:gd name="connsiteY2555" fmla="*/ 711678 h 2380521"/>
              <a:gd name="connsiteX2556" fmla="*/ 1453017 w 8023328"/>
              <a:gd name="connsiteY2556" fmla="*/ 726466 h 2380521"/>
              <a:gd name="connsiteX2557" fmla="*/ 1440620 w 8023328"/>
              <a:gd name="connsiteY2557" fmla="*/ 741255 h 2380521"/>
              <a:gd name="connsiteX2558" fmla="*/ 1426765 w 8023328"/>
              <a:gd name="connsiteY2558" fmla="*/ 726466 h 2380521"/>
              <a:gd name="connsiteX2559" fmla="*/ 1440620 w 8023328"/>
              <a:gd name="connsiteY2559" fmla="*/ 711678 h 2380521"/>
              <a:gd name="connsiteX2560" fmla="*/ 1368338 w 8023328"/>
              <a:gd name="connsiteY2560" fmla="*/ 711678 h 2380521"/>
              <a:gd name="connsiteX2561" fmla="*/ 1382190 w 8023328"/>
              <a:gd name="connsiteY2561" fmla="*/ 726466 h 2380521"/>
              <a:gd name="connsiteX2562" fmla="*/ 1368338 w 8023328"/>
              <a:gd name="connsiteY2562" fmla="*/ 741255 h 2380521"/>
              <a:gd name="connsiteX2563" fmla="*/ 1355939 w 8023328"/>
              <a:gd name="connsiteY2563" fmla="*/ 726466 h 2380521"/>
              <a:gd name="connsiteX2564" fmla="*/ 1368338 w 8023328"/>
              <a:gd name="connsiteY2564" fmla="*/ 711678 h 2380521"/>
              <a:gd name="connsiteX2565" fmla="*/ 1297509 w 8023328"/>
              <a:gd name="connsiteY2565" fmla="*/ 711678 h 2380521"/>
              <a:gd name="connsiteX2566" fmla="*/ 1311366 w 8023328"/>
              <a:gd name="connsiteY2566" fmla="*/ 726466 h 2380521"/>
              <a:gd name="connsiteX2567" fmla="*/ 1297509 w 8023328"/>
              <a:gd name="connsiteY2567" fmla="*/ 741255 h 2380521"/>
              <a:gd name="connsiteX2568" fmla="*/ 1285113 w 8023328"/>
              <a:gd name="connsiteY2568" fmla="*/ 726466 h 2380521"/>
              <a:gd name="connsiteX2569" fmla="*/ 1297509 w 8023328"/>
              <a:gd name="connsiteY2569" fmla="*/ 711678 h 2380521"/>
              <a:gd name="connsiteX2570" fmla="*/ 1226678 w 8023328"/>
              <a:gd name="connsiteY2570" fmla="*/ 711678 h 2380521"/>
              <a:gd name="connsiteX2571" fmla="*/ 1240535 w 8023328"/>
              <a:gd name="connsiteY2571" fmla="*/ 726466 h 2380521"/>
              <a:gd name="connsiteX2572" fmla="*/ 1226678 w 8023328"/>
              <a:gd name="connsiteY2572" fmla="*/ 741255 h 2380521"/>
              <a:gd name="connsiteX2573" fmla="*/ 1214288 w 8023328"/>
              <a:gd name="connsiteY2573" fmla="*/ 726466 h 2380521"/>
              <a:gd name="connsiteX2574" fmla="*/ 1226678 w 8023328"/>
              <a:gd name="connsiteY2574" fmla="*/ 711678 h 2380521"/>
              <a:gd name="connsiteX2575" fmla="*/ 1154874 w 8023328"/>
              <a:gd name="connsiteY2575" fmla="*/ 711678 h 2380521"/>
              <a:gd name="connsiteX2576" fmla="*/ 1169663 w 8023328"/>
              <a:gd name="connsiteY2576" fmla="*/ 726466 h 2380521"/>
              <a:gd name="connsiteX2577" fmla="*/ 1154874 w 8023328"/>
              <a:gd name="connsiteY2577" fmla="*/ 741255 h 2380521"/>
              <a:gd name="connsiteX2578" fmla="*/ 1140086 w 8023328"/>
              <a:gd name="connsiteY2578" fmla="*/ 726466 h 2380521"/>
              <a:gd name="connsiteX2579" fmla="*/ 1154874 w 8023328"/>
              <a:gd name="connsiteY2579" fmla="*/ 711678 h 2380521"/>
              <a:gd name="connsiteX2580" fmla="*/ 1084045 w 8023328"/>
              <a:gd name="connsiteY2580" fmla="*/ 711678 h 2380521"/>
              <a:gd name="connsiteX2581" fmla="*/ 1098833 w 8023328"/>
              <a:gd name="connsiteY2581" fmla="*/ 726466 h 2380521"/>
              <a:gd name="connsiteX2582" fmla="*/ 1084045 w 8023328"/>
              <a:gd name="connsiteY2582" fmla="*/ 741255 h 2380521"/>
              <a:gd name="connsiteX2583" fmla="*/ 1069255 w 8023328"/>
              <a:gd name="connsiteY2583" fmla="*/ 726466 h 2380521"/>
              <a:gd name="connsiteX2584" fmla="*/ 1084045 w 8023328"/>
              <a:gd name="connsiteY2584" fmla="*/ 711678 h 2380521"/>
              <a:gd name="connsiteX2585" fmla="*/ 1013599 w 8023328"/>
              <a:gd name="connsiteY2585" fmla="*/ 711678 h 2380521"/>
              <a:gd name="connsiteX2586" fmla="*/ 1028021 w 8023328"/>
              <a:gd name="connsiteY2586" fmla="*/ 726466 h 2380521"/>
              <a:gd name="connsiteX2587" fmla="*/ 1013599 w 8023328"/>
              <a:gd name="connsiteY2587" fmla="*/ 741255 h 2380521"/>
              <a:gd name="connsiteX2588" fmla="*/ 998423 w 8023328"/>
              <a:gd name="connsiteY2588" fmla="*/ 726466 h 2380521"/>
              <a:gd name="connsiteX2589" fmla="*/ 1013599 w 8023328"/>
              <a:gd name="connsiteY2589" fmla="*/ 711678 h 2380521"/>
              <a:gd name="connsiteX2590" fmla="*/ 941452 w 8023328"/>
              <a:gd name="connsiteY2590" fmla="*/ 711678 h 2380521"/>
              <a:gd name="connsiteX2591" fmla="*/ 953848 w 8023328"/>
              <a:gd name="connsiteY2591" fmla="*/ 726466 h 2380521"/>
              <a:gd name="connsiteX2592" fmla="*/ 941452 w 8023328"/>
              <a:gd name="connsiteY2592" fmla="*/ 741255 h 2380521"/>
              <a:gd name="connsiteX2593" fmla="*/ 927596 w 8023328"/>
              <a:gd name="connsiteY2593" fmla="*/ 726466 h 2380521"/>
              <a:gd name="connsiteX2594" fmla="*/ 941452 w 8023328"/>
              <a:gd name="connsiteY2594" fmla="*/ 711678 h 2380521"/>
              <a:gd name="connsiteX2595" fmla="*/ 870620 w 8023328"/>
              <a:gd name="connsiteY2595" fmla="*/ 711678 h 2380521"/>
              <a:gd name="connsiteX2596" fmla="*/ 883018 w 8023328"/>
              <a:gd name="connsiteY2596" fmla="*/ 726466 h 2380521"/>
              <a:gd name="connsiteX2597" fmla="*/ 870620 w 8023328"/>
              <a:gd name="connsiteY2597" fmla="*/ 741255 h 2380521"/>
              <a:gd name="connsiteX2598" fmla="*/ 856764 w 8023328"/>
              <a:gd name="connsiteY2598" fmla="*/ 726466 h 2380521"/>
              <a:gd name="connsiteX2599" fmla="*/ 870620 w 8023328"/>
              <a:gd name="connsiteY2599" fmla="*/ 711678 h 2380521"/>
              <a:gd name="connsiteX2600" fmla="*/ 798331 w 8023328"/>
              <a:gd name="connsiteY2600" fmla="*/ 711678 h 2380521"/>
              <a:gd name="connsiteX2601" fmla="*/ 812189 w 8023328"/>
              <a:gd name="connsiteY2601" fmla="*/ 726466 h 2380521"/>
              <a:gd name="connsiteX2602" fmla="*/ 798331 w 8023328"/>
              <a:gd name="connsiteY2602" fmla="*/ 741255 h 2380521"/>
              <a:gd name="connsiteX2603" fmla="*/ 785934 w 8023328"/>
              <a:gd name="connsiteY2603" fmla="*/ 726466 h 2380521"/>
              <a:gd name="connsiteX2604" fmla="*/ 798331 w 8023328"/>
              <a:gd name="connsiteY2604" fmla="*/ 711678 h 2380521"/>
              <a:gd name="connsiteX2605" fmla="*/ 724129 w 8023328"/>
              <a:gd name="connsiteY2605" fmla="*/ 711678 h 2380521"/>
              <a:gd name="connsiteX2606" fmla="*/ 737986 w 8023328"/>
              <a:gd name="connsiteY2606" fmla="*/ 726466 h 2380521"/>
              <a:gd name="connsiteX2607" fmla="*/ 724129 w 8023328"/>
              <a:gd name="connsiteY2607" fmla="*/ 741255 h 2380521"/>
              <a:gd name="connsiteX2608" fmla="*/ 711732 w 8023328"/>
              <a:gd name="connsiteY2608" fmla="*/ 726466 h 2380521"/>
              <a:gd name="connsiteX2609" fmla="*/ 724129 w 8023328"/>
              <a:gd name="connsiteY2609" fmla="*/ 711678 h 2380521"/>
              <a:gd name="connsiteX2610" fmla="*/ 653298 w 8023328"/>
              <a:gd name="connsiteY2610" fmla="*/ 711678 h 2380521"/>
              <a:gd name="connsiteX2611" fmla="*/ 667154 w 8023328"/>
              <a:gd name="connsiteY2611" fmla="*/ 726466 h 2380521"/>
              <a:gd name="connsiteX2612" fmla="*/ 653298 w 8023328"/>
              <a:gd name="connsiteY2612" fmla="*/ 741255 h 2380521"/>
              <a:gd name="connsiteX2613" fmla="*/ 640901 w 8023328"/>
              <a:gd name="connsiteY2613" fmla="*/ 726466 h 2380521"/>
              <a:gd name="connsiteX2614" fmla="*/ 653298 w 8023328"/>
              <a:gd name="connsiteY2614" fmla="*/ 711678 h 2380521"/>
              <a:gd name="connsiteX2615" fmla="*/ 584861 w 8023328"/>
              <a:gd name="connsiteY2615" fmla="*/ 711678 h 2380521"/>
              <a:gd name="connsiteX2616" fmla="*/ 599648 w 8023328"/>
              <a:gd name="connsiteY2616" fmla="*/ 726466 h 2380521"/>
              <a:gd name="connsiteX2617" fmla="*/ 584861 w 8023328"/>
              <a:gd name="connsiteY2617" fmla="*/ 741255 h 2380521"/>
              <a:gd name="connsiteX2618" fmla="*/ 570071 w 8023328"/>
              <a:gd name="connsiteY2618" fmla="*/ 726466 h 2380521"/>
              <a:gd name="connsiteX2619" fmla="*/ 584861 w 8023328"/>
              <a:gd name="connsiteY2619" fmla="*/ 711678 h 2380521"/>
              <a:gd name="connsiteX2620" fmla="*/ 513660 w 8023328"/>
              <a:gd name="connsiteY2620" fmla="*/ 711678 h 2380521"/>
              <a:gd name="connsiteX2621" fmla="*/ 528837 w 8023328"/>
              <a:gd name="connsiteY2621" fmla="*/ 726466 h 2380521"/>
              <a:gd name="connsiteX2622" fmla="*/ 513660 w 8023328"/>
              <a:gd name="connsiteY2622" fmla="*/ 741255 h 2380521"/>
              <a:gd name="connsiteX2623" fmla="*/ 499241 w 8023328"/>
              <a:gd name="connsiteY2623" fmla="*/ 726466 h 2380521"/>
              <a:gd name="connsiteX2624" fmla="*/ 513660 w 8023328"/>
              <a:gd name="connsiteY2624" fmla="*/ 711678 h 2380521"/>
              <a:gd name="connsiteX2625" fmla="*/ 439826 w 8023328"/>
              <a:gd name="connsiteY2625" fmla="*/ 711678 h 2380521"/>
              <a:gd name="connsiteX2626" fmla="*/ 454616 w 8023328"/>
              <a:gd name="connsiteY2626" fmla="*/ 726466 h 2380521"/>
              <a:gd name="connsiteX2627" fmla="*/ 439826 w 8023328"/>
              <a:gd name="connsiteY2627" fmla="*/ 741255 h 2380521"/>
              <a:gd name="connsiteX2628" fmla="*/ 425038 w 8023328"/>
              <a:gd name="connsiteY2628" fmla="*/ 726466 h 2380521"/>
              <a:gd name="connsiteX2629" fmla="*/ 439826 w 8023328"/>
              <a:gd name="connsiteY2629" fmla="*/ 711678 h 2380521"/>
              <a:gd name="connsiteX2630" fmla="*/ 368064 w 8023328"/>
              <a:gd name="connsiteY2630" fmla="*/ 711678 h 2380521"/>
              <a:gd name="connsiteX2631" fmla="*/ 380462 w 8023328"/>
              <a:gd name="connsiteY2631" fmla="*/ 726466 h 2380521"/>
              <a:gd name="connsiteX2632" fmla="*/ 368064 w 8023328"/>
              <a:gd name="connsiteY2632" fmla="*/ 741255 h 2380521"/>
              <a:gd name="connsiteX2633" fmla="*/ 354207 w 8023328"/>
              <a:gd name="connsiteY2633" fmla="*/ 726466 h 2380521"/>
              <a:gd name="connsiteX2634" fmla="*/ 368064 w 8023328"/>
              <a:gd name="connsiteY2634" fmla="*/ 711678 h 2380521"/>
              <a:gd name="connsiteX2635" fmla="*/ 297232 w 8023328"/>
              <a:gd name="connsiteY2635" fmla="*/ 711678 h 2380521"/>
              <a:gd name="connsiteX2636" fmla="*/ 309630 w 8023328"/>
              <a:gd name="connsiteY2636" fmla="*/ 726466 h 2380521"/>
              <a:gd name="connsiteX2637" fmla="*/ 297232 w 8023328"/>
              <a:gd name="connsiteY2637" fmla="*/ 741255 h 2380521"/>
              <a:gd name="connsiteX2638" fmla="*/ 283376 w 8023328"/>
              <a:gd name="connsiteY2638" fmla="*/ 726466 h 2380521"/>
              <a:gd name="connsiteX2639" fmla="*/ 297232 w 8023328"/>
              <a:gd name="connsiteY2639" fmla="*/ 711678 h 2380521"/>
              <a:gd name="connsiteX2640" fmla="*/ 226403 w 8023328"/>
              <a:gd name="connsiteY2640" fmla="*/ 711678 h 2380521"/>
              <a:gd name="connsiteX2641" fmla="*/ 238801 w 8023328"/>
              <a:gd name="connsiteY2641" fmla="*/ 726466 h 2380521"/>
              <a:gd name="connsiteX2642" fmla="*/ 226403 w 8023328"/>
              <a:gd name="connsiteY2642" fmla="*/ 741255 h 2380521"/>
              <a:gd name="connsiteX2643" fmla="*/ 212548 w 8023328"/>
              <a:gd name="connsiteY2643" fmla="*/ 726466 h 2380521"/>
              <a:gd name="connsiteX2644" fmla="*/ 226403 w 8023328"/>
              <a:gd name="connsiteY2644" fmla="*/ 711678 h 2380521"/>
              <a:gd name="connsiteX2645" fmla="*/ 154106 w 8023328"/>
              <a:gd name="connsiteY2645" fmla="*/ 711678 h 2380521"/>
              <a:gd name="connsiteX2646" fmla="*/ 167962 w 8023328"/>
              <a:gd name="connsiteY2646" fmla="*/ 726466 h 2380521"/>
              <a:gd name="connsiteX2647" fmla="*/ 154106 w 8023328"/>
              <a:gd name="connsiteY2647" fmla="*/ 741255 h 2380521"/>
              <a:gd name="connsiteX2648" fmla="*/ 141708 w 8023328"/>
              <a:gd name="connsiteY2648" fmla="*/ 726466 h 2380521"/>
              <a:gd name="connsiteX2649" fmla="*/ 154106 w 8023328"/>
              <a:gd name="connsiteY2649" fmla="*/ 711678 h 2380521"/>
              <a:gd name="connsiteX2650" fmla="*/ 4227498 w 8023328"/>
              <a:gd name="connsiteY2650" fmla="*/ 640846 h 2380521"/>
              <a:gd name="connsiteX2651" fmla="*/ 4242286 w 8023328"/>
              <a:gd name="connsiteY2651" fmla="*/ 653243 h 2380521"/>
              <a:gd name="connsiteX2652" fmla="*/ 4227498 w 8023328"/>
              <a:gd name="connsiteY2652" fmla="*/ 667100 h 2380521"/>
              <a:gd name="connsiteX2653" fmla="*/ 4212710 w 8023328"/>
              <a:gd name="connsiteY2653" fmla="*/ 653243 h 2380521"/>
              <a:gd name="connsiteX2654" fmla="*/ 4227498 w 8023328"/>
              <a:gd name="connsiteY2654" fmla="*/ 640846 h 2380521"/>
              <a:gd name="connsiteX2655" fmla="*/ 4153295 w 8023328"/>
              <a:gd name="connsiteY2655" fmla="*/ 640846 h 2380521"/>
              <a:gd name="connsiteX2656" fmla="*/ 4168083 w 8023328"/>
              <a:gd name="connsiteY2656" fmla="*/ 653243 h 2380521"/>
              <a:gd name="connsiteX2657" fmla="*/ 4153295 w 8023328"/>
              <a:gd name="connsiteY2657" fmla="*/ 667100 h 2380521"/>
              <a:gd name="connsiteX2658" fmla="*/ 4138507 w 8023328"/>
              <a:gd name="connsiteY2658" fmla="*/ 653243 h 2380521"/>
              <a:gd name="connsiteX2659" fmla="*/ 4153295 w 8023328"/>
              <a:gd name="connsiteY2659" fmla="*/ 640846 h 2380521"/>
              <a:gd name="connsiteX2660" fmla="*/ 4082465 w 8023328"/>
              <a:gd name="connsiteY2660" fmla="*/ 640846 h 2380521"/>
              <a:gd name="connsiteX2661" fmla="*/ 4097254 w 8023328"/>
              <a:gd name="connsiteY2661" fmla="*/ 653243 h 2380521"/>
              <a:gd name="connsiteX2662" fmla="*/ 4082465 w 8023328"/>
              <a:gd name="connsiteY2662" fmla="*/ 667100 h 2380521"/>
              <a:gd name="connsiteX2663" fmla="*/ 4067676 w 8023328"/>
              <a:gd name="connsiteY2663" fmla="*/ 653243 h 2380521"/>
              <a:gd name="connsiteX2664" fmla="*/ 4082465 w 8023328"/>
              <a:gd name="connsiteY2664" fmla="*/ 640846 h 2380521"/>
              <a:gd name="connsiteX2665" fmla="*/ 4010703 w 8023328"/>
              <a:gd name="connsiteY2665" fmla="*/ 640846 h 2380521"/>
              <a:gd name="connsiteX2666" fmla="*/ 4023100 w 8023328"/>
              <a:gd name="connsiteY2666" fmla="*/ 653243 h 2380521"/>
              <a:gd name="connsiteX2667" fmla="*/ 4010703 w 8023328"/>
              <a:gd name="connsiteY2667" fmla="*/ 667100 h 2380521"/>
              <a:gd name="connsiteX2668" fmla="*/ 3996847 w 8023328"/>
              <a:gd name="connsiteY2668" fmla="*/ 653243 h 2380521"/>
              <a:gd name="connsiteX2669" fmla="*/ 4010703 w 8023328"/>
              <a:gd name="connsiteY2669" fmla="*/ 640846 h 2380521"/>
              <a:gd name="connsiteX2670" fmla="*/ 3939871 w 8023328"/>
              <a:gd name="connsiteY2670" fmla="*/ 640846 h 2380521"/>
              <a:gd name="connsiteX2671" fmla="*/ 3952268 w 8023328"/>
              <a:gd name="connsiteY2671" fmla="*/ 653243 h 2380521"/>
              <a:gd name="connsiteX2672" fmla="*/ 3939871 w 8023328"/>
              <a:gd name="connsiteY2672" fmla="*/ 667100 h 2380521"/>
              <a:gd name="connsiteX2673" fmla="*/ 3926015 w 8023328"/>
              <a:gd name="connsiteY2673" fmla="*/ 653243 h 2380521"/>
              <a:gd name="connsiteX2674" fmla="*/ 3939871 w 8023328"/>
              <a:gd name="connsiteY2674" fmla="*/ 640846 h 2380521"/>
              <a:gd name="connsiteX2675" fmla="*/ 3869042 w 8023328"/>
              <a:gd name="connsiteY2675" fmla="*/ 640846 h 2380521"/>
              <a:gd name="connsiteX2676" fmla="*/ 3881439 w 8023328"/>
              <a:gd name="connsiteY2676" fmla="*/ 653243 h 2380521"/>
              <a:gd name="connsiteX2677" fmla="*/ 3869042 w 8023328"/>
              <a:gd name="connsiteY2677" fmla="*/ 667100 h 2380521"/>
              <a:gd name="connsiteX2678" fmla="*/ 3855186 w 8023328"/>
              <a:gd name="connsiteY2678" fmla="*/ 653243 h 2380521"/>
              <a:gd name="connsiteX2679" fmla="*/ 3869042 w 8023328"/>
              <a:gd name="connsiteY2679" fmla="*/ 640846 h 2380521"/>
              <a:gd name="connsiteX2680" fmla="*/ 3796752 w 8023328"/>
              <a:gd name="connsiteY2680" fmla="*/ 640846 h 2380521"/>
              <a:gd name="connsiteX2681" fmla="*/ 3810608 w 8023328"/>
              <a:gd name="connsiteY2681" fmla="*/ 653243 h 2380521"/>
              <a:gd name="connsiteX2682" fmla="*/ 3796752 w 8023328"/>
              <a:gd name="connsiteY2682" fmla="*/ 667100 h 2380521"/>
              <a:gd name="connsiteX2683" fmla="*/ 3784355 w 8023328"/>
              <a:gd name="connsiteY2683" fmla="*/ 653243 h 2380521"/>
              <a:gd name="connsiteX2684" fmla="*/ 3796752 w 8023328"/>
              <a:gd name="connsiteY2684" fmla="*/ 640846 h 2380521"/>
              <a:gd name="connsiteX2685" fmla="*/ 3725922 w 8023328"/>
              <a:gd name="connsiteY2685" fmla="*/ 640846 h 2380521"/>
              <a:gd name="connsiteX2686" fmla="*/ 3739778 w 8023328"/>
              <a:gd name="connsiteY2686" fmla="*/ 653243 h 2380521"/>
              <a:gd name="connsiteX2687" fmla="*/ 3725922 w 8023328"/>
              <a:gd name="connsiteY2687" fmla="*/ 667100 h 2380521"/>
              <a:gd name="connsiteX2688" fmla="*/ 3713525 w 8023328"/>
              <a:gd name="connsiteY2688" fmla="*/ 653243 h 2380521"/>
              <a:gd name="connsiteX2689" fmla="*/ 3725922 w 8023328"/>
              <a:gd name="connsiteY2689" fmla="*/ 640846 h 2380521"/>
              <a:gd name="connsiteX2690" fmla="*/ 3655091 w 8023328"/>
              <a:gd name="connsiteY2690" fmla="*/ 640846 h 2380521"/>
              <a:gd name="connsiteX2691" fmla="*/ 3668947 w 8023328"/>
              <a:gd name="connsiteY2691" fmla="*/ 653243 h 2380521"/>
              <a:gd name="connsiteX2692" fmla="*/ 3655091 w 8023328"/>
              <a:gd name="connsiteY2692" fmla="*/ 667100 h 2380521"/>
              <a:gd name="connsiteX2693" fmla="*/ 3642694 w 8023328"/>
              <a:gd name="connsiteY2693" fmla="*/ 653243 h 2380521"/>
              <a:gd name="connsiteX2694" fmla="*/ 3655091 w 8023328"/>
              <a:gd name="connsiteY2694" fmla="*/ 640846 h 2380521"/>
              <a:gd name="connsiteX2695" fmla="*/ 3583280 w 8023328"/>
              <a:gd name="connsiteY2695" fmla="*/ 640846 h 2380521"/>
              <a:gd name="connsiteX2696" fmla="*/ 3598069 w 8023328"/>
              <a:gd name="connsiteY2696" fmla="*/ 653243 h 2380521"/>
              <a:gd name="connsiteX2697" fmla="*/ 3583280 w 8023328"/>
              <a:gd name="connsiteY2697" fmla="*/ 667100 h 2380521"/>
              <a:gd name="connsiteX2698" fmla="*/ 3568491 w 8023328"/>
              <a:gd name="connsiteY2698" fmla="*/ 653243 h 2380521"/>
              <a:gd name="connsiteX2699" fmla="*/ 3583280 w 8023328"/>
              <a:gd name="connsiteY2699" fmla="*/ 640846 h 2380521"/>
              <a:gd name="connsiteX2700" fmla="*/ 3512449 w 8023328"/>
              <a:gd name="connsiteY2700" fmla="*/ 640846 h 2380521"/>
              <a:gd name="connsiteX2701" fmla="*/ 3527237 w 8023328"/>
              <a:gd name="connsiteY2701" fmla="*/ 653243 h 2380521"/>
              <a:gd name="connsiteX2702" fmla="*/ 3512449 w 8023328"/>
              <a:gd name="connsiteY2702" fmla="*/ 667100 h 2380521"/>
              <a:gd name="connsiteX2703" fmla="*/ 3497661 w 8023328"/>
              <a:gd name="connsiteY2703" fmla="*/ 653243 h 2380521"/>
              <a:gd name="connsiteX2704" fmla="*/ 3512449 w 8023328"/>
              <a:gd name="connsiteY2704" fmla="*/ 640846 h 2380521"/>
              <a:gd name="connsiteX2705" fmla="*/ 3441619 w 8023328"/>
              <a:gd name="connsiteY2705" fmla="*/ 640846 h 2380521"/>
              <a:gd name="connsiteX2706" fmla="*/ 3456408 w 8023328"/>
              <a:gd name="connsiteY2706" fmla="*/ 653243 h 2380521"/>
              <a:gd name="connsiteX2707" fmla="*/ 3441619 w 8023328"/>
              <a:gd name="connsiteY2707" fmla="*/ 667100 h 2380521"/>
              <a:gd name="connsiteX2708" fmla="*/ 3426830 w 8023328"/>
              <a:gd name="connsiteY2708" fmla="*/ 653243 h 2380521"/>
              <a:gd name="connsiteX2709" fmla="*/ 3441619 w 8023328"/>
              <a:gd name="connsiteY2709" fmla="*/ 640846 h 2380521"/>
              <a:gd name="connsiteX2710" fmla="*/ 3369857 w 8023328"/>
              <a:gd name="connsiteY2710" fmla="*/ 640846 h 2380521"/>
              <a:gd name="connsiteX2711" fmla="*/ 3382254 w 8023328"/>
              <a:gd name="connsiteY2711" fmla="*/ 653243 h 2380521"/>
              <a:gd name="connsiteX2712" fmla="*/ 3369857 w 8023328"/>
              <a:gd name="connsiteY2712" fmla="*/ 667100 h 2380521"/>
              <a:gd name="connsiteX2713" fmla="*/ 3356001 w 8023328"/>
              <a:gd name="connsiteY2713" fmla="*/ 653243 h 2380521"/>
              <a:gd name="connsiteX2714" fmla="*/ 3369857 w 8023328"/>
              <a:gd name="connsiteY2714" fmla="*/ 640846 h 2380521"/>
              <a:gd name="connsiteX2715" fmla="*/ 3299091 w 8023328"/>
              <a:gd name="connsiteY2715" fmla="*/ 640846 h 2380521"/>
              <a:gd name="connsiteX2716" fmla="*/ 3311488 w 8023328"/>
              <a:gd name="connsiteY2716" fmla="*/ 653243 h 2380521"/>
              <a:gd name="connsiteX2717" fmla="*/ 3299091 w 8023328"/>
              <a:gd name="connsiteY2717" fmla="*/ 667100 h 2380521"/>
              <a:gd name="connsiteX2718" fmla="*/ 3285237 w 8023328"/>
              <a:gd name="connsiteY2718" fmla="*/ 653243 h 2380521"/>
              <a:gd name="connsiteX2719" fmla="*/ 3299091 w 8023328"/>
              <a:gd name="connsiteY2719" fmla="*/ 640846 h 2380521"/>
              <a:gd name="connsiteX2720" fmla="*/ 3228258 w 8023328"/>
              <a:gd name="connsiteY2720" fmla="*/ 640846 h 2380521"/>
              <a:gd name="connsiteX2721" fmla="*/ 3240658 w 8023328"/>
              <a:gd name="connsiteY2721" fmla="*/ 653243 h 2380521"/>
              <a:gd name="connsiteX2722" fmla="*/ 3228258 w 8023328"/>
              <a:gd name="connsiteY2722" fmla="*/ 667100 h 2380521"/>
              <a:gd name="connsiteX2723" fmla="*/ 3214403 w 8023328"/>
              <a:gd name="connsiteY2723" fmla="*/ 653243 h 2380521"/>
              <a:gd name="connsiteX2724" fmla="*/ 3228258 w 8023328"/>
              <a:gd name="connsiteY2724" fmla="*/ 640846 h 2380521"/>
              <a:gd name="connsiteX2725" fmla="*/ 3152597 w 8023328"/>
              <a:gd name="connsiteY2725" fmla="*/ 640846 h 2380521"/>
              <a:gd name="connsiteX2726" fmla="*/ 3166454 w 8023328"/>
              <a:gd name="connsiteY2726" fmla="*/ 653243 h 2380521"/>
              <a:gd name="connsiteX2727" fmla="*/ 3152597 w 8023328"/>
              <a:gd name="connsiteY2727" fmla="*/ 667100 h 2380521"/>
              <a:gd name="connsiteX2728" fmla="*/ 3140200 w 8023328"/>
              <a:gd name="connsiteY2728" fmla="*/ 653243 h 2380521"/>
              <a:gd name="connsiteX2729" fmla="*/ 3152597 w 8023328"/>
              <a:gd name="connsiteY2729" fmla="*/ 640846 h 2380521"/>
              <a:gd name="connsiteX2730" fmla="*/ 3081767 w 8023328"/>
              <a:gd name="connsiteY2730" fmla="*/ 640846 h 2380521"/>
              <a:gd name="connsiteX2731" fmla="*/ 3095620 w 8023328"/>
              <a:gd name="connsiteY2731" fmla="*/ 653243 h 2380521"/>
              <a:gd name="connsiteX2732" fmla="*/ 3081767 w 8023328"/>
              <a:gd name="connsiteY2732" fmla="*/ 667100 h 2380521"/>
              <a:gd name="connsiteX2733" fmla="*/ 3069366 w 8023328"/>
              <a:gd name="connsiteY2733" fmla="*/ 653243 h 2380521"/>
              <a:gd name="connsiteX2734" fmla="*/ 3081767 w 8023328"/>
              <a:gd name="connsiteY2734" fmla="*/ 640846 h 2380521"/>
              <a:gd name="connsiteX2735" fmla="*/ 3013710 w 8023328"/>
              <a:gd name="connsiteY2735" fmla="*/ 640846 h 2380521"/>
              <a:gd name="connsiteX2736" fmla="*/ 3028129 w 8023328"/>
              <a:gd name="connsiteY2736" fmla="*/ 653243 h 2380521"/>
              <a:gd name="connsiteX2737" fmla="*/ 3013710 w 8023328"/>
              <a:gd name="connsiteY2737" fmla="*/ 667100 h 2380521"/>
              <a:gd name="connsiteX2738" fmla="*/ 2998534 w 8023328"/>
              <a:gd name="connsiteY2738" fmla="*/ 653243 h 2380521"/>
              <a:gd name="connsiteX2739" fmla="*/ 3013710 w 8023328"/>
              <a:gd name="connsiteY2739" fmla="*/ 640846 h 2380521"/>
              <a:gd name="connsiteX2740" fmla="*/ 2942488 w 8023328"/>
              <a:gd name="connsiteY2740" fmla="*/ 640846 h 2380521"/>
              <a:gd name="connsiteX2741" fmla="*/ 2957280 w 8023328"/>
              <a:gd name="connsiteY2741" fmla="*/ 653243 h 2380521"/>
              <a:gd name="connsiteX2742" fmla="*/ 2942488 w 8023328"/>
              <a:gd name="connsiteY2742" fmla="*/ 667100 h 2380521"/>
              <a:gd name="connsiteX2743" fmla="*/ 2927703 w 8023328"/>
              <a:gd name="connsiteY2743" fmla="*/ 653243 h 2380521"/>
              <a:gd name="connsiteX2744" fmla="*/ 2942488 w 8023328"/>
              <a:gd name="connsiteY2744" fmla="*/ 640846 h 2380521"/>
              <a:gd name="connsiteX2745" fmla="*/ 2868288 w 8023328"/>
              <a:gd name="connsiteY2745" fmla="*/ 640846 h 2380521"/>
              <a:gd name="connsiteX2746" fmla="*/ 2883082 w 8023328"/>
              <a:gd name="connsiteY2746" fmla="*/ 653243 h 2380521"/>
              <a:gd name="connsiteX2747" fmla="*/ 2868288 w 8023328"/>
              <a:gd name="connsiteY2747" fmla="*/ 667100 h 2380521"/>
              <a:gd name="connsiteX2748" fmla="*/ 2853498 w 8023328"/>
              <a:gd name="connsiteY2748" fmla="*/ 653243 h 2380521"/>
              <a:gd name="connsiteX2749" fmla="*/ 2868288 w 8023328"/>
              <a:gd name="connsiteY2749" fmla="*/ 640846 h 2380521"/>
              <a:gd name="connsiteX2750" fmla="*/ 2796532 w 8023328"/>
              <a:gd name="connsiteY2750" fmla="*/ 640846 h 2380521"/>
              <a:gd name="connsiteX2751" fmla="*/ 2808926 w 8023328"/>
              <a:gd name="connsiteY2751" fmla="*/ 653243 h 2380521"/>
              <a:gd name="connsiteX2752" fmla="*/ 2796532 w 8023328"/>
              <a:gd name="connsiteY2752" fmla="*/ 667100 h 2380521"/>
              <a:gd name="connsiteX2753" fmla="*/ 2782673 w 8023328"/>
              <a:gd name="connsiteY2753" fmla="*/ 653243 h 2380521"/>
              <a:gd name="connsiteX2754" fmla="*/ 2796532 w 8023328"/>
              <a:gd name="connsiteY2754" fmla="*/ 640846 h 2380521"/>
              <a:gd name="connsiteX2755" fmla="*/ 2725692 w 8023328"/>
              <a:gd name="connsiteY2755" fmla="*/ 640846 h 2380521"/>
              <a:gd name="connsiteX2756" fmla="*/ 2738097 w 8023328"/>
              <a:gd name="connsiteY2756" fmla="*/ 653243 h 2380521"/>
              <a:gd name="connsiteX2757" fmla="*/ 2725692 w 8023328"/>
              <a:gd name="connsiteY2757" fmla="*/ 667100 h 2380521"/>
              <a:gd name="connsiteX2758" fmla="*/ 2711843 w 8023328"/>
              <a:gd name="connsiteY2758" fmla="*/ 653243 h 2380521"/>
              <a:gd name="connsiteX2759" fmla="*/ 2725692 w 8023328"/>
              <a:gd name="connsiteY2759" fmla="*/ 640846 h 2380521"/>
              <a:gd name="connsiteX2760" fmla="*/ 2654867 w 8023328"/>
              <a:gd name="connsiteY2760" fmla="*/ 640846 h 2380521"/>
              <a:gd name="connsiteX2761" fmla="*/ 2667266 w 8023328"/>
              <a:gd name="connsiteY2761" fmla="*/ 653243 h 2380521"/>
              <a:gd name="connsiteX2762" fmla="*/ 2654867 w 8023328"/>
              <a:gd name="connsiteY2762" fmla="*/ 667100 h 2380521"/>
              <a:gd name="connsiteX2763" fmla="*/ 2641013 w 8023328"/>
              <a:gd name="connsiteY2763" fmla="*/ 653243 h 2380521"/>
              <a:gd name="connsiteX2764" fmla="*/ 2654867 w 8023328"/>
              <a:gd name="connsiteY2764" fmla="*/ 640846 h 2380521"/>
              <a:gd name="connsiteX2765" fmla="*/ 2582577 w 8023328"/>
              <a:gd name="connsiteY2765" fmla="*/ 640846 h 2380521"/>
              <a:gd name="connsiteX2766" fmla="*/ 2596432 w 8023328"/>
              <a:gd name="connsiteY2766" fmla="*/ 654702 h 2380521"/>
              <a:gd name="connsiteX2767" fmla="*/ 2582577 w 8023328"/>
              <a:gd name="connsiteY2767" fmla="*/ 667100 h 2380521"/>
              <a:gd name="connsiteX2768" fmla="*/ 2570181 w 8023328"/>
              <a:gd name="connsiteY2768" fmla="*/ 654702 h 2380521"/>
              <a:gd name="connsiteX2769" fmla="*/ 2582577 w 8023328"/>
              <a:gd name="connsiteY2769" fmla="*/ 640846 h 2380521"/>
              <a:gd name="connsiteX2770" fmla="*/ 1728254 w 8023328"/>
              <a:gd name="connsiteY2770" fmla="*/ 640846 h 2380521"/>
              <a:gd name="connsiteX2771" fmla="*/ 1743044 w 8023328"/>
              <a:gd name="connsiteY2771" fmla="*/ 654702 h 2380521"/>
              <a:gd name="connsiteX2772" fmla="*/ 1728254 w 8023328"/>
              <a:gd name="connsiteY2772" fmla="*/ 667100 h 2380521"/>
              <a:gd name="connsiteX2773" fmla="*/ 1713464 w 8023328"/>
              <a:gd name="connsiteY2773" fmla="*/ 654702 h 2380521"/>
              <a:gd name="connsiteX2774" fmla="*/ 1728254 w 8023328"/>
              <a:gd name="connsiteY2774" fmla="*/ 640846 h 2380521"/>
              <a:gd name="connsiteX2775" fmla="*/ 1657423 w 8023328"/>
              <a:gd name="connsiteY2775" fmla="*/ 640846 h 2380521"/>
              <a:gd name="connsiteX2776" fmla="*/ 1672215 w 8023328"/>
              <a:gd name="connsiteY2776" fmla="*/ 654702 h 2380521"/>
              <a:gd name="connsiteX2777" fmla="*/ 1657423 w 8023328"/>
              <a:gd name="connsiteY2777" fmla="*/ 667100 h 2380521"/>
              <a:gd name="connsiteX2778" fmla="*/ 1642644 w 8023328"/>
              <a:gd name="connsiteY2778" fmla="*/ 654702 h 2380521"/>
              <a:gd name="connsiteX2779" fmla="*/ 1657423 w 8023328"/>
              <a:gd name="connsiteY2779" fmla="*/ 640846 h 2380521"/>
              <a:gd name="connsiteX2780" fmla="*/ 1582290 w 8023328"/>
              <a:gd name="connsiteY2780" fmla="*/ 640846 h 2380521"/>
              <a:gd name="connsiteX2781" fmla="*/ 1594694 w 8023328"/>
              <a:gd name="connsiteY2781" fmla="*/ 654702 h 2380521"/>
              <a:gd name="connsiteX2782" fmla="*/ 1582290 w 8023328"/>
              <a:gd name="connsiteY2782" fmla="*/ 667100 h 2380521"/>
              <a:gd name="connsiteX2783" fmla="*/ 1568435 w 8023328"/>
              <a:gd name="connsiteY2783" fmla="*/ 654702 h 2380521"/>
              <a:gd name="connsiteX2784" fmla="*/ 1582290 w 8023328"/>
              <a:gd name="connsiteY2784" fmla="*/ 640846 h 2380521"/>
              <a:gd name="connsiteX2785" fmla="*/ 1512190 w 8023328"/>
              <a:gd name="connsiteY2785" fmla="*/ 640846 h 2380521"/>
              <a:gd name="connsiteX2786" fmla="*/ 1523859 w 8023328"/>
              <a:gd name="connsiteY2786" fmla="*/ 654702 h 2380521"/>
              <a:gd name="connsiteX2787" fmla="*/ 1512190 w 8023328"/>
              <a:gd name="connsiteY2787" fmla="*/ 667100 h 2380521"/>
              <a:gd name="connsiteX2788" fmla="*/ 1497604 w 8023328"/>
              <a:gd name="connsiteY2788" fmla="*/ 654702 h 2380521"/>
              <a:gd name="connsiteX2789" fmla="*/ 1512190 w 8023328"/>
              <a:gd name="connsiteY2789" fmla="*/ 640846 h 2380521"/>
              <a:gd name="connsiteX2790" fmla="*/ 1440623 w 8023328"/>
              <a:gd name="connsiteY2790" fmla="*/ 640846 h 2380521"/>
              <a:gd name="connsiteX2791" fmla="*/ 1453017 w 8023328"/>
              <a:gd name="connsiteY2791" fmla="*/ 654702 h 2380521"/>
              <a:gd name="connsiteX2792" fmla="*/ 1440623 w 8023328"/>
              <a:gd name="connsiteY2792" fmla="*/ 667100 h 2380521"/>
              <a:gd name="connsiteX2793" fmla="*/ 1426767 w 8023328"/>
              <a:gd name="connsiteY2793" fmla="*/ 654702 h 2380521"/>
              <a:gd name="connsiteX2794" fmla="*/ 1440623 w 8023328"/>
              <a:gd name="connsiteY2794" fmla="*/ 640846 h 2380521"/>
              <a:gd name="connsiteX2795" fmla="*/ 1368339 w 8023328"/>
              <a:gd name="connsiteY2795" fmla="*/ 640846 h 2380521"/>
              <a:gd name="connsiteX2796" fmla="*/ 1382194 w 8023328"/>
              <a:gd name="connsiteY2796" fmla="*/ 654702 h 2380521"/>
              <a:gd name="connsiteX2797" fmla="*/ 1368339 w 8023328"/>
              <a:gd name="connsiteY2797" fmla="*/ 667100 h 2380521"/>
              <a:gd name="connsiteX2798" fmla="*/ 1355943 w 8023328"/>
              <a:gd name="connsiteY2798" fmla="*/ 654702 h 2380521"/>
              <a:gd name="connsiteX2799" fmla="*/ 1368339 w 8023328"/>
              <a:gd name="connsiteY2799" fmla="*/ 640846 h 2380521"/>
              <a:gd name="connsiteX2800" fmla="*/ 1297512 w 8023328"/>
              <a:gd name="connsiteY2800" fmla="*/ 640846 h 2380521"/>
              <a:gd name="connsiteX2801" fmla="*/ 1311369 w 8023328"/>
              <a:gd name="connsiteY2801" fmla="*/ 654702 h 2380521"/>
              <a:gd name="connsiteX2802" fmla="*/ 1297512 w 8023328"/>
              <a:gd name="connsiteY2802" fmla="*/ 667100 h 2380521"/>
              <a:gd name="connsiteX2803" fmla="*/ 1285116 w 8023328"/>
              <a:gd name="connsiteY2803" fmla="*/ 654702 h 2380521"/>
              <a:gd name="connsiteX2804" fmla="*/ 1297512 w 8023328"/>
              <a:gd name="connsiteY2804" fmla="*/ 640846 h 2380521"/>
              <a:gd name="connsiteX2805" fmla="*/ 1226680 w 8023328"/>
              <a:gd name="connsiteY2805" fmla="*/ 640846 h 2380521"/>
              <a:gd name="connsiteX2806" fmla="*/ 1240537 w 8023328"/>
              <a:gd name="connsiteY2806" fmla="*/ 654702 h 2380521"/>
              <a:gd name="connsiteX2807" fmla="*/ 1226680 w 8023328"/>
              <a:gd name="connsiteY2807" fmla="*/ 667100 h 2380521"/>
              <a:gd name="connsiteX2808" fmla="*/ 1214291 w 8023328"/>
              <a:gd name="connsiteY2808" fmla="*/ 654702 h 2380521"/>
              <a:gd name="connsiteX2809" fmla="*/ 1226680 w 8023328"/>
              <a:gd name="connsiteY2809" fmla="*/ 640846 h 2380521"/>
              <a:gd name="connsiteX2810" fmla="*/ 1154878 w 8023328"/>
              <a:gd name="connsiteY2810" fmla="*/ 640846 h 2380521"/>
              <a:gd name="connsiteX2811" fmla="*/ 1169666 w 8023328"/>
              <a:gd name="connsiteY2811" fmla="*/ 654702 h 2380521"/>
              <a:gd name="connsiteX2812" fmla="*/ 1154878 w 8023328"/>
              <a:gd name="connsiteY2812" fmla="*/ 667100 h 2380521"/>
              <a:gd name="connsiteX2813" fmla="*/ 1140088 w 8023328"/>
              <a:gd name="connsiteY2813" fmla="*/ 654702 h 2380521"/>
              <a:gd name="connsiteX2814" fmla="*/ 1154878 w 8023328"/>
              <a:gd name="connsiteY2814" fmla="*/ 640846 h 2380521"/>
              <a:gd name="connsiteX2815" fmla="*/ 1084051 w 8023328"/>
              <a:gd name="connsiteY2815" fmla="*/ 640846 h 2380521"/>
              <a:gd name="connsiteX2816" fmla="*/ 1098838 w 8023328"/>
              <a:gd name="connsiteY2816" fmla="*/ 654702 h 2380521"/>
              <a:gd name="connsiteX2817" fmla="*/ 1084051 w 8023328"/>
              <a:gd name="connsiteY2817" fmla="*/ 667100 h 2380521"/>
              <a:gd name="connsiteX2818" fmla="*/ 1069261 w 8023328"/>
              <a:gd name="connsiteY2818" fmla="*/ 654702 h 2380521"/>
              <a:gd name="connsiteX2819" fmla="*/ 1084051 w 8023328"/>
              <a:gd name="connsiteY2819" fmla="*/ 640846 h 2380521"/>
              <a:gd name="connsiteX2820" fmla="*/ 1013010 w 8023328"/>
              <a:gd name="connsiteY2820" fmla="*/ 640846 h 2380521"/>
              <a:gd name="connsiteX2821" fmla="*/ 1024682 w 8023328"/>
              <a:gd name="connsiteY2821" fmla="*/ 654702 h 2380521"/>
              <a:gd name="connsiteX2822" fmla="*/ 1013010 w 8023328"/>
              <a:gd name="connsiteY2822" fmla="*/ 667100 h 2380521"/>
              <a:gd name="connsiteX2823" fmla="*/ 998429 w 8023328"/>
              <a:gd name="connsiteY2823" fmla="*/ 654702 h 2380521"/>
              <a:gd name="connsiteX2824" fmla="*/ 1013010 w 8023328"/>
              <a:gd name="connsiteY2824" fmla="*/ 640846 h 2380521"/>
              <a:gd name="connsiteX2825" fmla="*/ 941457 w 8023328"/>
              <a:gd name="connsiteY2825" fmla="*/ 640846 h 2380521"/>
              <a:gd name="connsiteX2826" fmla="*/ 953852 w 8023328"/>
              <a:gd name="connsiteY2826" fmla="*/ 654702 h 2380521"/>
              <a:gd name="connsiteX2827" fmla="*/ 941457 w 8023328"/>
              <a:gd name="connsiteY2827" fmla="*/ 667100 h 2380521"/>
              <a:gd name="connsiteX2828" fmla="*/ 927599 w 8023328"/>
              <a:gd name="connsiteY2828" fmla="*/ 654702 h 2380521"/>
              <a:gd name="connsiteX2829" fmla="*/ 941457 w 8023328"/>
              <a:gd name="connsiteY2829" fmla="*/ 640846 h 2380521"/>
              <a:gd name="connsiteX2830" fmla="*/ 870622 w 8023328"/>
              <a:gd name="connsiteY2830" fmla="*/ 640846 h 2380521"/>
              <a:gd name="connsiteX2831" fmla="*/ 883024 w 8023328"/>
              <a:gd name="connsiteY2831" fmla="*/ 654702 h 2380521"/>
              <a:gd name="connsiteX2832" fmla="*/ 870622 w 8023328"/>
              <a:gd name="connsiteY2832" fmla="*/ 667100 h 2380521"/>
              <a:gd name="connsiteX2833" fmla="*/ 856770 w 8023328"/>
              <a:gd name="connsiteY2833" fmla="*/ 654702 h 2380521"/>
              <a:gd name="connsiteX2834" fmla="*/ 870622 w 8023328"/>
              <a:gd name="connsiteY2834" fmla="*/ 640846 h 2380521"/>
              <a:gd name="connsiteX2835" fmla="*/ 798337 w 8023328"/>
              <a:gd name="connsiteY2835" fmla="*/ 640846 h 2380521"/>
              <a:gd name="connsiteX2836" fmla="*/ 812191 w 8023328"/>
              <a:gd name="connsiteY2836" fmla="*/ 655635 h 2380521"/>
              <a:gd name="connsiteX2837" fmla="*/ 798337 w 8023328"/>
              <a:gd name="connsiteY2837" fmla="*/ 670424 h 2380521"/>
              <a:gd name="connsiteX2838" fmla="*/ 785937 w 8023328"/>
              <a:gd name="connsiteY2838" fmla="*/ 655635 h 2380521"/>
              <a:gd name="connsiteX2839" fmla="*/ 798337 w 8023328"/>
              <a:gd name="connsiteY2839" fmla="*/ 640846 h 2380521"/>
              <a:gd name="connsiteX2840" fmla="*/ 724134 w 8023328"/>
              <a:gd name="connsiteY2840" fmla="*/ 640846 h 2380521"/>
              <a:gd name="connsiteX2841" fmla="*/ 737989 w 8023328"/>
              <a:gd name="connsiteY2841" fmla="*/ 655635 h 2380521"/>
              <a:gd name="connsiteX2842" fmla="*/ 724134 w 8023328"/>
              <a:gd name="connsiteY2842" fmla="*/ 670424 h 2380521"/>
              <a:gd name="connsiteX2843" fmla="*/ 711735 w 8023328"/>
              <a:gd name="connsiteY2843" fmla="*/ 655635 h 2380521"/>
              <a:gd name="connsiteX2844" fmla="*/ 724134 w 8023328"/>
              <a:gd name="connsiteY2844" fmla="*/ 640846 h 2380521"/>
              <a:gd name="connsiteX2845" fmla="*/ 653301 w 8023328"/>
              <a:gd name="connsiteY2845" fmla="*/ 640846 h 2380521"/>
              <a:gd name="connsiteX2846" fmla="*/ 667160 w 8023328"/>
              <a:gd name="connsiteY2846" fmla="*/ 655635 h 2380521"/>
              <a:gd name="connsiteX2847" fmla="*/ 653301 w 8023328"/>
              <a:gd name="connsiteY2847" fmla="*/ 670424 h 2380521"/>
              <a:gd name="connsiteX2848" fmla="*/ 640907 w 8023328"/>
              <a:gd name="connsiteY2848" fmla="*/ 655635 h 2380521"/>
              <a:gd name="connsiteX2849" fmla="*/ 653301 w 8023328"/>
              <a:gd name="connsiteY2849" fmla="*/ 640846 h 2380521"/>
              <a:gd name="connsiteX2850" fmla="*/ 584864 w 8023328"/>
              <a:gd name="connsiteY2850" fmla="*/ 640846 h 2380521"/>
              <a:gd name="connsiteX2851" fmla="*/ 599651 w 8023328"/>
              <a:gd name="connsiteY2851" fmla="*/ 655635 h 2380521"/>
              <a:gd name="connsiteX2852" fmla="*/ 584864 w 8023328"/>
              <a:gd name="connsiteY2852" fmla="*/ 670424 h 2380521"/>
              <a:gd name="connsiteX2853" fmla="*/ 570075 w 8023328"/>
              <a:gd name="connsiteY2853" fmla="*/ 655635 h 2380521"/>
              <a:gd name="connsiteX2854" fmla="*/ 584864 w 8023328"/>
              <a:gd name="connsiteY2854" fmla="*/ 640846 h 2380521"/>
              <a:gd name="connsiteX2855" fmla="*/ 513663 w 8023328"/>
              <a:gd name="connsiteY2855" fmla="*/ 640846 h 2380521"/>
              <a:gd name="connsiteX2856" fmla="*/ 528843 w 8023328"/>
              <a:gd name="connsiteY2856" fmla="*/ 655635 h 2380521"/>
              <a:gd name="connsiteX2857" fmla="*/ 513663 w 8023328"/>
              <a:gd name="connsiteY2857" fmla="*/ 670424 h 2380521"/>
              <a:gd name="connsiteX2858" fmla="*/ 499246 w 8023328"/>
              <a:gd name="connsiteY2858" fmla="*/ 655635 h 2380521"/>
              <a:gd name="connsiteX2859" fmla="*/ 513663 w 8023328"/>
              <a:gd name="connsiteY2859" fmla="*/ 640846 h 2380521"/>
              <a:gd name="connsiteX2860" fmla="*/ 439832 w 8023328"/>
              <a:gd name="connsiteY2860" fmla="*/ 640846 h 2380521"/>
              <a:gd name="connsiteX2861" fmla="*/ 454622 w 8023328"/>
              <a:gd name="connsiteY2861" fmla="*/ 655635 h 2380521"/>
              <a:gd name="connsiteX2862" fmla="*/ 439832 w 8023328"/>
              <a:gd name="connsiteY2862" fmla="*/ 670424 h 2380521"/>
              <a:gd name="connsiteX2863" fmla="*/ 425044 w 8023328"/>
              <a:gd name="connsiteY2863" fmla="*/ 655635 h 2380521"/>
              <a:gd name="connsiteX2864" fmla="*/ 439832 w 8023328"/>
              <a:gd name="connsiteY2864" fmla="*/ 640846 h 2380521"/>
              <a:gd name="connsiteX2865" fmla="*/ 368070 w 8023328"/>
              <a:gd name="connsiteY2865" fmla="*/ 640846 h 2380521"/>
              <a:gd name="connsiteX2866" fmla="*/ 380465 w 8023328"/>
              <a:gd name="connsiteY2866" fmla="*/ 655635 h 2380521"/>
              <a:gd name="connsiteX2867" fmla="*/ 368070 w 8023328"/>
              <a:gd name="connsiteY2867" fmla="*/ 670424 h 2380521"/>
              <a:gd name="connsiteX2868" fmla="*/ 354211 w 8023328"/>
              <a:gd name="connsiteY2868" fmla="*/ 655635 h 2380521"/>
              <a:gd name="connsiteX2869" fmla="*/ 368070 w 8023328"/>
              <a:gd name="connsiteY2869" fmla="*/ 640846 h 2380521"/>
              <a:gd name="connsiteX2870" fmla="*/ 297235 w 8023328"/>
              <a:gd name="connsiteY2870" fmla="*/ 640846 h 2380521"/>
              <a:gd name="connsiteX2871" fmla="*/ 309631 w 8023328"/>
              <a:gd name="connsiteY2871" fmla="*/ 655635 h 2380521"/>
              <a:gd name="connsiteX2872" fmla="*/ 297235 w 8023328"/>
              <a:gd name="connsiteY2872" fmla="*/ 670424 h 2380521"/>
              <a:gd name="connsiteX2873" fmla="*/ 283379 w 8023328"/>
              <a:gd name="connsiteY2873" fmla="*/ 655635 h 2380521"/>
              <a:gd name="connsiteX2874" fmla="*/ 297235 w 8023328"/>
              <a:gd name="connsiteY2874" fmla="*/ 640846 h 2380521"/>
              <a:gd name="connsiteX2875" fmla="*/ 4082465 w 8023328"/>
              <a:gd name="connsiteY2875" fmla="*/ 570017 h 2380521"/>
              <a:gd name="connsiteX2876" fmla="*/ 4097254 w 8023328"/>
              <a:gd name="connsiteY2876" fmla="*/ 584805 h 2380521"/>
              <a:gd name="connsiteX2877" fmla="*/ 4082465 w 8023328"/>
              <a:gd name="connsiteY2877" fmla="*/ 599594 h 2380521"/>
              <a:gd name="connsiteX2878" fmla="*/ 4067676 w 8023328"/>
              <a:gd name="connsiteY2878" fmla="*/ 584805 h 2380521"/>
              <a:gd name="connsiteX2879" fmla="*/ 4082465 w 8023328"/>
              <a:gd name="connsiteY2879" fmla="*/ 570017 h 2380521"/>
              <a:gd name="connsiteX2880" fmla="*/ 4010703 w 8023328"/>
              <a:gd name="connsiteY2880" fmla="*/ 570017 h 2380521"/>
              <a:gd name="connsiteX2881" fmla="*/ 4023100 w 8023328"/>
              <a:gd name="connsiteY2881" fmla="*/ 584805 h 2380521"/>
              <a:gd name="connsiteX2882" fmla="*/ 4010703 w 8023328"/>
              <a:gd name="connsiteY2882" fmla="*/ 599594 h 2380521"/>
              <a:gd name="connsiteX2883" fmla="*/ 3996847 w 8023328"/>
              <a:gd name="connsiteY2883" fmla="*/ 584805 h 2380521"/>
              <a:gd name="connsiteX2884" fmla="*/ 4010703 w 8023328"/>
              <a:gd name="connsiteY2884" fmla="*/ 570017 h 2380521"/>
              <a:gd name="connsiteX2885" fmla="*/ 3939871 w 8023328"/>
              <a:gd name="connsiteY2885" fmla="*/ 570017 h 2380521"/>
              <a:gd name="connsiteX2886" fmla="*/ 3952268 w 8023328"/>
              <a:gd name="connsiteY2886" fmla="*/ 584805 h 2380521"/>
              <a:gd name="connsiteX2887" fmla="*/ 3939871 w 8023328"/>
              <a:gd name="connsiteY2887" fmla="*/ 599594 h 2380521"/>
              <a:gd name="connsiteX2888" fmla="*/ 3926015 w 8023328"/>
              <a:gd name="connsiteY2888" fmla="*/ 584805 h 2380521"/>
              <a:gd name="connsiteX2889" fmla="*/ 3939871 w 8023328"/>
              <a:gd name="connsiteY2889" fmla="*/ 570017 h 2380521"/>
              <a:gd name="connsiteX2890" fmla="*/ 3869042 w 8023328"/>
              <a:gd name="connsiteY2890" fmla="*/ 570017 h 2380521"/>
              <a:gd name="connsiteX2891" fmla="*/ 3881439 w 8023328"/>
              <a:gd name="connsiteY2891" fmla="*/ 584805 h 2380521"/>
              <a:gd name="connsiteX2892" fmla="*/ 3869042 w 8023328"/>
              <a:gd name="connsiteY2892" fmla="*/ 599594 h 2380521"/>
              <a:gd name="connsiteX2893" fmla="*/ 3855186 w 8023328"/>
              <a:gd name="connsiteY2893" fmla="*/ 584805 h 2380521"/>
              <a:gd name="connsiteX2894" fmla="*/ 3869042 w 8023328"/>
              <a:gd name="connsiteY2894" fmla="*/ 570017 h 2380521"/>
              <a:gd name="connsiteX2895" fmla="*/ 3796752 w 8023328"/>
              <a:gd name="connsiteY2895" fmla="*/ 570017 h 2380521"/>
              <a:gd name="connsiteX2896" fmla="*/ 3810608 w 8023328"/>
              <a:gd name="connsiteY2896" fmla="*/ 584805 h 2380521"/>
              <a:gd name="connsiteX2897" fmla="*/ 3796752 w 8023328"/>
              <a:gd name="connsiteY2897" fmla="*/ 599594 h 2380521"/>
              <a:gd name="connsiteX2898" fmla="*/ 3784355 w 8023328"/>
              <a:gd name="connsiteY2898" fmla="*/ 584805 h 2380521"/>
              <a:gd name="connsiteX2899" fmla="*/ 3796752 w 8023328"/>
              <a:gd name="connsiteY2899" fmla="*/ 570017 h 2380521"/>
              <a:gd name="connsiteX2900" fmla="*/ 3725922 w 8023328"/>
              <a:gd name="connsiteY2900" fmla="*/ 570017 h 2380521"/>
              <a:gd name="connsiteX2901" fmla="*/ 3739778 w 8023328"/>
              <a:gd name="connsiteY2901" fmla="*/ 584805 h 2380521"/>
              <a:gd name="connsiteX2902" fmla="*/ 3725922 w 8023328"/>
              <a:gd name="connsiteY2902" fmla="*/ 599594 h 2380521"/>
              <a:gd name="connsiteX2903" fmla="*/ 3713525 w 8023328"/>
              <a:gd name="connsiteY2903" fmla="*/ 584805 h 2380521"/>
              <a:gd name="connsiteX2904" fmla="*/ 3725922 w 8023328"/>
              <a:gd name="connsiteY2904" fmla="*/ 570017 h 2380521"/>
              <a:gd name="connsiteX2905" fmla="*/ 3655091 w 8023328"/>
              <a:gd name="connsiteY2905" fmla="*/ 570017 h 2380521"/>
              <a:gd name="connsiteX2906" fmla="*/ 3668947 w 8023328"/>
              <a:gd name="connsiteY2906" fmla="*/ 582414 h 2380521"/>
              <a:gd name="connsiteX2907" fmla="*/ 3655091 w 8023328"/>
              <a:gd name="connsiteY2907" fmla="*/ 596271 h 2380521"/>
              <a:gd name="connsiteX2908" fmla="*/ 3642694 w 8023328"/>
              <a:gd name="connsiteY2908" fmla="*/ 582414 h 2380521"/>
              <a:gd name="connsiteX2909" fmla="*/ 3655091 w 8023328"/>
              <a:gd name="connsiteY2909" fmla="*/ 570017 h 2380521"/>
              <a:gd name="connsiteX2910" fmla="*/ 3583280 w 8023328"/>
              <a:gd name="connsiteY2910" fmla="*/ 570017 h 2380521"/>
              <a:gd name="connsiteX2911" fmla="*/ 3598069 w 8023328"/>
              <a:gd name="connsiteY2911" fmla="*/ 582414 h 2380521"/>
              <a:gd name="connsiteX2912" fmla="*/ 3583280 w 8023328"/>
              <a:gd name="connsiteY2912" fmla="*/ 596271 h 2380521"/>
              <a:gd name="connsiteX2913" fmla="*/ 3568491 w 8023328"/>
              <a:gd name="connsiteY2913" fmla="*/ 582414 h 2380521"/>
              <a:gd name="connsiteX2914" fmla="*/ 3583280 w 8023328"/>
              <a:gd name="connsiteY2914" fmla="*/ 570017 h 2380521"/>
              <a:gd name="connsiteX2915" fmla="*/ 3512449 w 8023328"/>
              <a:gd name="connsiteY2915" fmla="*/ 570017 h 2380521"/>
              <a:gd name="connsiteX2916" fmla="*/ 3527237 w 8023328"/>
              <a:gd name="connsiteY2916" fmla="*/ 582414 h 2380521"/>
              <a:gd name="connsiteX2917" fmla="*/ 3512449 w 8023328"/>
              <a:gd name="connsiteY2917" fmla="*/ 596271 h 2380521"/>
              <a:gd name="connsiteX2918" fmla="*/ 3497661 w 8023328"/>
              <a:gd name="connsiteY2918" fmla="*/ 582414 h 2380521"/>
              <a:gd name="connsiteX2919" fmla="*/ 3512449 w 8023328"/>
              <a:gd name="connsiteY2919" fmla="*/ 570017 h 2380521"/>
              <a:gd name="connsiteX2920" fmla="*/ 3441619 w 8023328"/>
              <a:gd name="connsiteY2920" fmla="*/ 570017 h 2380521"/>
              <a:gd name="connsiteX2921" fmla="*/ 3456408 w 8023328"/>
              <a:gd name="connsiteY2921" fmla="*/ 582414 h 2380521"/>
              <a:gd name="connsiteX2922" fmla="*/ 3441619 w 8023328"/>
              <a:gd name="connsiteY2922" fmla="*/ 596271 h 2380521"/>
              <a:gd name="connsiteX2923" fmla="*/ 3426830 w 8023328"/>
              <a:gd name="connsiteY2923" fmla="*/ 582414 h 2380521"/>
              <a:gd name="connsiteX2924" fmla="*/ 3441619 w 8023328"/>
              <a:gd name="connsiteY2924" fmla="*/ 570017 h 2380521"/>
              <a:gd name="connsiteX2925" fmla="*/ 3369857 w 8023328"/>
              <a:gd name="connsiteY2925" fmla="*/ 570017 h 2380521"/>
              <a:gd name="connsiteX2926" fmla="*/ 3382254 w 8023328"/>
              <a:gd name="connsiteY2926" fmla="*/ 582414 h 2380521"/>
              <a:gd name="connsiteX2927" fmla="*/ 3369857 w 8023328"/>
              <a:gd name="connsiteY2927" fmla="*/ 596271 h 2380521"/>
              <a:gd name="connsiteX2928" fmla="*/ 3356001 w 8023328"/>
              <a:gd name="connsiteY2928" fmla="*/ 582414 h 2380521"/>
              <a:gd name="connsiteX2929" fmla="*/ 3369857 w 8023328"/>
              <a:gd name="connsiteY2929" fmla="*/ 570017 h 2380521"/>
              <a:gd name="connsiteX2930" fmla="*/ 3299091 w 8023328"/>
              <a:gd name="connsiteY2930" fmla="*/ 570017 h 2380521"/>
              <a:gd name="connsiteX2931" fmla="*/ 3311491 w 8023328"/>
              <a:gd name="connsiteY2931" fmla="*/ 582414 h 2380521"/>
              <a:gd name="connsiteX2932" fmla="*/ 3299091 w 8023328"/>
              <a:gd name="connsiteY2932" fmla="*/ 596271 h 2380521"/>
              <a:gd name="connsiteX2933" fmla="*/ 3285240 w 8023328"/>
              <a:gd name="connsiteY2933" fmla="*/ 582414 h 2380521"/>
              <a:gd name="connsiteX2934" fmla="*/ 3299091 w 8023328"/>
              <a:gd name="connsiteY2934" fmla="*/ 570017 h 2380521"/>
              <a:gd name="connsiteX2935" fmla="*/ 3226803 w 8023328"/>
              <a:gd name="connsiteY2935" fmla="*/ 570017 h 2380521"/>
              <a:gd name="connsiteX2936" fmla="*/ 3240660 w 8023328"/>
              <a:gd name="connsiteY2936" fmla="*/ 582414 h 2380521"/>
              <a:gd name="connsiteX2937" fmla="*/ 3226803 w 8023328"/>
              <a:gd name="connsiteY2937" fmla="*/ 596271 h 2380521"/>
              <a:gd name="connsiteX2938" fmla="*/ 3214406 w 8023328"/>
              <a:gd name="connsiteY2938" fmla="*/ 582414 h 2380521"/>
              <a:gd name="connsiteX2939" fmla="*/ 3226803 w 8023328"/>
              <a:gd name="connsiteY2939" fmla="*/ 570017 h 2380521"/>
              <a:gd name="connsiteX2940" fmla="*/ 3152600 w 8023328"/>
              <a:gd name="connsiteY2940" fmla="*/ 570017 h 2380521"/>
              <a:gd name="connsiteX2941" fmla="*/ 3166454 w 8023328"/>
              <a:gd name="connsiteY2941" fmla="*/ 582414 h 2380521"/>
              <a:gd name="connsiteX2942" fmla="*/ 3152600 w 8023328"/>
              <a:gd name="connsiteY2942" fmla="*/ 596271 h 2380521"/>
              <a:gd name="connsiteX2943" fmla="*/ 3140203 w 8023328"/>
              <a:gd name="connsiteY2943" fmla="*/ 582414 h 2380521"/>
              <a:gd name="connsiteX2944" fmla="*/ 3152600 w 8023328"/>
              <a:gd name="connsiteY2944" fmla="*/ 570017 h 2380521"/>
              <a:gd name="connsiteX2945" fmla="*/ 3081770 w 8023328"/>
              <a:gd name="connsiteY2945" fmla="*/ 570017 h 2380521"/>
              <a:gd name="connsiteX2946" fmla="*/ 3095622 w 8023328"/>
              <a:gd name="connsiteY2946" fmla="*/ 582414 h 2380521"/>
              <a:gd name="connsiteX2947" fmla="*/ 3081770 w 8023328"/>
              <a:gd name="connsiteY2947" fmla="*/ 596271 h 2380521"/>
              <a:gd name="connsiteX2948" fmla="*/ 3069369 w 8023328"/>
              <a:gd name="connsiteY2948" fmla="*/ 582414 h 2380521"/>
              <a:gd name="connsiteX2949" fmla="*/ 3081770 w 8023328"/>
              <a:gd name="connsiteY2949" fmla="*/ 570017 h 2380521"/>
              <a:gd name="connsiteX2950" fmla="*/ 3013712 w 8023328"/>
              <a:gd name="connsiteY2950" fmla="*/ 570017 h 2380521"/>
              <a:gd name="connsiteX2951" fmla="*/ 3028132 w 8023328"/>
              <a:gd name="connsiteY2951" fmla="*/ 582414 h 2380521"/>
              <a:gd name="connsiteX2952" fmla="*/ 3013712 w 8023328"/>
              <a:gd name="connsiteY2952" fmla="*/ 596271 h 2380521"/>
              <a:gd name="connsiteX2953" fmla="*/ 2998537 w 8023328"/>
              <a:gd name="connsiteY2953" fmla="*/ 582414 h 2380521"/>
              <a:gd name="connsiteX2954" fmla="*/ 3013712 w 8023328"/>
              <a:gd name="connsiteY2954" fmla="*/ 570017 h 2380521"/>
              <a:gd name="connsiteX2955" fmla="*/ 2942491 w 8023328"/>
              <a:gd name="connsiteY2955" fmla="*/ 570017 h 2380521"/>
              <a:gd name="connsiteX2956" fmla="*/ 2957285 w 8023328"/>
              <a:gd name="connsiteY2956" fmla="*/ 582414 h 2380521"/>
              <a:gd name="connsiteX2957" fmla="*/ 2942491 w 8023328"/>
              <a:gd name="connsiteY2957" fmla="*/ 596271 h 2380521"/>
              <a:gd name="connsiteX2958" fmla="*/ 2927705 w 8023328"/>
              <a:gd name="connsiteY2958" fmla="*/ 582414 h 2380521"/>
              <a:gd name="connsiteX2959" fmla="*/ 2942491 w 8023328"/>
              <a:gd name="connsiteY2959" fmla="*/ 570017 h 2380521"/>
              <a:gd name="connsiteX2960" fmla="*/ 2868288 w 8023328"/>
              <a:gd name="connsiteY2960" fmla="*/ 570017 h 2380521"/>
              <a:gd name="connsiteX2961" fmla="*/ 2883082 w 8023328"/>
              <a:gd name="connsiteY2961" fmla="*/ 582414 h 2380521"/>
              <a:gd name="connsiteX2962" fmla="*/ 2868288 w 8023328"/>
              <a:gd name="connsiteY2962" fmla="*/ 596271 h 2380521"/>
              <a:gd name="connsiteX2963" fmla="*/ 2853502 w 8023328"/>
              <a:gd name="connsiteY2963" fmla="*/ 582414 h 2380521"/>
              <a:gd name="connsiteX2964" fmla="*/ 2868288 w 8023328"/>
              <a:gd name="connsiteY2964" fmla="*/ 570017 h 2380521"/>
              <a:gd name="connsiteX2965" fmla="*/ 2796532 w 8023328"/>
              <a:gd name="connsiteY2965" fmla="*/ 570017 h 2380521"/>
              <a:gd name="connsiteX2966" fmla="*/ 2808931 w 8023328"/>
              <a:gd name="connsiteY2966" fmla="*/ 582414 h 2380521"/>
              <a:gd name="connsiteX2967" fmla="*/ 2796532 w 8023328"/>
              <a:gd name="connsiteY2967" fmla="*/ 596271 h 2380521"/>
              <a:gd name="connsiteX2968" fmla="*/ 2782675 w 8023328"/>
              <a:gd name="connsiteY2968" fmla="*/ 582414 h 2380521"/>
              <a:gd name="connsiteX2969" fmla="*/ 2796532 w 8023328"/>
              <a:gd name="connsiteY2969" fmla="*/ 570017 h 2380521"/>
              <a:gd name="connsiteX2970" fmla="*/ 2725695 w 8023328"/>
              <a:gd name="connsiteY2970" fmla="*/ 570017 h 2380521"/>
              <a:gd name="connsiteX2971" fmla="*/ 2738097 w 8023328"/>
              <a:gd name="connsiteY2971" fmla="*/ 582414 h 2380521"/>
              <a:gd name="connsiteX2972" fmla="*/ 2725695 w 8023328"/>
              <a:gd name="connsiteY2972" fmla="*/ 596271 h 2380521"/>
              <a:gd name="connsiteX2973" fmla="*/ 2711843 w 8023328"/>
              <a:gd name="connsiteY2973" fmla="*/ 582414 h 2380521"/>
              <a:gd name="connsiteX2974" fmla="*/ 2725695 w 8023328"/>
              <a:gd name="connsiteY2974" fmla="*/ 570017 h 2380521"/>
              <a:gd name="connsiteX2975" fmla="*/ 2654867 w 8023328"/>
              <a:gd name="connsiteY2975" fmla="*/ 570017 h 2380521"/>
              <a:gd name="connsiteX2976" fmla="*/ 2667266 w 8023328"/>
              <a:gd name="connsiteY2976" fmla="*/ 582414 h 2380521"/>
              <a:gd name="connsiteX2977" fmla="*/ 2654867 w 8023328"/>
              <a:gd name="connsiteY2977" fmla="*/ 596271 h 2380521"/>
              <a:gd name="connsiteX2978" fmla="*/ 2641013 w 8023328"/>
              <a:gd name="connsiteY2978" fmla="*/ 582414 h 2380521"/>
              <a:gd name="connsiteX2979" fmla="*/ 2654867 w 8023328"/>
              <a:gd name="connsiteY2979" fmla="*/ 570017 h 2380521"/>
              <a:gd name="connsiteX2980" fmla="*/ 2582580 w 8023328"/>
              <a:gd name="connsiteY2980" fmla="*/ 570017 h 2380521"/>
              <a:gd name="connsiteX2981" fmla="*/ 2596435 w 8023328"/>
              <a:gd name="connsiteY2981" fmla="*/ 582414 h 2380521"/>
              <a:gd name="connsiteX2982" fmla="*/ 2582580 w 8023328"/>
              <a:gd name="connsiteY2982" fmla="*/ 596271 h 2380521"/>
              <a:gd name="connsiteX2983" fmla="*/ 2570184 w 8023328"/>
              <a:gd name="connsiteY2983" fmla="*/ 582414 h 2380521"/>
              <a:gd name="connsiteX2984" fmla="*/ 2582580 w 8023328"/>
              <a:gd name="connsiteY2984" fmla="*/ 570017 h 2380521"/>
              <a:gd name="connsiteX2985" fmla="*/ 2511026 w 8023328"/>
              <a:gd name="connsiteY2985" fmla="*/ 570017 h 2380521"/>
              <a:gd name="connsiteX2986" fmla="*/ 2525610 w 8023328"/>
              <a:gd name="connsiteY2986" fmla="*/ 582414 h 2380521"/>
              <a:gd name="connsiteX2987" fmla="*/ 2511026 w 8023328"/>
              <a:gd name="connsiteY2987" fmla="*/ 596271 h 2380521"/>
              <a:gd name="connsiteX2988" fmla="*/ 2499358 w 8023328"/>
              <a:gd name="connsiteY2988" fmla="*/ 582414 h 2380521"/>
              <a:gd name="connsiteX2989" fmla="*/ 2511026 w 8023328"/>
              <a:gd name="connsiteY2989" fmla="*/ 570017 h 2380521"/>
              <a:gd name="connsiteX2990" fmla="*/ 2440921 w 8023328"/>
              <a:gd name="connsiteY2990" fmla="*/ 570017 h 2380521"/>
              <a:gd name="connsiteX2991" fmla="*/ 2454778 w 8023328"/>
              <a:gd name="connsiteY2991" fmla="*/ 582414 h 2380521"/>
              <a:gd name="connsiteX2992" fmla="*/ 2440921 w 8023328"/>
              <a:gd name="connsiteY2992" fmla="*/ 596271 h 2380521"/>
              <a:gd name="connsiteX2993" fmla="*/ 2428525 w 8023328"/>
              <a:gd name="connsiteY2993" fmla="*/ 582414 h 2380521"/>
              <a:gd name="connsiteX2994" fmla="*/ 2440921 w 8023328"/>
              <a:gd name="connsiteY2994" fmla="*/ 570017 h 2380521"/>
              <a:gd name="connsiteX2995" fmla="*/ 2369108 w 8023328"/>
              <a:gd name="connsiteY2995" fmla="*/ 570017 h 2380521"/>
              <a:gd name="connsiteX2996" fmla="*/ 2383896 w 8023328"/>
              <a:gd name="connsiteY2996" fmla="*/ 582414 h 2380521"/>
              <a:gd name="connsiteX2997" fmla="*/ 2369108 w 8023328"/>
              <a:gd name="connsiteY2997" fmla="*/ 596271 h 2380521"/>
              <a:gd name="connsiteX2998" fmla="*/ 2354319 w 8023328"/>
              <a:gd name="connsiteY2998" fmla="*/ 582414 h 2380521"/>
              <a:gd name="connsiteX2999" fmla="*/ 2369108 w 8023328"/>
              <a:gd name="connsiteY2999" fmla="*/ 570017 h 2380521"/>
              <a:gd name="connsiteX3000" fmla="*/ 2298275 w 8023328"/>
              <a:gd name="connsiteY3000" fmla="*/ 570017 h 2380521"/>
              <a:gd name="connsiteX3001" fmla="*/ 2313064 w 8023328"/>
              <a:gd name="connsiteY3001" fmla="*/ 582414 h 2380521"/>
              <a:gd name="connsiteX3002" fmla="*/ 2298275 w 8023328"/>
              <a:gd name="connsiteY3002" fmla="*/ 596271 h 2380521"/>
              <a:gd name="connsiteX3003" fmla="*/ 2283487 w 8023328"/>
              <a:gd name="connsiteY3003" fmla="*/ 582414 h 2380521"/>
              <a:gd name="connsiteX3004" fmla="*/ 2298275 w 8023328"/>
              <a:gd name="connsiteY3004" fmla="*/ 570017 h 2380521"/>
              <a:gd name="connsiteX3005" fmla="*/ 2226512 w 8023328"/>
              <a:gd name="connsiteY3005" fmla="*/ 570017 h 2380521"/>
              <a:gd name="connsiteX3006" fmla="*/ 2238911 w 8023328"/>
              <a:gd name="connsiteY3006" fmla="*/ 582414 h 2380521"/>
              <a:gd name="connsiteX3007" fmla="*/ 2226512 w 8023328"/>
              <a:gd name="connsiteY3007" fmla="*/ 596271 h 2380521"/>
              <a:gd name="connsiteX3008" fmla="*/ 2212655 w 8023328"/>
              <a:gd name="connsiteY3008" fmla="*/ 582414 h 2380521"/>
              <a:gd name="connsiteX3009" fmla="*/ 2226512 w 8023328"/>
              <a:gd name="connsiteY3009" fmla="*/ 570017 h 2380521"/>
              <a:gd name="connsiteX3010" fmla="*/ 2155680 w 8023328"/>
              <a:gd name="connsiteY3010" fmla="*/ 570017 h 2380521"/>
              <a:gd name="connsiteX3011" fmla="*/ 2168079 w 8023328"/>
              <a:gd name="connsiteY3011" fmla="*/ 582414 h 2380521"/>
              <a:gd name="connsiteX3012" fmla="*/ 2155680 w 8023328"/>
              <a:gd name="connsiteY3012" fmla="*/ 596271 h 2380521"/>
              <a:gd name="connsiteX3013" fmla="*/ 2141823 w 8023328"/>
              <a:gd name="connsiteY3013" fmla="*/ 582414 h 2380521"/>
              <a:gd name="connsiteX3014" fmla="*/ 2155680 w 8023328"/>
              <a:gd name="connsiteY3014" fmla="*/ 570017 h 2380521"/>
              <a:gd name="connsiteX3015" fmla="*/ 2084846 w 8023328"/>
              <a:gd name="connsiteY3015" fmla="*/ 570017 h 2380521"/>
              <a:gd name="connsiteX3016" fmla="*/ 2097246 w 8023328"/>
              <a:gd name="connsiteY3016" fmla="*/ 582414 h 2380521"/>
              <a:gd name="connsiteX3017" fmla="*/ 2084846 w 8023328"/>
              <a:gd name="connsiteY3017" fmla="*/ 596271 h 2380521"/>
              <a:gd name="connsiteX3018" fmla="*/ 2070989 w 8023328"/>
              <a:gd name="connsiteY3018" fmla="*/ 582414 h 2380521"/>
              <a:gd name="connsiteX3019" fmla="*/ 2084846 w 8023328"/>
              <a:gd name="connsiteY3019" fmla="*/ 570017 h 2380521"/>
              <a:gd name="connsiteX3020" fmla="*/ 2011831 w 8023328"/>
              <a:gd name="connsiteY3020" fmla="*/ 570017 h 2380521"/>
              <a:gd name="connsiteX3021" fmla="*/ 2026416 w 8023328"/>
              <a:gd name="connsiteY3021" fmla="*/ 582414 h 2380521"/>
              <a:gd name="connsiteX3022" fmla="*/ 2011831 w 8023328"/>
              <a:gd name="connsiteY3022" fmla="*/ 596271 h 2380521"/>
              <a:gd name="connsiteX3023" fmla="*/ 2000163 w 8023328"/>
              <a:gd name="connsiteY3023" fmla="*/ 582414 h 2380521"/>
              <a:gd name="connsiteX3024" fmla="*/ 2011831 w 8023328"/>
              <a:gd name="connsiteY3024" fmla="*/ 570017 h 2380521"/>
              <a:gd name="connsiteX3025" fmla="*/ 1938359 w 8023328"/>
              <a:gd name="connsiteY3025" fmla="*/ 570017 h 2380521"/>
              <a:gd name="connsiteX3026" fmla="*/ 1952216 w 8023328"/>
              <a:gd name="connsiteY3026" fmla="*/ 583873 h 2380521"/>
              <a:gd name="connsiteX3027" fmla="*/ 1938359 w 8023328"/>
              <a:gd name="connsiteY3027" fmla="*/ 596271 h 2380521"/>
              <a:gd name="connsiteX3028" fmla="*/ 1925962 w 8023328"/>
              <a:gd name="connsiteY3028" fmla="*/ 583873 h 2380521"/>
              <a:gd name="connsiteX3029" fmla="*/ 1938359 w 8023328"/>
              <a:gd name="connsiteY3029" fmla="*/ 570017 h 2380521"/>
              <a:gd name="connsiteX3030" fmla="*/ 1867522 w 8023328"/>
              <a:gd name="connsiteY3030" fmla="*/ 570017 h 2380521"/>
              <a:gd name="connsiteX3031" fmla="*/ 1881382 w 8023328"/>
              <a:gd name="connsiteY3031" fmla="*/ 583873 h 2380521"/>
              <a:gd name="connsiteX3032" fmla="*/ 1867522 w 8023328"/>
              <a:gd name="connsiteY3032" fmla="*/ 596271 h 2380521"/>
              <a:gd name="connsiteX3033" fmla="*/ 1855124 w 8023328"/>
              <a:gd name="connsiteY3033" fmla="*/ 583873 h 2380521"/>
              <a:gd name="connsiteX3034" fmla="*/ 1867522 w 8023328"/>
              <a:gd name="connsiteY3034" fmla="*/ 570017 h 2380521"/>
              <a:gd name="connsiteX3035" fmla="*/ 1799082 w 8023328"/>
              <a:gd name="connsiteY3035" fmla="*/ 570017 h 2380521"/>
              <a:gd name="connsiteX3036" fmla="*/ 1813871 w 8023328"/>
              <a:gd name="connsiteY3036" fmla="*/ 583873 h 2380521"/>
              <a:gd name="connsiteX3037" fmla="*/ 1799082 w 8023328"/>
              <a:gd name="connsiteY3037" fmla="*/ 596271 h 2380521"/>
              <a:gd name="connsiteX3038" fmla="*/ 1784295 w 8023328"/>
              <a:gd name="connsiteY3038" fmla="*/ 583873 h 2380521"/>
              <a:gd name="connsiteX3039" fmla="*/ 1799082 w 8023328"/>
              <a:gd name="connsiteY3039" fmla="*/ 570017 h 2380521"/>
              <a:gd name="connsiteX3040" fmla="*/ 1728257 w 8023328"/>
              <a:gd name="connsiteY3040" fmla="*/ 570017 h 2380521"/>
              <a:gd name="connsiteX3041" fmla="*/ 1743046 w 8023328"/>
              <a:gd name="connsiteY3041" fmla="*/ 583873 h 2380521"/>
              <a:gd name="connsiteX3042" fmla="*/ 1728257 w 8023328"/>
              <a:gd name="connsiteY3042" fmla="*/ 596271 h 2380521"/>
              <a:gd name="connsiteX3043" fmla="*/ 1713467 w 8023328"/>
              <a:gd name="connsiteY3043" fmla="*/ 583873 h 2380521"/>
              <a:gd name="connsiteX3044" fmla="*/ 1728257 w 8023328"/>
              <a:gd name="connsiteY3044" fmla="*/ 570017 h 2380521"/>
              <a:gd name="connsiteX3045" fmla="*/ 1657426 w 8023328"/>
              <a:gd name="connsiteY3045" fmla="*/ 570017 h 2380521"/>
              <a:gd name="connsiteX3046" fmla="*/ 1672218 w 8023328"/>
              <a:gd name="connsiteY3046" fmla="*/ 583873 h 2380521"/>
              <a:gd name="connsiteX3047" fmla="*/ 1657426 w 8023328"/>
              <a:gd name="connsiteY3047" fmla="*/ 596271 h 2380521"/>
              <a:gd name="connsiteX3048" fmla="*/ 1642647 w 8023328"/>
              <a:gd name="connsiteY3048" fmla="*/ 583873 h 2380521"/>
              <a:gd name="connsiteX3049" fmla="*/ 1657426 w 8023328"/>
              <a:gd name="connsiteY3049" fmla="*/ 570017 h 2380521"/>
              <a:gd name="connsiteX3050" fmla="*/ 1582294 w 8023328"/>
              <a:gd name="connsiteY3050" fmla="*/ 570017 h 2380521"/>
              <a:gd name="connsiteX3051" fmla="*/ 1594694 w 8023328"/>
              <a:gd name="connsiteY3051" fmla="*/ 583873 h 2380521"/>
              <a:gd name="connsiteX3052" fmla="*/ 1582294 w 8023328"/>
              <a:gd name="connsiteY3052" fmla="*/ 596271 h 2380521"/>
              <a:gd name="connsiteX3053" fmla="*/ 1568438 w 8023328"/>
              <a:gd name="connsiteY3053" fmla="*/ 583873 h 2380521"/>
              <a:gd name="connsiteX3054" fmla="*/ 1582294 w 8023328"/>
              <a:gd name="connsiteY3054" fmla="*/ 570017 h 2380521"/>
              <a:gd name="connsiteX3055" fmla="*/ 1512190 w 8023328"/>
              <a:gd name="connsiteY3055" fmla="*/ 570017 h 2380521"/>
              <a:gd name="connsiteX3056" fmla="*/ 1523859 w 8023328"/>
              <a:gd name="connsiteY3056" fmla="*/ 583873 h 2380521"/>
              <a:gd name="connsiteX3057" fmla="*/ 1512190 w 8023328"/>
              <a:gd name="connsiteY3057" fmla="*/ 596271 h 2380521"/>
              <a:gd name="connsiteX3058" fmla="*/ 1497607 w 8023328"/>
              <a:gd name="connsiteY3058" fmla="*/ 583873 h 2380521"/>
              <a:gd name="connsiteX3059" fmla="*/ 1512190 w 8023328"/>
              <a:gd name="connsiteY3059" fmla="*/ 570017 h 2380521"/>
              <a:gd name="connsiteX3060" fmla="*/ 1440623 w 8023328"/>
              <a:gd name="connsiteY3060" fmla="*/ 570017 h 2380521"/>
              <a:gd name="connsiteX3061" fmla="*/ 1453020 w 8023328"/>
              <a:gd name="connsiteY3061" fmla="*/ 583873 h 2380521"/>
              <a:gd name="connsiteX3062" fmla="*/ 1440623 w 8023328"/>
              <a:gd name="connsiteY3062" fmla="*/ 596271 h 2380521"/>
              <a:gd name="connsiteX3063" fmla="*/ 1426771 w 8023328"/>
              <a:gd name="connsiteY3063" fmla="*/ 583873 h 2380521"/>
              <a:gd name="connsiteX3064" fmla="*/ 1440623 w 8023328"/>
              <a:gd name="connsiteY3064" fmla="*/ 570017 h 2380521"/>
              <a:gd name="connsiteX3065" fmla="*/ 1368341 w 8023328"/>
              <a:gd name="connsiteY3065" fmla="*/ 570017 h 2380521"/>
              <a:gd name="connsiteX3066" fmla="*/ 1382194 w 8023328"/>
              <a:gd name="connsiteY3066" fmla="*/ 583873 h 2380521"/>
              <a:gd name="connsiteX3067" fmla="*/ 1368341 w 8023328"/>
              <a:gd name="connsiteY3067" fmla="*/ 596271 h 2380521"/>
              <a:gd name="connsiteX3068" fmla="*/ 1355945 w 8023328"/>
              <a:gd name="connsiteY3068" fmla="*/ 583873 h 2380521"/>
              <a:gd name="connsiteX3069" fmla="*/ 1368341 w 8023328"/>
              <a:gd name="connsiteY3069" fmla="*/ 570017 h 2380521"/>
              <a:gd name="connsiteX3070" fmla="*/ 1297515 w 8023328"/>
              <a:gd name="connsiteY3070" fmla="*/ 570017 h 2380521"/>
              <a:gd name="connsiteX3071" fmla="*/ 1311369 w 8023328"/>
              <a:gd name="connsiteY3071" fmla="*/ 583873 h 2380521"/>
              <a:gd name="connsiteX3072" fmla="*/ 1297515 w 8023328"/>
              <a:gd name="connsiteY3072" fmla="*/ 596271 h 2380521"/>
              <a:gd name="connsiteX3073" fmla="*/ 1285116 w 8023328"/>
              <a:gd name="connsiteY3073" fmla="*/ 583873 h 2380521"/>
              <a:gd name="connsiteX3074" fmla="*/ 1297515 w 8023328"/>
              <a:gd name="connsiteY3074" fmla="*/ 570017 h 2380521"/>
              <a:gd name="connsiteX3075" fmla="*/ 1226680 w 8023328"/>
              <a:gd name="connsiteY3075" fmla="*/ 570017 h 2380521"/>
              <a:gd name="connsiteX3076" fmla="*/ 1240537 w 8023328"/>
              <a:gd name="connsiteY3076" fmla="*/ 583873 h 2380521"/>
              <a:gd name="connsiteX3077" fmla="*/ 1226680 w 8023328"/>
              <a:gd name="connsiteY3077" fmla="*/ 596271 h 2380521"/>
              <a:gd name="connsiteX3078" fmla="*/ 1214296 w 8023328"/>
              <a:gd name="connsiteY3078" fmla="*/ 583873 h 2380521"/>
              <a:gd name="connsiteX3079" fmla="*/ 1226680 w 8023328"/>
              <a:gd name="connsiteY3079" fmla="*/ 570017 h 2380521"/>
              <a:gd name="connsiteX3080" fmla="*/ 1154879 w 8023328"/>
              <a:gd name="connsiteY3080" fmla="*/ 570017 h 2380521"/>
              <a:gd name="connsiteX3081" fmla="*/ 1169669 w 8023328"/>
              <a:gd name="connsiteY3081" fmla="*/ 583873 h 2380521"/>
              <a:gd name="connsiteX3082" fmla="*/ 1154879 w 8023328"/>
              <a:gd name="connsiteY3082" fmla="*/ 596271 h 2380521"/>
              <a:gd name="connsiteX3083" fmla="*/ 1140090 w 8023328"/>
              <a:gd name="connsiteY3083" fmla="*/ 583873 h 2380521"/>
              <a:gd name="connsiteX3084" fmla="*/ 1154879 w 8023328"/>
              <a:gd name="connsiteY3084" fmla="*/ 570017 h 2380521"/>
              <a:gd name="connsiteX3085" fmla="*/ 1084053 w 8023328"/>
              <a:gd name="connsiteY3085" fmla="*/ 570017 h 2380521"/>
              <a:gd name="connsiteX3086" fmla="*/ 1098840 w 8023328"/>
              <a:gd name="connsiteY3086" fmla="*/ 583873 h 2380521"/>
              <a:gd name="connsiteX3087" fmla="*/ 1084053 w 8023328"/>
              <a:gd name="connsiteY3087" fmla="*/ 596271 h 2380521"/>
              <a:gd name="connsiteX3088" fmla="*/ 1069263 w 8023328"/>
              <a:gd name="connsiteY3088" fmla="*/ 583873 h 2380521"/>
              <a:gd name="connsiteX3089" fmla="*/ 1084053 w 8023328"/>
              <a:gd name="connsiteY3089" fmla="*/ 570017 h 2380521"/>
              <a:gd name="connsiteX3090" fmla="*/ 1013010 w 8023328"/>
              <a:gd name="connsiteY3090" fmla="*/ 570017 h 2380521"/>
              <a:gd name="connsiteX3091" fmla="*/ 1024682 w 8023328"/>
              <a:gd name="connsiteY3091" fmla="*/ 583873 h 2380521"/>
              <a:gd name="connsiteX3092" fmla="*/ 1013010 w 8023328"/>
              <a:gd name="connsiteY3092" fmla="*/ 596271 h 2380521"/>
              <a:gd name="connsiteX3093" fmla="*/ 998433 w 8023328"/>
              <a:gd name="connsiteY3093" fmla="*/ 583873 h 2380521"/>
              <a:gd name="connsiteX3094" fmla="*/ 1013010 w 8023328"/>
              <a:gd name="connsiteY3094" fmla="*/ 570017 h 2380521"/>
              <a:gd name="connsiteX3095" fmla="*/ 941458 w 8023328"/>
              <a:gd name="connsiteY3095" fmla="*/ 570017 h 2380521"/>
              <a:gd name="connsiteX3096" fmla="*/ 953857 w 8023328"/>
              <a:gd name="connsiteY3096" fmla="*/ 583873 h 2380521"/>
              <a:gd name="connsiteX3097" fmla="*/ 941458 w 8023328"/>
              <a:gd name="connsiteY3097" fmla="*/ 596271 h 2380521"/>
              <a:gd name="connsiteX3098" fmla="*/ 927601 w 8023328"/>
              <a:gd name="connsiteY3098" fmla="*/ 583873 h 2380521"/>
              <a:gd name="connsiteX3099" fmla="*/ 941458 w 8023328"/>
              <a:gd name="connsiteY3099" fmla="*/ 570017 h 2380521"/>
              <a:gd name="connsiteX3100" fmla="*/ 870626 w 8023328"/>
              <a:gd name="connsiteY3100" fmla="*/ 570017 h 2380521"/>
              <a:gd name="connsiteX3101" fmla="*/ 883027 w 8023328"/>
              <a:gd name="connsiteY3101" fmla="*/ 583873 h 2380521"/>
              <a:gd name="connsiteX3102" fmla="*/ 870626 w 8023328"/>
              <a:gd name="connsiteY3102" fmla="*/ 596271 h 2380521"/>
              <a:gd name="connsiteX3103" fmla="*/ 856772 w 8023328"/>
              <a:gd name="connsiteY3103" fmla="*/ 583873 h 2380521"/>
              <a:gd name="connsiteX3104" fmla="*/ 870626 w 8023328"/>
              <a:gd name="connsiteY3104" fmla="*/ 570017 h 2380521"/>
              <a:gd name="connsiteX3105" fmla="*/ 798340 w 8023328"/>
              <a:gd name="connsiteY3105" fmla="*/ 570017 h 2380521"/>
              <a:gd name="connsiteX3106" fmla="*/ 812193 w 8023328"/>
              <a:gd name="connsiteY3106" fmla="*/ 583873 h 2380521"/>
              <a:gd name="connsiteX3107" fmla="*/ 798340 w 8023328"/>
              <a:gd name="connsiteY3107" fmla="*/ 596271 h 2380521"/>
              <a:gd name="connsiteX3108" fmla="*/ 785941 w 8023328"/>
              <a:gd name="connsiteY3108" fmla="*/ 583873 h 2380521"/>
              <a:gd name="connsiteX3109" fmla="*/ 798340 w 8023328"/>
              <a:gd name="connsiteY3109" fmla="*/ 570017 h 2380521"/>
              <a:gd name="connsiteX3110" fmla="*/ 724135 w 8023328"/>
              <a:gd name="connsiteY3110" fmla="*/ 570017 h 2380521"/>
              <a:gd name="connsiteX3111" fmla="*/ 737991 w 8023328"/>
              <a:gd name="connsiteY3111" fmla="*/ 583873 h 2380521"/>
              <a:gd name="connsiteX3112" fmla="*/ 724135 w 8023328"/>
              <a:gd name="connsiteY3112" fmla="*/ 596271 h 2380521"/>
              <a:gd name="connsiteX3113" fmla="*/ 711737 w 8023328"/>
              <a:gd name="connsiteY3113" fmla="*/ 583873 h 2380521"/>
              <a:gd name="connsiteX3114" fmla="*/ 724135 w 8023328"/>
              <a:gd name="connsiteY3114" fmla="*/ 570017 h 2380521"/>
              <a:gd name="connsiteX3115" fmla="*/ 653306 w 8023328"/>
              <a:gd name="connsiteY3115" fmla="*/ 570017 h 2380521"/>
              <a:gd name="connsiteX3116" fmla="*/ 667161 w 8023328"/>
              <a:gd name="connsiteY3116" fmla="*/ 583873 h 2380521"/>
              <a:gd name="connsiteX3117" fmla="*/ 653306 w 8023328"/>
              <a:gd name="connsiteY3117" fmla="*/ 596271 h 2380521"/>
              <a:gd name="connsiteX3118" fmla="*/ 640910 w 8023328"/>
              <a:gd name="connsiteY3118" fmla="*/ 583873 h 2380521"/>
              <a:gd name="connsiteX3119" fmla="*/ 653306 w 8023328"/>
              <a:gd name="connsiteY3119" fmla="*/ 570017 h 2380521"/>
              <a:gd name="connsiteX3120" fmla="*/ 584865 w 8023328"/>
              <a:gd name="connsiteY3120" fmla="*/ 570017 h 2380521"/>
              <a:gd name="connsiteX3121" fmla="*/ 599654 w 8023328"/>
              <a:gd name="connsiteY3121" fmla="*/ 583873 h 2380521"/>
              <a:gd name="connsiteX3122" fmla="*/ 584865 w 8023328"/>
              <a:gd name="connsiteY3122" fmla="*/ 596271 h 2380521"/>
              <a:gd name="connsiteX3123" fmla="*/ 570076 w 8023328"/>
              <a:gd name="connsiteY3123" fmla="*/ 583873 h 2380521"/>
              <a:gd name="connsiteX3124" fmla="*/ 584865 w 8023328"/>
              <a:gd name="connsiteY3124" fmla="*/ 570017 h 2380521"/>
              <a:gd name="connsiteX3125" fmla="*/ 513668 w 8023328"/>
              <a:gd name="connsiteY3125" fmla="*/ 570017 h 2380521"/>
              <a:gd name="connsiteX3126" fmla="*/ 528846 w 8023328"/>
              <a:gd name="connsiteY3126" fmla="*/ 583873 h 2380521"/>
              <a:gd name="connsiteX3127" fmla="*/ 513668 w 8023328"/>
              <a:gd name="connsiteY3127" fmla="*/ 596271 h 2380521"/>
              <a:gd name="connsiteX3128" fmla="*/ 499248 w 8023328"/>
              <a:gd name="connsiteY3128" fmla="*/ 583873 h 2380521"/>
              <a:gd name="connsiteX3129" fmla="*/ 513668 w 8023328"/>
              <a:gd name="connsiteY3129" fmla="*/ 570017 h 2380521"/>
              <a:gd name="connsiteX3130" fmla="*/ 439833 w 8023328"/>
              <a:gd name="connsiteY3130" fmla="*/ 570017 h 2380521"/>
              <a:gd name="connsiteX3131" fmla="*/ 454623 w 8023328"/>
              <a:gd name="connsiteY3131" fmla="*/ 583873 h 2380521"/>
              <a:gd name="connsiteX3132" fmla="*/ 439833 w 8023328"/>
              <a:gd name="connsiteY3132" fmla="*/ 596271 h 2380521"/>
              <a:gd name="connsiteX3133" fmla="*/ 425044 w 8023328"/>
              <a:gd name="connsiteY3133" fmla="*/ 583873 h 2380521"/>
              <a:gd name="connsiteX3134" fmla="*/ 439833 w 8023328"/>
              <a:gd name="connsiteY3134" fmla="*/ 570017 h 2380521"/>
              <a:gd name="connsiteX3135" fmla="*/ 368072 w 8023328"/>
              <a:gd name="connsiteY3135" fmla="*/ 570017 h 2380521"/>
              <a:gd name="connsiteX3136" fmla="*/ 380467 w 8023328"/>
              <a:gd name="connsiteY3136" fmla="*/ 583873 h 2380521"/>
              <a:gd name="connsiteX3137" fmla="*/ 368072 w 8023328"/>
              <a:gd name="connsiteY3137" fmla="*/ 596271 h 2380521"/>
              <a:gd name="connsiteX3138" fmla="*/ 354211 w 8023328"/>
              <a:gd name="connsiteY3138" fmla="*/ 583873 h 2380521"/>
              <a:gd name="connsiteX3139" fmla="*/ 368072 w 8023328"/>
              <a:gd name="connsiteY3139" fmla="*/ 570017 h 2380521"/>
              <a:gd name="connsiteX3140" fmla="*/ 3081772 w 8023328"/>
              <a:gd name="connsiteY3140" fmla="*/ 499186 h 2380521"/>
              <a:gd name="connsiteX3141" fmla="*/ 3095622 w 8023328"/>
              <a:gd name="connsiteY3141" fmla="*/ 511583 h 2380521"/>
              <a:gd name="connsiteX3142" fmla="*/ 3081772 w 8023328"/>
              <a:gd name="connsiteY3142" fmla="*/ 525440 h 2380521"/>
              <a:gd name="connsiteX3143" fmla="*/ 3069372 w 8023328"/>
              <a:gd name="connsiteY3143" fmla="*/ 511583 h 2380521"/>
              <a:gd name="connsiteX3144" fmla="*/ 3081772 w 8023328"/>
              <a:gd name="connsiteY3144" fmla="*/ 499186 h 2380521"/>
              <a:gd name="connsiteX3145" fmla="*/ 3013712 w 8023328"/>
              <a:gd name="connsiteY3145" fmla="*/ 499186 h 2380521"/>
              <a:gd name="connsiteX3146" fmla="*/ 3028135 w 8023328"/>
              <a:gd name="connsiteY3146" fmla="*/ 511583 h 2380521"/>
              <a:gd name="connsiteX3147" fmla="*/ 3013712 w 8023328"/>
              <a:gd name="connsiteY3147" fmla="*/ 525440 h 2380521"/>
              <a:gd name="connsiteX3148" fmla="*/ 2998539 w 8023328"/>
              <a:gd name="connsiteY3148" fmla="*/ 511583 h 2380521"/>
              <a:gd name="connsiteX3149" fmla="*/ 3013712 w 8023328"/>
              <a:gd name="connsiteY3149" fmla="*/ 499186 h 2380521"/>
              <a:gd name="connsiteX3150" fmla="*/ 2942491 w 8023328"/>
              <a:gd name="connsiteY3150" fmla="*/ 499186 h 2380521"/>
              <a:gd name="connsiteX3151" fmla="*/ 2957285 w 8023328"/>
              <a:gd name="connsiteY3151" fmla="*/ 511583 h 2380521"/>
              <a:gd name="connsiteX3152" fmla="*/ 2942491 w 8023328"/>
              <a:gd name="connsiteY3152" fmla="*/ 525440 h 2380521"/>
              <a:gd name="connsiteX3153" fmla="*/ 2927705 w 8023328"/>
              <a:gd name="connsiteY3153" fmla="*/ 511583 h 2380521"/>
              <a:gd name="connsiteX3154" fmla="*/ 2942491 w 8023328"/>
              <a:gd name="connsiteY3154" fmla="*/ 499186 h 2380521"/>
              <a:gd name="connsiteX3155" fmla="*/ 2868291 w 8023328"/>
              <a:gd name="connsiteY3155" fmla="*/ 499186 h 2380521"/>
              <a:gd name="connsiteX3156" fmla="*/ 2883082 w 8023328"/>
              <a:gd name="connsiteY3156" fmla="*/ 511583 h 2380521"/>
              <a:gd name="connsiteX3157" fmla="*/ 2868291 w 8023328"/>
              <a:gd name="connsiteY3157" fmla="*/ 525440 h 2380521"/>
              <a:gd name="connsiteX3158" fmla="*/ 2853502 w 8023328"/>
              <a:gd name="connsiteY3158" fmla="*/ 511583 h 2380521"/>
              <a:gd name="connsiteX3159" fmla="*/ 2868291 w 8023328"/>
              <a:gd name="connsiteY3159" fmla="*/ 499186 h 2380521"/>
              <a:gd name="connsiteX3160" fmla="*/ 2796533 w 8023328"/>
              <a:gd name="connsiteY3160" fmla="*/ 499186 h 2380521"/>
              <a:gd name="connsiteX3161" fmla="*/ 2808931 w 8023328"/>
              <a:gd name="connsiteY3161" fmla="*/ 511583 h 2380521"/>
              <a:gd name="connsiteX3162" fmla="*/ 2796533 w 8023328"/>
              <a:gd name="connsiteY3162" fmla="*/ 525440 h 2380521"/>
              <a:gd name="connsiteX3163" fmla="*/ 2782678 w 8023328"/>
              <a:gd name="connsiteY3163" fmla="*/ 511583 h 2380521"/>
              <a:gd name="connsiteX3164" fmla="*/ 2796533 w 8023328"/>
              <a:gd name="connsiteY3164" fmla="*/ 499186 h 2380521"/>
              <a:gd name="connsiteX3165" fmla="*/ 2725695 w 8023328"/>
              <a:gd name="connsiteY3165" fmla="*/ 499186 h 2380521"/>
              <a:gd name="connsiteX3166" fmla="*/ 2738097 w 8023328"/>
              <a:gd name="connsiteY3166" fmla="*/ 511583 h 2380521"/>
              <a:gd name="connsiteX3167" fmla="*/ 2725695 w 8023328"/>
              <a:gd name="connsiteY3167" fmla="*/ 525440 h 2380521"/>
              <a:gd name="connsiteX3168" fmla="*/ 2711846 w 8023328"/>
              <a:gd name="connsiteY3168" fmla="*/ 511583 h 2380521"/>
              <a:gd name="connsiteX3169" fmla="*/ 2725695 w 8023328"/>
              <a:gd name="connsiteY3169" fmla="*/ 499186 h 2380521"/>
              <a:gd name="connsiteX3170" fmla="*/ 2654870 w 8023328"/>
              <a:gd name="connsiteY3170" fmla="*/ 499186 h 2380521"/>
              <a:gd name="connsiteX3171" fmla="*/ 2667266 w 8023328"/>
              <a:gd name="connsiteY3171" fmla="*/ 511583 h 2380521"/>
              <a:gd name="connsiteX3172" fmla="*/ 2654870 w 8023328"/>
              <a:gd name="connsiteY3172" fmla="*/ 525440 h 2380521"/>
              <a:gd name="connsiteX3173" fmla="*/ 2641013 w 8023328"/>
              <a:gd name="connsiteY3173" fmla="*/ 511583 h 2380521"/>
              <a:gd name="connsiteX3174" fmla="*/ 2654870 w 8023328"/>
              <a:gd name="connsiteY3174" fmla="*/ 499186 h 2380521"/>
              <a:gd name="connsiteX3175" fmla="*/ 2582580 w 8023328"/>
              <a:gd name="connsiteY3175" fmla="*/ 499186 h 2380521"/>
              <a:gd name="connsiteX3176" fmla="*/ 2596435 w 8023328"/>
              <a:gd name="connsiteY3176" fmla="*/ 511583 h 2380521"/>
              <a:gd name="connsiteX3177" fmla="*/ 2582580 w 8023328"/>
              <a:gd name="connsiteY3177" fmla="*/ 525440 h 2380521"/>
              <a:gd name="connsiteX3178" fmla="*/ 2570184 w 8023328"/>
              <a:gd name="connsiteY3178" fmla="*/ 511583 h 2380521"/>
              <a:gd name="connsiteX3179" fmla="*/ 2582580 w 8023328"/>
              <a:gd name="connsiteY3179" fmla="*/ 499186 h 2380521"/>
              <a:gd name="connsiteX3180" fmla="*/ 2511026 w 8023328"/>
              <a:gd name="connsiteY3180" fmla="*/ 499186 h 2380521"/>
              <a:gd name="connsiteX3181" fmla="*/ 2525610 w 8023328"/>
              <a:gd name="connsiteY3181" fmla="*/ 511583 h 2380521"/>
              <a:gd name="connsiteX3182" fmla="*/ 2511026 w 8023328"/>
              <a:gd name="connsiteY3182" fmla="*/ 525440 h 2380521"/>
              <a:gd name="connsiteX3183" fmla="*/ 2499361 w 8023328"/>
              <a:gd name="connsiteY3183" fmla="*/ 511583 h 2380521"/>
              <a:gd name="connsiteX3184" fmla="*/ 2511026 w 8023328"/>
              <a:gd name="connsiteY3184" fmla="*/ 499186 h 2380521"/>
              <a:gd name="connsiteX3185" fmla="*/ 2440924 w 8023328"/>
              <a:gd name="connsiteY3185" fmla="*/ 499186 h 2380521"/>
              <a:gd name="connsiteX3186" fmla="*/ 2454781 w 8023328"/>
              <a:gd name="connsiteY3186" fmla="*/ 511583 h 2380521"/>
              <a:gd name="connsiteX3187" fmla="*/ 2440924 w 8023328"/>
              <a:gd name="connsiteY3187" fmla="*/ 525440 h 2380521"/>
              <a:gd name="connsiteX3188" fmla="*/ 2428527 w 8023328"/>
              <a:gd name="connsiteY3188" fmla="*/ 511583 h 2380521"/>
              <a:gd name="connsiteX3189" fmla="*/ 2440924 w 8023328"/>
              <a:gd name="connsiteY3189" fmla="*/ 499186 h 2380521"/>
              <a:gd name="connsiteX3190" fmla="*/ 2369108 w 8023328"/>
              <a:gd name="connsiteY3190" fmla="*/ 499186 h 2380521"/>
              <a:gd name="connsiteX3191" fmla="*/ 2383898 w 8023328"/>
              <a:gd name="connsiteY3191" fmla="*/ 511583 h 2380521"/>
              <a:gd name="connsiteX3192" fmla="*/ 2369108 w 8023328"/>
              <a:gd name="connsiteY3192" fmla="*/ 525440 h 2380521"/>
              <a:gd name="connsiteX3193" fmla="*/ 2354319 w 8023328"/>
              <a:gd name="connsiteY3193" fmla="*/ 511583 h 2380521"/>
              <a:gd name="connsiteX3194" fmla="*/ 2369108 w 8023328"/>
              <a:gd name="connsiteY3194" fmla="*/ 499186 h 2380521"/>
              <a:gd name="connsiteX3195" fmla="*/ 2298278 w 8023328"/>
              <a:gd name="connsiteY3195" fmla="*/ 499186 h 2380521"/>
              <a:gd name="connsiteX3196" fmla="*/ 2313066 w 8023328"/>
              <a:gd name="connsiteY3196" fmla="*/ 511583 h 2380521"/>
              <a:gd name="connsiteX3197" fmla="*/ 2298278 w 8023328"/>
              <a:gd name="connsiteY3197" fmla="*/ 525440 h 2380521"/>
              <a:gd name="connsiteX3198" fmla="*/ 2283488 w 8023328"/>
              <a:gd name="connsiteY3198" fmla="*/ 511583 h 2380521"/>
              <a:gd name="connsiteX3199" fmla="*/ 2298278 w 8023328"/>
              <a:gd name="connsiteY3199" fmla="*/ 499186 h 2380521"/>
              <a:gd name="connsiteX3200" fmla="*/ 2226514 w 8023328"/>
              <a:gd name="connsiteY3200" fmla="*/ 499186 h 2380521"/>
              <a:gd name="connsiteX3201" fmla="*/ 2238914 w 8023328"/>
              <a:gd name="connsiteY3201" fmla="*/ 511583 h 2380521"/>
              <a:gd name="connsiteX3202" fmla="*/ 2226514 w 8023328"/>
              <a:gd name="connsiteY3202" fmla="*/ 525440 h 2380521"/>
              <a:gd name="connsiteX3203" fmla="*/ 2212655 w 8023328"/>
              <a:gd name="connsiteY3203" fmla="*/ 511583 h 2380521"/>
              <a:gd name="connsiteX3204" fmla="*/ 2226514 w 8023328"/>
              <a:gd name="connsiteY3204" fmla="*/ 499186 h 2380521"/>
              <a:gd name="connsiteX3205" fmla="*/ 2155680 w 8023328"/>
              <a:gd name="connsiteY3205" fmla="*/ 499186 h 2380521"/>
              <a:gd name="connsiteX3206" fmla="*/ 2168079 w 8023328"/>
              <a:gd name="connsiteY3206" fmla="*/ 511583 h 2380521"/>
              <a:gd name="connsiteX3207" fmla="*/ 2155680 w 8023328"/>
              <a:gd name="connsiteY3207" fmla="*/ 525440 h 2380521"/>
              <a:gd name="connsiteX3208" fmla="*/ 2141823 w 8023328"/>
              <a:gd name="connsiteY3208" fmla="*/ 511583 h 2380521"/>
              <a:gd name="connsiteX3209" fmla="*/ 2155680 w 8023328"/>
              <a:gd name="connsiteY3209" fmla="*/ 499186 h 2380521"/>
              <a:gd name="connsiteX3210" fmla="*/ 2084846 w 8023328"/>
              <a:gd name="connsiteY3210" fmla="*/ 499186 h 2380521"/>
              <a:gd name="connsiteX3211" fmla="*/ 2097246 w 8023328"/>
              <a:gd name="connsiteY3211" fmla="*/ 511583 h 2380521"/>
              <a:gd name="connsiteX3212" fmla="*/ 2084846 w 8023328"/>
              <a:gd name="connsiteY3212" fmla="*/ 525440 h 2380521"/>
              <a:gd name="connsiteX3213" fmla="*/ 2070991 w 8023328"/>
              <a:gd name="connsiteY3213" fmla="*/ 511583 h 2380521"/>
              <a:gd name="connsiteX3214" fmla="*/ 2084846 w 8023328"/>
              <a:gd name="connsiteY3214" fmla="*/ 499186 h 2380521"/>
              <a:gd name="connsiteX3215" fmla="*/ 2011831 w 8023328"/>
              <a:gd name="connsiteY3215" fmla="*/ 499186 h 2380521"/>
              <a:gd name="connsiteX3216" fmla="*/ 2026416 w 8023328"/>
              <a:gd name="connsiteY3216" fmla="*/ 511583 h 2380521"/>
              <a:gd name="connsiteX3217" fmla="*/ 2011831 w 8023328"/>
              <a:gd name="connsiteY3217" fmla="*/ 525440 h 2380521"/>
              <a:gd name="connsiteX3218" fmla="*/ 2000165 w 8023328"/>
              <a:gd name="connsiteY3218" fmla="*/ 511583 h 2380521"/>
              <a:gd name="connsiteX3219" fmla="*/ 2011831 w 8023328"/>
              <a:gd name="connsiteY3219" fmla="*/ 499186 h 2380521"/>
              <a:gd name="connsiteX3220" fmla="*/ 1938362 w 8023328"/>
              <a:gd name="connsiteY3220" fmla="*/ 499186 h 2380521"/>
              <a:gd name="connsiteX3221" fmla="*/ 1952216 w 8023328"/>
              <a:gd name="connsiteY3221" fmla="*/ 511583 h 2380521"/>
              <a:gd name="connsiteX3222" fmla="*/ 1938362 w 8023328"/>
              <a:gd name="connsiteY3222" fmla="*/ 525440 h 2380521"/>
              <a:gd name="connsiteX3223" fmla="*/ 1925965 w 8023328"/>
              <a:gd name="connsiteY3223" fmla="*/ 511583 h 2380521"/>
              <a:gd name="connsiteX3224" fmla="*/ 1938362 w 8023328"/>
              <a:gd name="connsiteY3224" fmla="*/ 499186 h 2380521"/>
              <a:gd name="connsiteX3225" fmla="*/ 1867525 w 8023328"/>
              <a:gd name="connsiteY3225" fmla="*/ 499186 h 2380521"/>
              <a:gd name="connsiteX3226" fmla="*/ 1881384 w 8023328"/>
              <a:gd name="connsiteY3226" fmla="*/ 511583 h 2380521"/>
              <a:gd name="connsiteX3227" fmla="*/ 1867525 w 8023328"/>
              <a:gd name="connsiteY3227" fmla="*/ 525440 h 2380521"/>
              <a:gd name="connsiteX3228" fmla="*/ 1855126 w 8023328"/>
              <a:gd name="connsiteY3228" fmla="*/ 511583 h 2380521"/>
              <a:gd name="connsiteX3229" fmla="*/ 1867525 w 8023328"/>
              <a:gd name="connsiteY3229" fmla="*/ 499186 h 2380521"/>
              <a:gd name="connsiteX3230" fmla="*/ 1799085 w 8023328"/>
              <a:gd name="connsiteY3230" fmla="*/ 499186 h 2380521"/>
              <a:gd name="connsiteX3231" fmla="*/ 1813871 w 8023328"/>
              <a:gd name="connsiteY3231" fmla="*/ 511583 h 2380521"/>
              <a:gd name="connsiteX3232" fmla="*/ 1799085 w 8023328"/>
              <a:gd name="connsiteY3232" fmla="*/ 525440 h 2380521"/>
              <a:gd name="connsiteX3233" fmla="*/ 1784295 w 8023328"/>
              <a:gd name="connsiteY3233" fmla="*/ 511583 h 2380521"/>
              <a:gd name="connsiteX3234" fmla="*/ 1799085 w 8023328"/>
              <a:gd name="connsiteY3234" fmla="*/ 499186 h 2380521"/>
              <a:gd name="connsiteX3235" fmla="*/ 1728257 w 8023328"/>
              <a:gd name="connsiteY3235" fmla="*/ 499186 h 2380521"/>
              <a:gd name="connsiteX3236" fmla="*/ 1743046 w 8023328"/>
              <a:gd name="connsiteY3236" fmla="*/ 511583 h 2380521"/>
              <a:gd name="connsiteX3237" fmla="*/ 1728257 w 8023328"/>
              <a:gd name="connsiteY3237" fmla="*/ 525440 h 2380521"/>
              <a:gd name="connsiteX3238" fmla="*/ 1713469 w 8023328"/>
              <a:gd name="connsiteY3238" fmla="*/ 511583 h 2380521"/>
              <a:gd name="connsiteX3239" fmla="*/ 1728257 w 8023328"/>
              <a:gd name="connsiteY3239" fmla="*/ 499186 h 2380521"/>
              <a:gd name="connsiteX3240" fmla="*/ 1657426 w 8023328"/>
              <a:gd name="connsiteY3240" fmla="*/ 499186 h 2380521"/>
              <a:gd name="connsiteX3241" fmla="*/ 1672218 w 8023328"/>
              <a:gd name="connsiteY3241" fmla="*/ 511583 h 2380521"/>
              <a:gd name="connsiteX3242" fmla="*/ 1657426 w 8023328"/>
              <a:gd name="connsiteY3242" fmla="*/ 525440 h 2380521"/>
              <a:gd name="connsiteX3243" fmla="*/ 1642647 w 8023328"/>
              <a:gd name="connsiteY3243" fmla="*/ 511583 h 2380521"/>
              <a:gd name="connsiteX3244" fmla="*/ 1657426 w 8023328"/>
              <a:gd name="connsiteY3244" fmla="*/ 499186 h 2380521"/>
              <a:gd name="connsiteX3245" fmla="*/ 1582294 w 8023328"/>
              <a:gd name="connsiteY3245" fmla="*/ 499186 h 2380521"/>
              <a:gd name="connsiteX3246" fmla="*/ 1594694 w 8023328"/>
              <a:gd name="connsiteY3246" fmla="*/ 511583 h 2380521"/>
              <a:gd name="connsiteX3247" fmla="*/ 1582294 w 8023328"/>
              <a:gd name="connsiteY3247" fmla="*/ 525440 h 2380521"/>
              <a:gd name="connsiteX3248" fmla="*/ 1568438 w 8023328"/>
              <a:gd name="connsiteY3248" fmla="*/ 511583 h 2380521"/>
              <a:gd name="connsiteX3249" fmla="*/ 1582294 w 8023328"/>
              <a:gd name="connsiteY3249" fmla="*/ 499186 h 2380521"/>
              <a:gd name="connsiteX3250" fmla="*/ 1512192 w 8023328"/>
              <a:gd name="connsiteY3250" fmla="*/ 499186 h 2380521"/>
              <a:gd name="connsiteX3251" fmla="*/ 1523862 w 8023328"/>
              <a:gd name="connsiteY3251" fmla="*/ 511583 h 2380521"/>
              <a:gd name="connsiteX3252" fmla="*/ 1512192 w 8023328"/>
              <a:gd name="connsiteY3252" fmla="*/ 525440 h 2380521"/>
              <a:gd name="connsiteX3253" fmla="*/ 1497607 w 8023328"/>
              <a:gd name="connsiteY3253" fmla="*/ 511583 h 2380521"/>
              <a:gd name="connsiteX3254" fmla="*/ 1512192 w 8023328"/>
              <a:gd name="connsiteY3254" fmla="*/ 499186 h 2380521"/>
              <a:gd name="connsiteX3255" fmla="*/ 1440623 w 8023328"/>
              <a:gd name="connsiteY3255" fmla="*/ 499186 h 2380521"/>
              <a:gd name="connsiteX3256" fmla="*/ 1453023 w 8023328"/>
              <a:gd name="connsiteY3256" fmla="*/ 511583 h 2380521"/>
              <a:gd name="connsiteX3257" fmla="*/ 1440623 w 8023328"/>
              <a:gd name="connsiteY3257" fmla="*/ 525440 h 2380521"/>
              <a:gd name="connsiteX3258" fmla="*/ 1426771 w 8023328"/>
              <a:gd name="connsiteY3258" fmla="*/ 511583 h 2380521"/>
              <a:gd name="connsiteX3259" fmla="*/ 1440623 w 8023328"/>
              <a:gd name="connsiteY3259" fmla="*/ 499186 h 2380521"/>
              <a:gd name="connsiteX3260" fmla="*/ 1368341 w 8023328"/>
              <a:gd name="connsiteY3260" fmla="*/ 499186 h 2380521"/>
              <a:gd name="connsiteX3261" fmla="*/ 1382196 w 8023328"/>
              <a:gd name="connsiteY3261" fmla="*/ 511583 h 2380521"/>
              <a:gd name="connsiteX3262" fmla="*/ 1368341 w 8023328"/>
              <a:gd name="connsiteY3262" fmla="*/ 525440 h 2380521"/>
              <a:gd name="connsiteX3263" fmla="*/ 1355948 w 8023328"/>
              <a:gd name="connsiteY3263" fmla="*/ 511583 h 2380521"/>
              <a:gd name="connsiteX3264" fmla="*/ 1368341 w 8023328"/>
              <a:gd name="connsiteY3264" fmla="*/ 499186 h 2380521"/>
              <a:gd name="connsiteX3265" fmla="*/ 1297515 w 8023328"/>
              <a:gd name="connsiteY3265" fmla="*/ 499186 h 2380521"/>
              <a:gd name="connsiteX3266" fmla="*/ 1311369 w 8023328"/>
              <a:gd name="connsiteY3266" fmla="*/ 513042 h 2380521"/>
              <a:gd name="connsiteX3267" fmla="*/ 1297515 w 8023328"/>
              <a:gd name="connsiteY3267" fmla="*/ 525440 h 2380521"/>
              <a:gd name="connsiteX3268" fmla="*/ 1285118 w 8023328"/>
              <a:gd name="connsiteY3268" fmla="*/ 513042 h 2380521"/>
              <a:gd name="connsiteX3269" fmla="*/ 1297515 w 8023328"/>
              <a:gd name="connsiteY3269" fmla="*/ 499186 h 2380521"/>
              <a:gd name="connsiteX3270" fmla="*/ 1225700 w 8023328"/>
              <a:gd name="connsiteY3270" fmla="*/ 499186 h 2380521"/>
              <a:gd name="connsiteX3271" fmla="*/ 1240491 w 8023328"/>
              <a:gd name="connsiteY3271" fmla="*/ 513042 h 2380521"/>
              <a:gd name="connsiteX3272" fmla="*/ 1225700 w 8023328"/>
              <a:gd name="connsiteY3272" fmla="*/ 525440 h 2380521"/>
              <a:gd name="connsiteX3273" fmla="*/ 1210925 w 8023328"/>
              <a:gd name="connsiteY3273" fmla="*/ 513042 h 2380521"/>
              <a:gd name="connsiteX3274" fmla="*/ 1225700 w 8023328"/>
              <a:gd name="connsiteY3274" fmla="*/ 499186 h 2380521"/>
              <a:gd name="connsiteX3275" fmla="*/ 1154881 w 8023328"/>
              <a:gd name="connsiteY3275" fmla="*/ 499186 h 2380521"/>
              <a:gd name="connsiteX3276" fmla="*/ 1169669 w 8023328"/>
              <a:gd name="connsiteY3276" fmla="*/ 513042 h 2380521"/>
              <a:gd name="connsiteX3277" fmla="*/ 1154881 w 8023328"/>
              <a:gd name="connsiteY3277" fmla="*/ 525440 h 2380521"/>
              <a:gd name="connsiteX3278" fmla="*/ 1140095 w 8023328"/>
              <a:gd name="connsiteY3278" fmla="*/ 513042 h 2380521"/>
              <a:gd name="connsiteX3279" fmla="*/ 1154881 w 8023328"/>
              <a:gd name="connsiteY3279" fmla="*/ 499186 h 2380521"/>
              <a:gd name="connsiteX3280" fmla="*/ 1084053 w 8023328"/>
              <a:gd name="connsiteY3280" fmla="*/ 499186 h 2380521"/>
              <a:gd name="connsiteX3281" fmla="*/ 1098842 w 8023328"/>
              <a:gd name="connsiteY3281" fmla="*/ 513042 h 2380521"/>
              <a:gd name="connsiteX3282" fmla="*/ 1084053 w 8023328"/>
              <a:gd name="connsiteY3282" fmla="*/ 525440 h 2380521"/>
              <a:gd name="connsiteX3283" fmla="*/ 1069267 w 8023328"/>
              <a:gd name="connsiteY3283" fmla="*/ 513042 h 2380521"/>
              <a:gd name="connsiteX3284" fmla="*/ 1084053 w 8023328"/>
              <a:gd name="connsiteY3284" fmla="*/ 499186 h 2380521"/>
              <a:gd name="connsiteX3285" fmla="*/ 1013012 w 8023328"/>
              <a:gd name="connsiteY3285" fmla="*/ 499186 h 2380521"/>
              <a:gd name="connsiteX3286" fmla="*/ 1024685 w 8023328"/>
              <a:gd name="connsiteY3286" fmla="*/ 513042 h 2380521"/>
              <a:gd name="connsiteX3287" fmla="*/ 1013012 w 8023328"/>
              <a:gd name="connsiteY3287" fmla="*/ 525440 h 2380521"/>
              <a:gd name="connsiteX3288" fmla="*/ 998433 w 8023328"/>
              <a:gd name="connsiteY3288" fmla="*/ 513042 h 2380521"/>
              <a:gd name="connsiteX3289" fmla="*/ 1013012 w 8023328"/>
              <a:gd name="connsiteY3289" fmla="*/ 499186 h 2380521"/>
              <a:gd name="connsiteX3290" fmla="*/ 941461 w 8023328"/>
              <a:gd name="connsiteY3290" fmla="*/ 499186 h 2380521"/>
              <a:gd name="connsiteX3291" fmla="*/ 953861 w 8023328"/>
              <a:gd name="connsiteY3291" fmla="*/ 513042 h 2380521"/>
              <a:gd name="connsiteX3292" fmla="*/ 941461 w 8023328"/>
              <a:gd name="connsiteY3292" fmla="*/ 525440 h 2380521"/>
              <a:gd name="connsiteX3293" fmla="*/ 927607 w 8023328"/>
              <a:gd name="connsiteY3293" fmla="*/ 513042 h 2380521"/>
              <a:gd name="connsiteX3294" fmla="*/ 941461 w 8023328"/>
              <a:gd name="connsiteY3294" fmla="*/ 499186 h 2380521"/>
              <a:gd name="connsiteX3295" fmla="*/ 870626 w 8023328"/>
              <a:gd name="connsiteY3295" fmla="*/ 499186 h 2380521"/>
              <a:gd name="connsiteX3296" fmla="*/ 883027 w 8023328"/>
              <a:gd name="connsiteY3296" fmla="*/ 513042 h 2380521"/>
              <a:gd name="connsiteX3297" fmla="*/ 870626 w 8023328"/>
              <a:gd name="connsiteY3297" fmla="*/ 525440 h 2380521"/>
              <a:gd name="connsiteX3298" fmla="*/ 856774 w 8023328"/>
              <a:gd name="connsiteY3298" fmla="*/ 513042 h 2380521"/>
              <a:gd name="connsiteX3299" fmla="*/ 870626 w 8023328"/>
              <a:gd name="connsiteY3299" fmla="*/ 499186 h 2380521"/>
              <a:gd name="connsiteX3300" fmla="*/ 798340 w 8023328"/>
              <a:gd name="connsiteY3300" fmla="*/ 499186 h 2380521"/>
              <a:gd name="connsiteX3301" fmla="*/ 812196 w 8023328"/>
              <a:gd name="connsiteY3301" fmla="*/ 513042 h 2380521"/>
              <a:gd name="connsiteX3302" fmla="*/ 798340 w 8023328"/>
              <a:gd name="connsiteY3302" fmla="*/ 525440 h 2380521"/>
              <a:gd name="connsiteX3303" fmla="*/ 785941 w 8023328"/>
              <a:gd name="connsiteY3303" fmla="*/ 513042 h 2380521"/>
              <a:gd name="connsiteX3304" fmla="*/ 798340 w 8023328"/>
              <a:gd name="connsiteY3304" fmla="*/ 499186 h 2380521"/>
              <a:gd name="connsiteX3305" fmla="*/ 724135 w 8023328"/>
              <a:gd name="connsiteY3305" fmla="*/ 499186 h 2380521"/>
              <a:gd name="connsiteX3306" fmla="*/ 737991 w 8023328"/>
              <a:gd name="connsiteY3306" fmla="*/ 513042 h 2380521"/>
              <a:gd name="connsiteX3307" fmla="*/ 724135 w 8023328"/>
              <a:gd name="connsiteY3307" fmla="*/ 525440 h 2380521"/>
              <a:gd name="connsiteX3308" fmla="*/ 711744 w 8023328"/>
              <a:gd name="connsiteY3308" fmla="*/ 513042 h 2380521"/>
              <a:gd name="connsiteX3309" fmla="*/ 724135 w 8023328"/>
              <a:gd name="connsiteY3309" fmla="*/ 499186 h 2380521"/>
              <a:gd name="connsiteX3310" fmla="*/ 653306 w 8023328"/>
              <a:gd name="connsiteY3310" fmla="*/ 499186 h 2380521"/>
              <a:gd name="connsiteX3311" fmla="*/ 667164 w 8023328"/>
              <a:gd name="connsiteY3311" fmla="*/ 513042 h 2380521"/>
              <a:gd name="connsiteX3312" fmla="*/ 653306 w 8023328"/>
              <a:gd name="connsiteY3312" fmla="*/ 525440 h 2380521"/>
              <a:gd name="connsiteX3313" fmla="*/ 640910 w 8023328"/>
              <a:gd name="connsiteY3313" fmla="*/ 513042 h 2380521"/>
              <a:gd name="connsiteX3314" fmla="*/ 653306 w 8023328"/>
              <a:gd name="connsiteY3314" fmla="*/ 499186 h 2380521"/>
              <a:gd name="connsiteX3315" fmla="*/ 584869 w 8023328"/>
              <a:gd name="connsiteY3315" fmla="*/ 499186 h 2380521"/>
              <a:gd name="connsiteX3316" fmla="*/ 599654 w 8023328"/>
              <a:gd name="connsiteY3316" fmla="*/ 513042 h 2380521"/>
              <a:gd name="connsiteX3317" fmla="*/ 584869 w 8023328"/>
              <a:gd name="connsiteY3317" fmla="*/ 525440 h 2380521"/>
              <a:gd name="connsiteX3318" fmla="*/ 570076 w 8023328"/>
              <a:gd name="connsiteY3318" fmla="*/ 513042 h 2380521"/>
              <a:gd name="connsiteX3319" fmla="*/ 584869 w 8023328"/>
              <a:gd name="connsiteY3319" fmla="*/ 499186 h 2380521"/>
              <a:gd name="connsiteX3320" fmla="*/ 513670 w 8023328"/>
              <a:gd name="connsiteY3320" fmla="*/ 499186 h 2380521"/>
              <a:gd name="connsiteX3321" fmla="*/ 528846 w 8023328"/>
              <a:gd name="connsiteY3321" fmla="*/ 513042 h 2380521"/>
              <a:gd name="connsiteX3322" fmla="*/ 513670 w 8023328"/>
              <a:gd name="connsiteY3322" fmla="*/ 525440 h 2380521"/>
              <a:gd name="connsiteX3323" fmla="*/ 499248 w 8023328"/>
              <a:gd name="connsiteY3323" fmla="*/ 513042 h 2380521"/>
              <a:gd name="connsiteX3324" fmla="*/ 513670 w 8023328"/>
              <a:gd name="connsiteY3324" fmla="*/ 499186 h 2380521"/>
              <a:gd name="connsiteX3325" fmla="*/ 3939871 w 8023328"/>
              <a:gd name="connsiteY3325" fmla="*/ 495814 h 2380521"/>
              <a:gd name="connsiteX3326" fmla="*/ 3952268 w 8023328"/>
              <a:gd name="connsiteY3326" fmla="*/ 510602 h 2380521"/>
              <a:gd name="connsiteX3327" fmla="*/ 3939871 w 8023328"/>
              <a:gd name="connsiteY3327" fmla="*/ 525391 h 2380521"/>
              <a:gd name="connsiteX3328" fmla="*/ 3926015 w 8023328"/>
              <a:gd name="connsiteY3328" fmla="*/ 510602 h 2380521"/>
              <a:gd name="connsiteX3329" fmla="*/ 3939871 w 8023328"/>
              <a:gd name="connsiteY3329" fmla="*/ 495814 h 2380521"/>
              <a:gd name="connsiteX3330" fmla="*/ 3869042 w 8023328"/>
              <a:gd name="connsiteY3330" fmla="*/ 495814 h 2380521"/>
              <a:gd name="connsiteX3331" fmla="*/ 3881439 w 8023328"/>
              <a:gd name="connsiteY3331" fmla="*/ 510602 h 2380521"/>
              <a:gd name="connsiteX3332" fmla="*/ 3869042 w 8023328"/>
              <a:gd name="connsiteY3332" fmla="*/ 525391 h 2380521"/>
              <a:gd name="connsiteX3333" fmla="*/ 3855186 w 8023328"/>
              <a:gd name="connsiteY3333" fmla="*/ 510602 h 2380521"/>
              <a:gd name="connsiteX3334" fmla="*/ 3869042 w 8023328"/>
              <a:gd name="connsiteY3334" fmla="*/ 495814 h 2380521"/>
              <a:gd name="connsiteX3335" fmla="*/ 3796752 w 8023328"/>
              <a:gd name="connsiteY3335" fmla="*/ 495814 h 2380521"/>
              <a:gd name="connsiteX3336" fmla="*/ 3810608 w 8023328"/>
              <a:gd name="connsiteY3336" fmla="*/ 510602 h 2380521"/>
              <a:gd name="connsiteX3337" fmla="*/ 3796752 w 8023328"/>
              <a:gd name="connsiteY3337" fmla="*/ 525391 h 2380521"/>
              <a:gd name="connsiteX3338" fmla="*/ 3784355 w 8023328"/>
              <a:gd name="connsiteY3338" fmla="*/ 510602 h 2380521"/>
              <a:gd name="connsiteX3339" fmla="*/ 3796752 w 8023328"/>
              <a:gd name="connsiteY3339" fmla="*/ 495814 h 2380521"/>
              <a:gd name="connsiteX3340" fmla="*/ 3725922 w 8023328"/>
              <a:gd name="connsiteY3340" fmla="*/ 495814 h 2380521"/>
              <a:gd name="connsiteX3341" fmla="*/ 3739778 w 8023328"/>
              <a:gd name="connsiteY3341" fmla="*/ 510602 h 2380521"/>
              <a:gd name="connsiteX3342" fmla="*/ 3725922 w 8023328"/>
              <a:gd name="connsiteY3342" fmla="*/ 525391 h 2380521"/>
              <a:gd name="connsiteX3343" fmla="*/ 3713525 w 8023328"/>
              <a:gd name="connsiteY3343" fmla="*/ 510602 h 2380521"/>
              <a:gd name="connsiteX3344" fmla="*/ 3725922 w 8023328"/>
              <a:gd name="connsiteY3344" fmla="*/ 495814 h 2380521"/>
              <a:gd name="connsiteX3345" fmla="*/ 3655091 w 8023328"/>
              <a:gd name="connsiteY3345" fmla="*/ 495814 h 2380521"/>
              <a:gd name="connsiteX3346" fmla="*/ 3668947 w 8023328"/>
              <a:gd name="connsiteY3346" fmla="*/ 510602 h 2380521"/>
              <a:gd name="connsiteX3347" fmla="*/ 3655091 w 8023328"/>
              <a:gd name="connsiteY3347" fmla="*/ 525391 h 2380521"/>
              <a:gd name="connsiteX3348" fmla="*/ 3642694 w 8023328"/>
              <a:gd name="connsiteY3348" fmla="*/ 510602 h 2380521"/>
              <a:gd name="connsiteX3349" fmla="*/ 3655091 w 8023328"/>
              <a:gd name="connsiteY3349" fmla="*/ 495814 h 2380521"/>
              <a:gd name="connsiteX3350" fmla="*/ 3583280 w 8023328"/>
              <a:gd name="connsiteY3350" fmla="*/ 495814 h 2380521"/>
              <a:gd name="connsiteX3351" fmla="*/ 3598069 w 8023328"/>
              <a:gd name="connsiteY3351" fmla="*/ 510602 h 2380521"/>
              <a:gd name="connsiteX3352" fmla="*/ 3583280 w 8023328"/>
              <a:gd name="connsiteY3352" fmla="*/ 525391 h 2380521"/>
              <a:gd name="connsiteX3353" fmla="*/ 3568491 w 8023328"/>
              <a:gd name="connsiteY3353" fmla="*/ 510602 h 2380521"/>
              <a:gd name="connsiteX3354" fmla="*/ 3583280 w 8023328"/>
              <a:gd name="connsiteY3354" fmla="*/ 495814 h 2380521"/>
              <a:gd name="connsiteX3355" fmla="*/ 3512449 w 8023328"/>
              <a:gd name="connsiteY3355" fmla="*/ 495814 h 2380521"/>
              <a:gd name="connsiteX3356" fmla="*/ 3527237 w 8023328"/>
              <a:gd name="connsiteY3356" fmla="*/ 510602 h 2380521"/>
              <a:gd name="connsiteX3357" fmla="*/ 3512449 w 8023328"/>
              <a:gd name="connsiteY3357" fmla="*/ 525391 h 2380521"/>
              <a:gd name="connsiteX3358" fmla="*/ 3497661 w 8023328"/>
              <a:gd name="connsiteY3358" fmla="*/ 510602 h 2380521"/>
              <a:gd name="connsiteX3359" fmla="*/ 3512449 w 8023328"/>
              <a:gd name="connsiteY3359" fmla="*/ 495814 h 2380521"/>
              <a:gd name="connsiteX3360" fmla="*/ 3440686 w 8023328"/>
              <a:gd name="connsiteY3360" fmla="*/ 495814 h 2380521"/>
              <a:gd name="connsiteX3361" fmla="*/ 3453083 w 8023328"/>
              <a:gd name="connsiteY3361" fmla="*/ 510602 h 2380521"/>
              <a:gd name="connsiteX3362" fmla="*/ 3440686 w 8023328"/>
              <a:gd name="connsiteY3362" fmla="*/ 525391 h 2380521"/>
              <a:gd name="connsiteX3363" fmla="*/ 3426830 w 8023328"/>
              <a:gd name="connsiteY3363" fmla="*/ 510602 h 2380521"/>
              <a:gd name="connsiteX3364" fmla="*/ 3440686 w 8023328"/>
              <a:gd name="connsiteY3364" fmla="*/ 495814 h 2380521"/>
              <a:gd name="connsiteX3365" fmla="*/ 3369857 w 8023328"/>
              <a:gd name="connsiteY3365" fmla="*/ 495814 h 2380521"/>
              <a:gd name="connsiteX3366" fmla="*/ 3382254 w 8023328"/>
              <a:gd name="connsiteY3366" fmla="*/ 510602 h 2380521"/>
              <a:gd name="connsiteX3367" fmla="*/ 3369857 w 8023328"/>
              <a:gd name="connsiteY3367" fmla="*/ 525391 h 2380521"/>
              <a:gd name="connsiteX3368" fmla="*/ 3356001 w 8023328"/>
              <a:gd name="connsiteY3368" fmla="*/ 510602 h 2380521"/>
              <a:gd name="connsiteX3369" fmla="*/ 3369857 w 8023328"/>
              <a:gd name="connsiteY3369" fmla="*/ 495814 h 2380521"/>
              <a:gd name="connsiteX3370" fmla="*/ 3299094 w 8023328"/>
              <a:gd name="connsiteY3370" fmla="*/ 495814 h 2380521"/>
              <a:gd name="connsiteX3371" fmla="*/ 3311491 w 8023328"/>
              <a:gd name="connsiteY3371" fmla="*/ 510602 h 2380521"/>
              <a:gd name="connsiteX3372" fmla="*/ 3299094 w 8023328"/>
              <a:gd name="connsiteY3372" fmla="*/ 525391 h 2380521"/>
              <a:gd name="connsiteX3373" fmla="*/ 3285240 w 8023328"/>
              <a:gd name="connsiteY3373" fmla="*/ 510602 h 2380521"/>
              <a:gd name="connsiteX3374" fmla="*/ 3299094 w 8023328"/>
              <a:gd name="connsiteY3374" fmla="*/ 495814 h 2380521"/>
              <a:gd name="connsiteX3375" fmla="*/ 3226805 w 8023328"/>
              <a:gd name="connsiteY3375" fmla="*/ 495814 h 2380521"/>
              <a:gd name="connsiteX3376" fmla="*/ 3240660 w 8023328"/>
              <a:gd name="connsiteY3376" fmla="*/ 510602 h 2380521"/>
              <a:gd name="connsiteX3377" fmla="*/ 3226805 w 8023328"/>
              <a:gd name="connsiteY3377" fmla="*/ 525391 h 2380521"/>
              <a:gd name="connsiteX3378" fmla="*/ 3214406 w 8023328"/>
              <a:gd name="connsiteY3378" fmla="*/ 510602 h 2380521"/>
              <a:gd name="connsiteX3379" fmla="*/ 3226805 w 8023328"/>
              <a:gd name="connsiteY3379" fmla="*/ 495814 h 2380521"/>
              <a:gd name="connsiteX3380" fmla="*/ 3152602 w 8023328"/>
              <a:gd name="connsiteY3380" fmla="*/ 495814 h 2380521"/>
              <a:gd name="connsiteX3381" fmla="*/ 3166454 w 8023328"/>
              <a:gd name="connsiteY3381" fmla="*/ 510602 h 2380521"/>
              <a:gd name="connsiteX3382" fmla="*/ 3152602 w 8023328"/>
              <a:gd name="connsiteY3382" fmla="*/ 525391 h 2380521"/>
              <a:gd name="connsiteX3383" fmla="*/ 3140203 w 8023328"/>
              <a:gd name="connsiteY3383" fmla="*/ 510602 h 2380521"/>
              <a:gd name="connsiteX3384" fmla="*/ 3152602 w 8023328"/>
              <a:gd name="connsiteY3384" fmla="*/ 495814 h 2380521"/>
              <a:gd name="connsiteX3385" fmla="*/ 2439944 w 8023328"/>
              <a:gd name="connsiteY3385" fmla="*/ 428356 h 2380521"/>
              <a:gd name="connsiteX3386" fmla="*/ 2454729 w 8023328"/>
              <a:gd name="connsiteY3386" fmla="*/ 440753 h 2380521"/>
              <a:gd name="connsiteX3387" fmla="*/ 2439944 w 8023328"/>
              <a:gd name="connsiteY3387" fmla="*/ 454610 h 2380521"/>
              <a:gd name="connsiteX3388" fmla="*/ 2425156 w 8023328"/>
              <a:gd name="connsiteY3388" fmla="*/ 440753 h 2380521"/>
              <a:gd name="connsiteX3389" fmla="*/ 2439944 w 8023328"/>
              <a:gd name="connsiteY3389" fmla="*/ 428356 h 2380521"/>
              <a:gd name="connsiteX3390" fmla="*/ 2369110 w 8023328"/>
              <a:gd name="connsiteY3390" fmla="*/ 428356 h 2380521"/>
              <a:gd name="connsiteX3391" fmla="*/ 2383898 w 8023328"/>
              <a:gd name="connsiteY3391" fmla="*/ 440753 h 2380521"/>
              <a:gd name="connsiteX3392" fmla="*/ 2369110 w 8023328"/>
              <a:gd name="connsiteY3392" fmla="*/ 454610 h 2380521"/>
              <a:gd name="connsiteX3393" fmla="*/ 2354319 w 8023328"/>
              <a:gd name="connsiteY3393" fmla="*/ 440753 h 2380521"/>
              <a:gd name="connsiteX3394" fmla="*/ 2369110 w 8023328"/>
              <a:gd name="connsiteY3394" fmla="*/ 428356 h 2380521"/>
              <a:gd name="connsiteX3395" fmla="*/ 2298278 w 8023328"/>
              <a:gd name="connsiteY3395" fmla="*/ 428356 h 2380521"/>
              <a:gd name="connsiteX3396" fmla="*/ 2313066 w 8023328"/>
              <a:gd name="connsiteY3396" fmla="*/ 440753 h 2380521"/>
              <a:gd name="connsiteX3397" fmla="*/ 2298278 w 8023328"/>
              <a:gd name="connsiteY3397" fmla="*/ 454610 h 2380521"/>
              <a:gd name="connsiteX3398" fmla="*/ 2283490 w 8023328"/>
              <a:gd name="connsiteY3398" fmla="*/ 440753 h 2380521"/>
              <a:gd name="connsiteX3399" fmla="*/ 2298278 w 8023328"/>
              <a:gd name="connsiteY3399" fmla="*/ 428356 h 2380521"/>
              <a:gd name="connsiteX3400" fmla="*/ 2226514 w 8023328"/>
              <a:gd name="connsiteY3400" fmla="*/ 428356 h 2380521"/>
              <a:gd name="connsiteX3401" fmla="*/ 2238914 w 8023328"/>
              <a:gd name="connsiteY3401" fmla="*/ 440753 h 2380521"/>
              <a:gd name="connsiteX3402" fmla="*/ 2226514 w 8023328"/>
              <a:gd name="connsiteY3402" fmla="*/ 454610 h 2380521"/>
              <a:gd name="connsiteX3403" fmla="*/ 2212656 w 8023328"/>
              <a:gd name="connsiteY3403" fmla="*/ 440753 h 2380521"/>
              <a:gd name="connsiteX3404" fmla="*/ 2226514 w 8023328"/>
              <a:gd name="connsiteY3404" fmla="*/ 428356 h 2380521"/>
              <a:gd name="connsiteX3405" fmla="*/ 2155682 w 8023328"/>
              <a:gd name="connsiteY3405" fmla="*/ 428356 h 2380521"/>
              <a:gd name="connsiteX3406" fmla="*/ 2168079 w 8023328"/>
              <a:gd name="connsiteY3406" fmla="*/ 440753 h 2380521"/>
              <a:gd name="connsiteX3407" fmla="*/ 2155682 w 8023328"/>
              <a:gd name="connsiteY3407" fmla="*/ 454610 h 2380521"/>
              <a:gd name="connsiteX3408" fmla="*/ 2141825 w 8023328"/>
              <a:gd name="connsiteY3408" fmla="*/ 440753 h 2380521"/>
              <a:gd name="connsiteX3409" fmla="*/ 2155682 w 8023328"/>
              <a:gd name="connsiteY3409" fmla="*/ 428356 h 2380521"/>
              <a:gd name="connsiteX3410" fmla="*/ 2084846 w 8023328"/>
              <a:gd name="connsiteY3410" fmla="*/ 428356 h 2380521"/>
              <a:gd name="connsiteX3411" fmla="*/ 2097246 w 8023328"/>
              <a:gd name="connsiteY3411" fmla="*/ 440753 h 2380521"/>
              <a:gd name="connsiteX3412" fmla="*/ 2084846 w 8023328"/>
              <a:gd name="connsiteY3412" fmla="*/ 454610 h 2380521"/>
              <a:gd name="connsiteX3413" fmla="*/ 2070991 w 8023328"/>
              <a:gd name="connsiteY3413" fmla="*/ 440753 h 2380521"/>
              <a:gd name="connsiteX3414" fmla="*/ 2084846 w 8023328"/>
              <a:gd name="connsiteY3414" fmla="*/ 428356 h 2380521"/>
              <a:gd name="connsiteX3415" fmla="*/ 2011832 w 8023328"/>
              <a:gd name="connsiteY3415" fmla="*/ 428356 h 2380521"/>
              <a:gd name="connsiteX3416" fmla="*/ 2026418 w 8023328"/>
              <a:gd name="connsiteY3416" fmla="*/ 440753 h 2380521"/>
              <a:gd name="connsiteX3417" fmla="*/ 2011832 w 8023328"/>
              <a:gd name="connsiteY3417" fmla="*/ 454610 h 2380521"/>
              <a:gd name="connsiteX3418" fmla="*/ 2000165 w 8023328"/>
              <a:gd name="connsiteY3418" fmla="*/ 440753 h 2380521"/>
              <a:gd name="connsiteX3419" fmla="*/ 2011832 w 8023328"/>
              <a:gd name="connsiteY3419" fmla="*/ 428356 h 2380521"/>
              <a:gd name="connsiteX3420" fmla="*/ 1938362 w 8023328"/>
              <a:gd name="connsiteY3420" fmla="*/ 428356 h 2380521"/>
              <a:gd name="connsiteX3421" fmla="*/ 1952216 w 8023328"/>
              <a:gd name="connsiteY3421" fmla="*/ 440753 h 2380521"/>
              <a:gd name="connsiteX3422" fmla="*/ 1938362 w 8023328"/>
              <a:gd name="connsiteY3422" fmla="*/ 454610 h 2380521"/>
              <a:gd name="connsiteX3423" fmla="*/ 1925965 w 8023328"/>
              <a:gd name="connsiteY3423" fmla="*/ 440753 h 2380521"/>
              <a:gd name="connsiteX3424" fmla="*/ 1938362 w 8023328"/>
              <a:gd name="connsiteY3424" fmla="*/ 428356 h 2380521"/>
              <a:gd name="connsiteX3425" fmla="*/ 1867525 w 8023328"/>
              <a:gd name="connsiteY3425" fmla="*/ 428356 h 2380521"/>
              <a:gd name="connsiteX3426" fmla="*/ 1881384 w 8023328"/>
              <a:gd name="connsiteY3426" fmla="*/ 440753 h 2380521"/>
              <a:gd name="connsiteX3427" fmla="*/ 1867525 w 8023328"/>
              <a:gd name="connsiteY3427" fmla="*/ 454610 h 2380521"/>
              <a:gd name="connsiteX3428" fmla="*/ 1855126 w 8023328"/>
              <a:gd name="connsiteY3428" fmla="*/ 440753 h 2380521"/>
              <a:gd name="connsiteX3429" fmla="*/ 1867525 w 8023328"/>
              <a:gd name="connsiteY3429" fmla="*/ 428356 h 2380521"/>
              <a:gd name="connsiteX3430" fmla="*/ 1799085 w 8023328"/>
              <a:gd name="connsiteY3430" fmla="*/ 428356 h 2380521"/>
              <a:gd name="connsiteX3431" fmla="*/ 1813873 w 8023328"/>
              <a:gd name="connsiteY3431" fmla="*/ 440753 h 2380521"/>
              <a:gd name="connsiteX3432" fmla="*/ 1799085 w 8023328"/>
              <a:gd name="connsiteY3432" fmla="*/ 454610 h 2380521"/>
              <a:gd name="connsiteX3433" fmla="*/ 1784298 w 8023328"/>
              <a:gd name="connsiteY3433" fmla="*/ 440753 h 2380521"/>
              <a:gd name="connsiteX3434" fmla="*/ 1799085 w 8023328"/>
              <a:gd name="connsiteY3434" fmla="*/ 428356 h 2380521"/>
              <a:gd name="connsiteX3435" fmla="*/ 1728260 w 8023328"/>
              <a:gd name="connsiteY3435" fmla="*/ 428356 h 2380521"/>
              <a:gd name="connsiteX3436" fmla="*/ 1743046 w 8023328"/>
              <a:gd name="connsiteY3436" fmla="*/ 440753 h 2380521"/>
              <a:gd name="connsiteX3437" fmla="*/ 1728260 w 8023328"/>
              <a:gd name="connsiteY3437" fmla="*/ 454610 h 2380521"/>
              <a:gd name="connsiteX3438" fmla="*/ 1713469 w 8023328"/>
              <a:gd name="connsiteY3438" fmla="*/ 440753 h 2380521"/>
              <a:gd name="connsiteX3439" fmla="*/ 1728260 w 8023328"/>
              <a:gd name="connsiteY3439" fmla="*/ 428356 h 2380521"/>
              <a:gd name="connsiteX3440" fmla="*/ 1657426 w 8023328"/>
              <a:gd name="connsiteY3440" fmla="*/ 428356 h 2380521"/>
              <a:gd name="connsiteX3441" fmla="*/ 1672218 w 8023328"/>
              <a:gd name="connsiteY3441" fmla="*/ 440753 h 2380521"/>
              <a:gd name="connsiteX3442" fmla="*/ 1657426 w 8023328"/>
              <a:gd name="connsiteY3442" fmla="*/ 454610 h 2380521"/>
              <a:gd name="connsiteX3443" fmla="*/ 1642647 w 8023328"/>
              <a:gd name="connsiteY3443" fmla="*/ 440753 h 2380521"/>
              <a:gd name="connsiteX3444" fmla="*/ 1657426 w 8023328"/>
              <a:gd name="connsiteY3444" fmla="*/ 428356 h 2380521"/>
              <a:gd name="connsiteX3445" fmla="*/ 1582294 w 8023328"/>
              <a:gd name="connsiteY3445" fmla="*/ 428356 h 2380521"/>
              <a:gd name="connsiteX3446" fmla="*/ 1594697 w 8023328"/>
              <a:gd name="connsiteY3446" fmla="*/ 440753 h 2380521"/>
              <a:gd name="connsiteX3447" fmla="*/ 1582294 w 8023328"/>
              <a:gd name="connsiteY3447" fmla="*/ 454610 h 2380521"/>
              <a:gd name="connsiteX3448" fmla="*/ 1568438 w 8023328"/>
              <a:gd name="connsiteY3448" fmla="*/ 440753 h 2380521"/>
              <a:gd name="connsiteX3449" fmla="*/ 1582294 w 8023328"/>
              <a:gd name="connsiteY3449" fmla="*/ 428356 h 2380521"/>
              <a:gd name="connsiteX3450" fmla="*/ 1512195 w 8023328"/>
              <a:gd name="connsiteY3450" fmla="*/ 428356 h 2380521"/>
              <a:gd name="connsiteX3451" fmla="*/ 1523862 w 8023328"/>
              <a:gd name="connsiteY3451" fmla="*/ 440753 h 2380521"/>
              <a:gd name="connsiteX3452" fmla="*/ 1512195 w 8023328"/>
              <a:gd name="connsiteY3452" fmla="*/ 454610 h 2380521"/>
              <a:gd name="connsiteX3453" fmla="*/ 1497610 w 8023328"/>
              <a:gd name="connsiteY3453" fmla="*/ 440753 h 2380521"/>
              <a:gd name="connsiteX3454" fmla="*/ 1512195 w 8023328"/>
              <a:gd name="connsiteY3454" fmla="*/ 428356 h 2380521"/>
              <a:gd name="connsiteX3455" fmla="*/ 1439171 w 8023328"/>
              <a:gd name="connsiteY3455" fmla="*/ 428356 h 2380521"/>
              <a:gd name="connsiteX3456" fmla="*/ 1453023 w 8023328"/>
              <a:gd name="connsiteY3456" fmla="*/ 440753 h 2380521"/>
              <a:gd name="connsiteX3457" fmla="*/ 1439171 w 8023328"/>
              <a:gd name="connsiteY3457" fmla="*/ 454610 h 2380521"/>
              <a:gd name="connsiteX3458" fmla="*/ 1426771 w 8023328"/>
              <a:gd name="connsiteY3458" fmla="*/ 440753 h 2380521"/>
              <a:gd name="connsiteX3459" fmla="*/ 1439171 w 8023328"/>
              <a:gd name="connsiteY3459" fmla="*/ 428356 h 2380521"/>
              <a:gd name="connsiteX3460" fmla="*/ 1368344 w 8023328"/>
              <a:gd name="connsiteY3460" fmla="*/ 428356 h 2380521"/>
              <a:gd name="connsiteX3461" fmla="*/ 1382196 w 8023328"/>
              <a:gd name="connsiteY3461" fmla="*/ 440753 h 2380521"/>
              <a:gd name="connsiteX3462" fmla="*/ 1368344 w 8023328"/>
              <a:gd name="connsiteY3462" fmla="*/ 454610 h 2380521"/>
              <a:gd name="connsiteX3463" fmla="*/ 1355948 w 8023328"/>
              <a:gd name="connsiteY3463" fmla="*/ 440753 h 2380521"/>
              <a:gd name="connsiteX3464" fmla="*/ 1368344 w 8023328"/>
              <a:gd name="connsiteY3464" fmla="*/ 428356 h 2380521"/>
              <a:gd name="connsiteX3465" fmla="*/ 1297515 w 8023328"/>
              <a:gd name="connsiteY3465" fmla="*/ 428356 h 2380521"/>
              <a:gd name="connsiteX3466" fmla="*/ 1311372 w 8023328"/>
              <a:gd name="connsiteY3466" fmla="*/ 440753 h 2380521"/>
              <a:gd name="connsiteX3467" fmla="*/ 1297515 w 8023328"/>
              <a:gd name="connsiteY3467" fmla="*/ 454610 h 2380521"/>
              <a:gd name="connsiteX3468" fmla="*/ 1285118 w 8023328"/>
              <a:gd name="connsiteY3468" fmla="*/ 440753 h 2380521"/>
              <a:gd name="connsiteX3469" fmla="*/ 1297515 w 8023328"/>
              <a:gd name="connsiteY3469" fmla="*/ 428356 h 2380521"/>
              <a:gd name="connsiteX3470" fmla="*/ 1225703 w 8023328"/>
              <a:gd name="connsiteY3470" fmla="*/ 428356 h 2380521"/>
              <a:gd name="connsiteX3471" fmla="*/ 1240491 w 8023328"/>
              <a:gd name="connsiteY3471" fmla="*/ 440753 h 2380521"/>
              <a:gd name="connsiteX3472" fmla="*/ 1225703 w 8023328"/>
              <a:gd name="connsiteY3472" fmla="*/ 454610 h 2380521"/>
              <a:gd name="connsiteX3473" fmla="*/ 1210925 w 8023328"/>
              <a:gd name="connsiteY3473" fmla="*/ 440753 h 2380521"/>
              <a:gd name="connsiteX3474" fmla="*/ 1225703 w 8023328"/>
              <a:gd name="connsiteY3474" fmla="*/ 428356 h 2380521"/>
              <a:gd name="connsiteX3475" fmla="*/ 1154886 w 8023328"/>
              <a:gd name="connsiteY3475" fmla="*/ 428356 h 2380521"/>
              <a:gd name="connsiteX3476" fmla="*/ 1169676 w 8023328"/>
              <a:gd name="connsiteY3476" fmla="*/ 440753 h 2380521"/>
              <a:gd name="connsiteX3477" fmla="*/ 1154886 w 8023328"/>
              <a:gd name="connsiteY3477" fmla="*/ 454610 h 2380521"/>
              <a:gd name="connsiteX3478" fmla="*/ 1140096 w 8023328"/>
              <a:gd name="connsiteY3478" fmla="*/ 440753 h 2380521"/>
              <a:gd name="connsiteX3479" fmla="*/ 1154886 w 8023328"/>
              <a:gd name="connsiteY3479" fmla="*/ 428356 h 2380521"/>
              <a:gd name="connsiteX3480" fmla="*/ 1084056 w 8023328"/>
              <a:gd name="connsiteY3480" fmla="*/ 428356 h 2380521"/>
              <a:gd name="connsiteX3481" fmla="*/ 1098844 w 8023328"/>
              <a:gd name="connsiteY3481" fmla="*/ 440753 h 2380521"/>
              <a:gd name="connsiteX3482" fmla="*/ 1084056 w 8023328"/>
              <a:gd name="connsiteY3482" fmla="*/ 454610 h 2380521"/>
              <a:gd name="connsiteX3483" fmla="*/ 1069267 w 8023328"/>
              <a:gd name="connsiteY3483" fmla="*/ 440753 h 2380521"/>
              <a:gd name="connsiteX3484" fmla="*/ 1084056 w 8023328"/>
              <a:gd name="connsiteY3484" fmla="*/ 428356 h 2380521"/>
              <a:gd name="connsiteX3485" fmla="*/ 1013015 w 8023328"/>
              <a:gd name="connsiteY3485" fmla="*/ 428356 h 2380521"/>
              <a:gd name="connsiteX3486" fmla="*/ 1024685 w 8023328"/>
              <a:gd name="connsiteY3486" fmla="*/ 440753 h 2380521"/>
              <a:gd name="connsiteX3487" fmla="*/ 1013015 w 8023328"/>
              <a:gd name="connsiteY3487" fmla="*/ 454610 h 2380521"/>
              <a:gd name="connsiteX3488" fmla="*/ 998434 w 8023328"/>
              <a:gd name="connsiteY3488" fmla="*/ 440753 h 2380521"/>
              <a:gd name="connsiteX3489" fmla="*/ 1013015 w 8023328"/>
              <a:gd name="connsiteY3489" fmla="*/ 428356 h 2380521"/>
              <a:gd name="connsiteX3490" fmla="*/ 941465 w 8023328"/>
              <a:gd name="connsiteY3490" fmla="*/ 428356 h 2380521"/>
              <a:gd name="connsiteX3491" fmla="*/ 953864 w 8023328"/>
              <a:gd name="connsiteY3491" fmla="*/ 440753 h 2380521"/>
              <a:gd name="connsiteX3492" fmla="*/ 941465 w 8023328"/>
              <a:gd name="connsiteY3492" fmla="*/ 454610 h 2380521"/>
              <a:gd name="connsiteX3493" fmla="*/ 927611 w 8023328"/>
              <a:gd name="connsiteY3493" fmla="*/ 440753 h 2380521"/>
              <a:gd name="connsiteX3494" fmla="*/ 941465 w 8023328"/>
              <a:gd name="connsiteY3494" fmla="*/ 428356 h 2380521"/>
              <a:gd name="connsiteX3495" fmla="*/ 870633 w 8023328"/>
              <a:gd name="connsiteY3495" fmla="*/ 428356 h 2380521"/>
              <a:gd name="connsiteX3496" fmla="*/ 883030 w 8023328"/>
              <a:gd name="connsiteY3496" fmla="*/ 440753 h 2380521"/>
              <a:gd name="connsiteX3497" fmla="*/ 870633 w 8023328"/>
              <a:gd name="connsiteY3497" fmla="*/ 454610 h 2380521"/>
              <a:gd name="connsiteX3498" fmla="*/ 856774 w 8023328"/>
              <a:gd name="connsiteY3498" fmla="*/ 440753 h 2380521"/>
              <a:gd name="connsiteX3499" fmla="*/ 870633 w 8023328"/>
              <a:gd name="connsiteY3499" fmla="*/ 428356 h 2380521"/>
              <a:gd name="connsiteX3500" fmla="*/ 798344 w 8023328"/>
              <a:gd name="connsiteY3500" fmla="*/ 428356 h 2380521"/>
              <a:gd name="connsiteX3501" fmla="*/ 812196 w 8023328"/>
              <a:gd name="connsiteY3501" fmla="*/ 440753 h 2380521"/>
              <a:gd name="connsiteX3502" fmla="*/ 798344 w 8023328"/>
              <a:gd name="connsiteY3502" fmla="*/ 454610 h 2380521"/>
              <a:gd name="connsiteX3503" fmla="*/ 785947 w 8023328"/>
              <a:gd name="connsiteY3503" fmla="*/ 440753 h 2380521"/>
              <a:gd name="connsiteX3504" fmla="*/ 798344 w 8023328"/>
              <a:gd name="connsiteY3504" fmla="*/ 428356 h 2380521"/>
              <a:gd name="connsiteX3505" fmla="*/ 724138 w 8023328"/>
              <a:gd name="connsiteY3505" fmla="*/ 428356 h 2380521"/>
              <a:gd name="connsiteX3506" fmla="*/ 738002 w 8023328"/>
              <a:gd name="connsiteY3506" fmla="*/ 442212 h 2380521"/>
              <a:gd name="connsiteX3507" fmla="*/ 724138 w 8023328"/>
              <a:gd name="connsiteY3507" fmla="*/ 454610 h 2380521"/>
              <a:gd name="connsiteX3508" fmla="*/ 711747 w 8023328"/>
              <a:gd name="connsiteY3508" fmla="*/ 442212 h 2380521"/>
              <a:gd name="connsiteX3509" fmla="*/ 724138 w 8023328"/>
              <a:gd name="connsiteY3509" fmla="*/ 428356 h 2380521"/>
              <a:gd name="connsiteX3510" fmla="*/ 653312 w 8023328"/>
              <a:gd name="connsiteY3510" fmla="*/ 428356 h 2380521"/>
              <a:gd name="connsiteX3511" fmla="*/ 667165 w 8023328"/>
              <a:gd name="connsiteY3511" fmla="*/ 442212 h 2380521"/>
              <a:gd name="connsiteX3512" fmla="*/ 653312 w 8023328"/>
              <a:gd name="connsiteY3512" fmla="*/ 454610 h 2380521"/>
              <a:gd name="connsiteX3513" fmla="*/ 640912 w 8023328"/>
              <a:gd name="connsiteY3513" fmla="*/ 442212 h 2380521"/>
              <a:gd name="connsiteX3514" fmla="*/ 653312 w 8023328"/>
              <a:gd name="connsiteY3514" fmla="*/ 428356 h 2380521"/>
              <a:gd name="connsiteX3515" fmla="*/ 3796752 w 8023328"/>
              <a:gd name="connsiteY3515" fmla="*/ 424982 h 2380521"/>
              <a:gd name="connsiteX3516" fmla="*/ 3810608 w 8023328"/>
              <a:gd name="connsiteY3516" fmla="*/ 439771 h 2380521"/>
              <a:gd name="connsiteX3517" fmla="*/ 3796752 w 8023328"/>
              <a:gd name="connsiteY3517" fmla="*/ 454560 h 2380521"/>
              <a:gd name="connsiteX3518" fmla="*/ 3784355 w 8023328"/>
              <a:gd name="connsiteY3518" fmla="*/ 439771 h 2380521"/>
              <a:gd name="connsiteX3519" fmla="*/ 3796752 w 8023328"/>
              <a:gd name="connsiteY3519" fmla="*/ 424982 h 2380521"/>
              <a:gd name="connsiteX3520" fmla="*/ 3725922 w 8023328"/>
              <a:gd name="connsiteY3520" fmla="*/ 424982 h 2380521"/>
              <a:gd name="connsiteX3521" fmla="*/ 3739778 w 8023328"/>
              <a:gd name="connsiteY3521" fmla="*/ 439771 h 2380521"/>
              <a:gd name="connsiteX3522" fmla="*/ 3725922 w 8023328"/>
              <a:gd name="connsiteY3522" fmla="*/ 454560 h 2380521"/>
              <a:gd name="connsiteX3523" fmla="*/ 3713525 w 8023328"/>
              <a:gd name="connsiteY3523" fmla="*/ 439771 h 2380521"/>
              <a:gd name="connsiteX3524" fmla="*/ 3725922 w 8023328"/>
              <a:gd name="connsiteY3524" fmla="*/ 424982 h 2380521"/>
              <a:gd name="connsiteX3525" fmla="*/ 3655091 w 8023328"/>
              <a:gd name="connsiteY3525" fmla="*/ 424982 h 2380521"/>
              <a:gd name="connsiteX3526" fmla="*/ 3668947 w 8023328"/>
              <a:gd name="connsiteY3526" fmla="*/ 439771 h 2380521"/>
              <a:gd name="connsiteX3527" fmla="*/ 3655091 w 8023328"/>
              <a:gd name="connsiteY3527" fmla="*/ 454560 h 2380521"/>
              <a:gd name="connsiteX3528" fmla="*/ 3642694 w 8023328"/>
              <a:gd name="connsiteY3528" fmla="*/ 439771 h 2380521"/>
              <a:gd name="connsiteX3529" fmla="*/ 3655091 w 8023328"/>
              <a:gd name="connsiteY3529" fmla="*/ 424982 h 2380521"/>
              <a:gd name="connsiteX3530" fmla="*/ 3583280 w 8023328"/>
              <a:gd name="connsiteY3530" fmla="*/ 424982 h 2380521"/>
              <a:gd name="connsiteX3531" fmla="*/ 3598069 w 8023328"/>
              <a:gd name="connsiteY3531" fmla="*/ 439771 h 2380521"/>
              <a:gd name="connsiteX3532" fmla="*/ 3583280 w 8023328"/>
              <a:gd name="connsiteY3532" fmla="*/ 454560 h 2380521"/>
              <a:gd name="connsiteX3533" fmla="*/ 3568491 w 8023328"/>
              <a:gd name="connsiteY3533" fmla="*/ 439771 h 2380521"/>
              <a:gd name="connsiteX3534" fmla="*/ 3583280 w 8023328"/>
              <a:gd name="connsiteY3534" fmla="*/ 424982 h 2380521"/>
              <a:gd name="connsiteX3535" fmla="*/ 3512449 w 8023328"/>
              <a:gd name="connsiteY3535" fmla="*/ 424982 h 2380521"/>
              <a:gd name="connsiteX3536" fmla="*/ 3527237 w 8023328"/>
              <a:gd name="connsiteY3536" fmla="*/ 439771 h 2380521"/>
              <a:gd name="connsiteX3537" fmla="*/ 3512449 w 8023328"/>
              <a:gd name="connsiteY3537" fmla="*/ 454560 h 2380521"/>
              <a:gd name="connsiteX3538" fmla="*/ 3497661 w 8023328"/>
              <a:gd name="connsiteY3538" fmla="*/ 439771 h 2380521"/>
              <a:gd name="connsiteX3539" fmla="*/ 3512449 w 8023328"/>
              <a:gd name="connsiteY3539" fmla="*/ 424982 h 2380521"/>
              <a:gd name="connsiteX3540" fmla="*/ 3440686 w 8023328"/>
              <a:gd name="connsiteY3540" fmla="*/ 424982 h 2380521"/>
              <a:gd name="connsiteX3541" fmla="*/ 3453083 w 8023328"/>
              <a:gd name="connsiteY3541" fmla="*/ 439771 h 2380521"/>
              <a:gd name="connsiteX3542" fmla="*/ 3440686 w 8023328"/>
              <a:gd name="connsiteY3542" fmla="*/ 454560 h 2380521"/>
              <a:gd name="connsiteX3543" fmla="*/ 3426830 w 8023328"/>
              <a:gd name="connsiteY3543" fmla="*/ 439771 h 2380521"/>
              <a:gd name="connsiteX3544" fmla="*/ 3440686 w 8023328"/>
              <a:gd name="connsiteY3544" fmla="*/ 424982 h 2380521"/>
              <a:gd name="connsiteX3545" fmla="*/ 3369857 w 8023328"/>
              <a:gd name="connsiteY3545" fmla="*/ 424982 h 2380521"/>
              <a:gd name="connsiteX3546" fmla="*/ 3382254 w 8023328"/>
              <a:gd name="connsiteY3546" fmla="*/ 439771 h 2380521"/>
              <a:gd name="connsiteX3547" fmla="*/ 3369857 w 8023328"/>
              <a:gd name="connsiteY3547" fmla="*/ 454560 h 2380521"/>
              <a:gd name="connsiteX3548" fmla="*/ 3356001 w 8023328"/>
              <a:gd name="connsiteY3548" fmla="*/ 439771 h 2380521"/>
              <a:gd name="connsiteX3549" fmla="*/ 3369857 w 8023328"/>
              <a:gd name="connsiteY3549" fmla="*/ 424982 h 2380521"/>
              <a:gd name="connsiteX3550" fmla="*/ 3299097 w 8023328"/>
              <a:gd name="connsiteY3550" fmla="*/ 424982 h 2380521"/>
              <a:gd name="connsiteX3551" fmla="*/ 3311491 w 8023328"/>
              <a:gd name="connsiteY3551" fmla="*/ 439771 h 2380521"/>
              <a:gd name="connsiteX3552" fmla="*/ 3299097 w 8023328"/>
              <a:gd name="connsiteY3552" fmla="*/ 454560 h 2380521"/>
              <a:gd name="connsiteX3553" fmla="*/ 3285240 w 8023328"/>
              <a:gd name="connsiteY3553" fmla="*/ 439771 h 2380521"/>
              <a:gd name="connsiteX3554" fmla="*/ 3299097 w 8023328"/>
              <a:gd name="connsiteY3554" fmla="*/ 424982 h 2380521"/>
              <a:gd name="connsiteX3555" fmla="*/ 3226805 w 8023328"/>
              <a:gd name="connsiteY3555" fmla="*/ 424982 h 2380521"/>
              <a:gd name="connsiteX3556" fmla="*/ 3240664 w 8023328"/>
              <a:gd name="connsiteY3556" fmla="*/ 439771 h 2380521"/>
              <a:gd name="connsiteX3557" fmla="*/ 3226805 w 8023328"/>
              <a:gd name="connsiteY3557" fmla="*/ 454560 h 2380521"/>
              <a:gd name="connsiteX3558" fmla="*/ 3214406 w 8023328"/>
              <a:gd name="connsiteY3558" fmla="*/ 439771 h 2380521"/>
              <a:gd name="connsiteX3559" fmla="*/ 3226805 w 8023328"/>
              <a:gd name="connsiteY3559" fmla="*/ 424982 h 2380521"/>
              <a:gd name="connsiteX3560" fmla="*/ 3152602 w 8023328"/>
              <a:gd name="connsiteY3560" fmla="*/ 424982 h 2380521"/>
              <a:gd name="connsiteX3561" fmla="*/ 3166460 w 8023328"/>
              <a:gd name="connsiteY3561" fmla="*/ 439771 h 2380521"/>
              <a:gd name="connsiteX3562" fmla="*/ 3152602 w 8023328"/>
              <a:gd name="connsiteY3562" fmla="*/ 454560 h 2380521"/>
              <a:gd name="connsiteX3563" fmla="*/ 3140203 w 8023328"/>
              <a:gd name="connsiteY3563" fmla="*/ 439771 h 2380521"/>
              <a:gd name="connsiteX3564" fmla="*/ 3152602 w 8023328"/>
              <a:gd name="connsiteY3564" fmla="*/ 424982 h 2380521"/>
              <a:gd name="connsiteX3565" fmla="*/ 3081772 w 8023328"/>
              <a:gd name="connsiteY3565" fmla="*/ 424982 h 2380521"/>
              <a:gd name="connsiteX3566" fmla="*/ 3095624 w 8023328"/>
              <a:gd name="connsiteY3566" fmla="*/ 439771 h 2380521"/>
              <a:gd name="connsiteX3567" fmla="*/ 3081772 w 8023328"/>
              <a:gd name="connsiteY3567" fmla="*/ 454560 h 2380521"/>
              <a:gd name="connsiteX3568" fmla="*/ 3069372 w 8023328"/>
              <a:gd name="connsiteY3568" fmla="*/ 439771 h 2380521"/>
              <a:gd name="connsiteX3569" fmla="*/ 3081772 w 8023328"/>
              <a:gd name="connsiteY3569" fmla="*/ 424982 h 2380521"/>
              <a:gd name="connsiteX3570" fmla="*/ 3013715 w 8023328"/>
              <a:gd name="connsiteY3570" fmla="*/ 424982 h 2380521"/>
              <a:gd name="connsiteX3571" fmla="*/ 3028135 w 8023328"/>
              <a:gd name="connsiteY3571" fmla="*/ 439771 h 2380521"/>
              <a:gd name="connsiteX3572" fmla="*/ 3013715 w 8023328"/>
              <a:gd name="connsiteY3572" fmla="*/ 454560 h 2380521"/>
              <a:gd name="connsiteX3573" fmla="*/ 2998539 w 8023328"/>
              <a:gd name="connsiteY3573" fmla="*/ 439771 h 2380521"/>
              <a:gd name="connsiteX3574" fmla="*/ 3013715 w 8023328"/>
              <a:gd name="connsiteY3574" fmla="*/ 424982 h 2380521"/>
              <a:gd name="connsiteX3575" fmla="*/ 2942491 w 8023328"/>
              <a:gd name="connsiteY3575" fmla="*/ 424982 h 2380521"/>
              <a:gd name="connsiteX3576" fmla="*/ 2957286 w 8023328"/>
              <a:gd name="connsiteY3576" fmla="*/ 439771 h 2380521"/>
              <a:gd name="connsiteX3577" fmla="*/ 2942491 w 8023328"/>
              <a:gd name="connsiteY3577" fmla="*/ 454560 h 2380521"/>
              <a:gd name="connsiteX3578" fmla="*/ 2927708 w 8023328"/>
              <a:gd name="connsiteY3578" fmla="*/ 439771 h 2380521"/>
              <a:gd name="connsiteX3579" fmla="*/ 2942491 w 8023328"/>
              <a:gd name="connsiteY3579" fmla="*/ 424982 h 2380521"/>
              <a:gd name="connsiteX3580" fmla="*/ 2868291 w 8023328"/>
              <a:gd name="connsiteY3580" fmla="*/ 424982 h 2380521"/>
              <a:gd name="connsiteX3581" fmla="*/ 2883085 w 8023328"/>
              <a:gd name="connsiteY3581" fmla="*/ 439771 h 2380521"/>
              <a:gd name="connsiteX3582" fmla="*/ 2868291 w 8023328"/>
              <a:gd name="connsiteY3582" fmla="*/ 454560 h 2380521"/>
              <a:gd name="connsiteX3583" fmla="*/ 2853504 w 8023328"/>
              <a:gd name="connsiteY3583" fmla="*/ 439771 h 2380521"/>
              <a:gd name="connsiteX3584" fmla="*/ 2868291 w 8023328"/>
              <a:gd name="connsiteY3584" fmla="*/ 424982 h 2380521"/>
              <a:gd name="connsiteX3585" fmla="*/ 2796533 w 8023328"/>
              <a:gd name="connsiteY3585" fmla="*/ 424982 h 2380521"/>
              <a:gd name="connsiteX3586" fmla="*/ 2808932 w 8023328"/>
              <a:gd name="connsiteY3586" fmla="*/ 439771 h 2380521"/>
              <a:gd name="connsiteX3587" fmla="*/ 2796533 w 8023328"/>
              <a:gd name="connsiteY3587" fmla="*/ 454560 h 2380521"/>
              <a:gd name="connsiteX3588" fmla="*/ 2782678 w 8023328"/>
              <a:gd name="connsiteY3588" fmla="*/ 439771 h 2380521"/>
              <a:gd name="connsiteX3589" fmla="*/ 2796533 w 8023328"/>
              <a:gd name="connsiteY3589" fmla="*/ 424982 h 2380521"/>
              <a:gd name="connsiteX3590" fmla="*/ 2725695 w 8023328"/>
              <a:gd name="connsiteY3590" fmla="*/ 424982 h 2380521"/>
              <a:gd name="connsiteX3591" fmla="*/ 2738097 w 8023328"/>
              <a:gd name="connsiteY3591" fmla="*/ 439771 h 2380521"/>
              <a:gd name="connsiteX3592" fmla="*/ 2725695 w 8023328"/>
              <a:gd name="connsiteY3592" fmla="*/ 454560 h 2380521"/>
              <a:gd name="connsiteX3593" fmla="*/ 2711846 w 8023328"/>
              <a:gd name="connsiteY3593" fmla="*/ 439771 h 2380521"/>
              <a:gd name="connsiteX3594" fmla="*/ 2725695 w 8023328"/>
              <a:gd name="connsiteY3594" fmla="*/ 424982 h 2380521"/>
              <a:gd name="connsiteX3595" fmla="*/ 2654870 w 8023328"/>
              <a:gd name="connsiteY3595" fmla="*/ 424982 h 2380521"/>
              <a:gd name="connsiteX3596" fmla="*/ 2667270 w 8023328"/>
              <a:gd name="connsiteY3596" fmla="*/ 439771 h 2380521"/>
              <a:gd name="connsiteX3597" fmla="*/ 2654870 w 8023328"/>
              <a:gd name="connsiteY3597" fmla="*/ 454560 h 2380521"/>
              <a:gd name="connsiteX3598" fmla="*/ 2641018 w 8023328"/>
              <a:gd name="connsiteY3598" fmla="*/ 439771 h 2380521"/>
              <a:gd name="connsiteX3599" fmla="*/ 2654870 w 8023328"/>
              <a:gd name="connsiteY3599" fmla="*/ 424982 h 2380521"/>
              <a:gd name="connsiteX3600" fmla="*/ 2582580 w 8023328"/>
              <a:gd name="connsiteY3600" fmla="*/ 424982 h 2380521"/>
              <a:gd name="connsiteX3601" fmla="*/ 2596437 w 8023328"/>
              <a:gd name="connsiteY3601" fmla="*/ 439771 h 2380521"/>
              <a:gd name="connsiteX3602" fmla="*/ 2582580 w 8023328"/>
              <a:gd name="connsiteY3602" fmla="*/ 454560 h 2380521"/>
              <a:gd name="connsiteX3603" fmla="*/ 2570184 w 8023328"/>
              <a:gd name="connsiteY3603" fmla="*/ 439771 h 2380521"/>
              <a:gd name="connsiteX3604" fmla="*/ 2582580 w 8023328"/>
              <a:gd name="connsiteY3604" fmla="*/ 424982 h 2380521"/>
              <a:gd name="connsiteX3605" fmla="*/ 2511026 w 8023328"/>
              <a:gd name="connsiteY3605" fmla="*/ 424982 h 2380521"/>
              <a:gd name="connsiteX3606" fmla="*/ 2525610 w 8023328"/>
              <a:gd name="connsiteY3606" fmla="*/ 439771 h 2380521"/>
              <a:gd name="connsiteX3607" fmla="*/ 2511026 w 8023328"/>
              <a:gd name="connsiteY3607" fmla="*/ 454560 h 2380521"/>
              <a:gd name="connsiteX3608" fmla="*/ 2499361 w 8023328"/>
              <a:gd name="connsiteY3608" fmla="*/ 439771 h 2380521"/>
              <a:gd name="connsiteX3609" fmla="*/ 2511026 w 8023328"/>
              <a:gd name="connsiteY3609" fmla="*/ 424982 h 2380521"/>
              <a:gd name="connsiteX3610" fmla="*/ 1799085 w 8023328"/>
              <a:gd name="connsiteY3610" fmla="*/ 357525 h 2380521"/>
              <a:gd name="connsiteX3611" fmla="*/ 1813873 w 8023328"/>
              <a:gd name="connsiteY3611" fmla="*/ 369922 h 2380521"/>
              <a:gd name="connsiteX3612" fmla="*/ 1799085 w 8023328"/>
              <a:gd name="connsiteY3612" fmla="*/ 383779 h 2380521"/>
              <a:gd name="connsiteX3613" fmla="*/ 1784300 w 8023328"/>
              <a:gd name="connsiteY3613" fmla="*/ 369922 h 2380521"/>
              <a:gd name="connsiteX3614" fmla="*/ 1799085 w 8023328"/>
              <a:gd name="connsiteY3614" fmla="*/ 357525 h 2380521"/>
              <a:gd name="connsiteX3615" fmla="*/ 1728262 w 8023328"/>
              <a:gd name="connsiteY3615" fmla="*/ 357525 h 2380521"/>
              <a:gd name="connsiteX3616" fmla="*/ 1743049 w 8023328"/>
              <a:gd name="connsiteY3616" fmla="*/ 369922 h 2380521"/>
              <a:gd name="connsiteX3617" fmla="*/ 1728262 w 8023328"/>
              <a:gd name="connsiteY3617" fmla="*/ 383779 h 2380521"/>
              <a:gd name="connsiteX3618" fmla="*/ 1713470 w 8023328"/>
              <a:gd name="connsiteY3618" fmla="*/ 369922 h 2380521"/>
              <a:gd name="connsiteX3619" fmla="*/ 1728262 w 8023328"/>
              <a:gd name="connsiteY3619" fmla="*/ 357525 h 2380521"/>
              <a:gd name="connsiteX3620" fmla="*/ 1657429 w 8023328"/>
              <a:gd name="connsiteY3620" fmla="*/ 357525 h 2380521"/>
              <a:gd name="connsiteX3621" fmla="*/ 1672220 w 8023328"/>
              <a:gd name="connsiteY3621" fmla="*/ 369922 h 2380521"/>
              <a:gd name="connsiteX3622" fmla="*/ 1657429 w 8023328"/>
              <a:gd name="connsiteY3622" fmla="*/ 383779 h 2380521"/>
              <a:gd name="connsiteX3623" fmla="*/ 1642650 w 8023328"/>
              <a:gd name="connsiteY3623" fmla="*/ 369922 h 2380521"/>
              <a:gd name="connsiteX3624" fmla="*/ 1657429 w 8023328"/>
              <a:gd name="connsiteY3624" fmla="*/ 357525 h 2380521"/>
              <a:gd name="connsiteX3625" fmla="*/ 1582296 w 8023328"/>
              <a:gd name="connsiteY3625" fmla="*/ 357525 h 2380521"/>
              <a:gd name="connsiteX3626" fmla="*/ 1594704 w 8023328"/>
              <a:gd name="connsiteY3626" fmla="*/ 369922 h 2380521"/>
              <a:gd name="connsiteX3627" fmla="*/ 1582296 w 8023328"/>
              <a:gd name="connsiteY3627" fmla="*/ 383779 h 2380521"/>
              <a:gd name="connsiteX3628" fmla="*/ 1568441 w 8023328"/>
              <a:gd name="connsiteY3628" fmla="*/ 369922 h 2380521"/>
              <a:gd name="connsiteX3629" fmla="*/ 1582296 w 8023328"/>
              <a:gd name="connsiteY3629" fmla="*/ 357525 h 2380521"/>
              <a:gd name="connsiteX3630" fmla="*/ 1512195 w 8023328"/>
              <a:gd name="connsiteY3630" fmla="*/ 357525 h 2380521"/>
              <a:gd name="connsiteX3631" fmla="*/ 1523863 w 8023328"/>
              <a:gd name="connsiteY3631" fmla="*/ 369922 h 2380521"/>
              <a:gd name="connsiteX3632" fmla="*/ 1512195 w 8023328"/>
              <a:gd name="connsiteY3632" fmla="*/ 383779 h 2380521"/>
              <a:gd name="connsiteX3633" fmla="*/ 1497612 w 8023328"/>
              <a:gd name="connsiteY3633" fmla="*/ 369922 h 2380521"/>
              <a:gd name="connsiteX3634" fmla="*/ 1512195 w 8023328"/>
              <a:gd name="connsiteY3634" fmla="*/ 357525 h 2380521"/>
              <a:gd name="connsiteX3635" fmla="*/ 1439171 w 8023328"/>
              <a:gd name="connsiteY3635" fmla="*/ 357525 h 2380521"/>
              <a:gd name="connsiteX3636" fmla="*/ 1453023 w 8023328"/>
              <a:gd name="connsiteY3636" fmla="*/ 369922 h 2380521"/>
              <a:gd name="connsiteX3637" fmla="*/ 1439171 w 8023328"/>
              <a:gd name="connsiteY3637" fmla="*/ 383779 h 2380521"/>
              <a:gd name="connsiteX3638" fmla="*/ 1426774 w 8023328"/>
              <a:gd name="connsiteY3638" fmla="*/ 369922 h 2380521"/>
              <a:gd name="connsiteX3639" fmla="*/ 1439171 w 8023328"/>
              <a:gd name="connsiteY3639" fmla="*/ 357525 h 2380521"/>
              <a:gd name="connsiteX3640" fmla="*/ 1368347 w 8023328"/>
              <a:gd name="connsiteY3640" fmla="*/ 357525 h 2380521"/>
              <a:gd name="connsiteX3641" fmla="*/ 1382199 w 8023328"/>
              <a:gd name="connsiteY3641" fmla="*/ 369922 h 2380521"/>
              <a:gd name="connsiteX3642" fmla="*/ 1368347 w 8023328"/>
              <a:gd name="connsiteY3642" fmla="*/ 383779 h 2380521"/>
              <a:gd name="connsiteX3643" fmla="*/ 1355949 w 8023328"/>
              <a:gd name="connsiteY3643" fmla="*/ 369922 h 2380521"/>
              <a:gd name="connsiteX3644" fmla="*/ 1368347 w 8023328"/>
              <a:gd name="connsiteY3644" fmla="*/ 357525 h 2380521"/>
              <a:gd name="connsiteX3645" fmla="*/ 1297518 w 8023328"/>
              <a:gd name="connsiteY3645" fmla="*/ 357525 h 2380521"/>
              <a:gd name="connsiteX3646" fmla="*/ 1311374 w 8023328"/>
              <a:gd name="connsiteY3646" fmla="*/ 369922 h 2380521"/>
              <a:gd name="connsiteX3647" fmla="*/ 1297518 w 8023328"/>
              <a:gd name="connsiteY3647" fmla="*/ 383779 h 2380521"/>
              <a:gd name="connsiteX3648" fmla="*/ 1285121 w 8023328"/>
              <a:gd name="connsiteY3648" fmla="*/ 369922 h 2380521"/>
              <a:gd name="connsiteX3649" fmla="*/ 1297518 w 8023328"/>
              <a:gd name="connsiteY3649" fmla="*/ 357525 h 2380521"/>
              <a:gd name="connsiteX3650" fmla="*/ 1225703 w 8023328"/>
              <a:gd name="connsiteY3650" fmla="*/ 357525 h 2380521"/>
              <a:gd name="connsiteX3651" fmla="*/ 1240493 w 8023328"/>
              <a:gd name="connsiteY3651" fmla="*/ 369922 h 2380521"/>
              <a:gd name="connsiteX3652" fmla="*/ 1225703 w 8023328"/>
              <a:gd name="connsiteY3652" fmla="*/ 383779 h 2380521"/>
              <a:gd name="connsiteX3653" fmla="*/ 1210926 w 8023328"/>
              <a:gd name="connsiteY3653" fmla="*/ 369922 h 2380521"/>
              <a:gd name="connsiteX3654" fmla="*/ 1225703 w 8023328"/>
              <a:gd name="connsiteY3654" fmla="*/ 357525 h 2380521"/>
              <a:gd name="connsiteX3655" fmla="*/ 1154890 w 8023328"/>
              <a:gd name="connsiteY3655" fmla="*/ 357525 h 2380521"/>
              <a:gd name="connsiteX3656" fmla="*/ 1169676 w 8023328"/>
              <a:gd name="connsiteY3656" fmla="*/ 369922 h 2380521"/>
              <a:gd name="connsiteX3657" fmla="*/ 1154890 w 8023328"/>
              <a:gd name="connsiteY3657" fmla="*/ 383779 h 2380521"/>
              <a:gd name="connsiteX3658" fmla="*/ 1140096 w 8023328"/>
              <a:gd name="connsiteY3658" fmla="*/ 369922 h 2380521"/>
              <a:gd name="connsiteX3659" fmla="*/ 1154890 w 8023328"/>
              <a:gd name="connsiteY3659" fmla="*/ 357525 h 2380521"/>
              <a:gd name="connsiteX3660" fmla="*/ 1084059 w 8023328"/>
              <a:gd name="connsiteY3660" fmla="*/ 357525 h 2380521"/>
              <a:gd name="connsiteX3661" fmla="*/ 1098844 w 8023328"/>
              <a:gd name="connsiteY3661" fmla="*/ 369922 h 2380521"/>
              <a:gd name="connsiteX3662" fmla="*/ 1084059 w 8023328"/>
              <a:gd name="connsiteY3662" fmla="*/ 383779 h 2380521"/>
              <a:gd name="connsiteX3663" fmla="*/ 1069268 w 8023328"/>
              <a:gd name="connsiteY3663" fmla="*/ 369922 h 2380521"/>
              <a:gd name="connsiteX3664" fmla="*/ 1084059 w 8023328"/>
              <a:gd name="connsiteY3664" fmla="*/ 357525 h 2380521"/>
              <a:gd name="connsiteX3665" fmla="*/ 1013015 w 8023328"/>
              <a:gd name="connsiteY3665" fmla="*/ 357525 h 2380521"/>
              <a:gd name="connsiteX3666" fmla="*/ 1024685 w 8023328"/>
              <a:gd name="connsiteY3666" fmla="*/ 369922 h 2380521"/>
              <a:gd name="connsiteX3667" fmla="*/ 1013015 w 8023328"/>
              <a:gd name="connsiteY3667" fmla="*/ 383779 h 2380521"/>
              <a:gd name="connsiteX3668" fmla="*/ 998434 w 8023328"/>
              <a:gd name="connsiteY3668" fmla="*/ 369922 h 2380521"/>
              <a:gd name="connsiteX3669" fmla="*/ 1013015 w 8023328"/>
              <a:gd name="connsiteY3669" fmla="*/ 357525 h 2380521"/>
              <a:gd name="connsiteX3670" fmla="*/ 941465 w 8023328"/>
              <a:gd name="connsiteY3670" fmla="*/ 357525 h 2380521"/>
              <a:gd name="connsiteX3671" fmla="*/ 953864 w 8023328"/>
              <a:gd name="connsiteY3671" fmla="*/ 369922 h 2380521"/>
              <a:gd name="connsiteX3672" fmla="*/ 941465 w 8023328"/>
              <a:gd name="connsiteY3672" fmla="*/ 383779 h 2380521"/>
              <a:gd name="connsiteX3673" fmla="*/ 927611 w 8023328"/>
              <a:gd name="connsiteY3673" fmla="*/ 369922 h 2380521"/>
              <a:gd name="connsiteX3674" fmla="*/ 941465 w 8023328"/>
              <a:gd name="connsiteY3674" fmla="*/ 357525 h 2380521"/>
              <a:gd name="connsiteX3675" fmla="*/ 870633 w 8023328"/>
              <a:gd name="connsiteY3675" fmla="*/ 357525 h 2380521"/>
              <a:gd name="connsiteX3676" fmla="*/ 883034 w 8023328"/>
              <a:gd name="connsiteY3676" fmla="*/ 369922 h 2380521"/>
              <a:gd name="connsiteX3677" fmla="*/ 870633 w 8023328"/>
              <a:gd name="connsiteY3677" fmla="*/ 383779 h 2380521"/>
              <a:gd name="connsiteX3678" fmla="*/ 856777 w 8023328"/>
              <a:gd name="connsiteY3678" fmla="*/ 369922 h 2380521"/>
              <a:gd name="connsiteX3679" fmla="*/ 870633 w 8023328"/>
              <a:gd name="connsiteY3679" fmla="*/ 357525 h 2380521"/>
              <a:gd name="connsiteX3680" fmla="*/ 798346 w 8023328"/>
              <a:gd name="connsiteY3680" fmla="*/ 357525 h 2380521"/>
              <a:gd name="connsiteX3681" fmla="*/ 812203 w 8023328"/>
              <a:gd name="connsiteY3681" fmla="*/ 369922 h 2380521"/>
              <a:gd name="connsiteX3682" fmla="*/ 798346 w 8023328"/>
              <a:gd name="connsiteY3682" fmla="*/ 383779 h 2380521"/>
              <a:gd name="connsiteX3683" fmla="*/ 785947 w 8023328"/>
              <a:gd name="connsiteY3683" fmla="*/ 369922 h 2380521"/>
              <a:gd name="connsiteX3684" fmla="*/ 798346 w 8023328"/>
              <a:gd name="connsiteY3684" fmla="*/ 357525 h 2380521"/>
              <a:gd name="connsiteX3685" fmla="*/ 3654110 w 8023328"/>
              <a:gd name="connsiteY3685" fmla="*/ 354153 h 2380521"/>
              <a:gd name="connsiteX3686" fmla="*/ 3668898 w 8023328"/>
              <a:gd name="connsiteY3686" fmla="*/ 368738 h 2380521"/>
              <a:gd name="connsiteX3687" fmla="*/ 3654110 w 8023328"/>
              <a:gd name="connsiteY3687" fmla="*/ 380407 h 2380521"/>
              <a:gd name="connsiteX3688" fmla="*/ 3639322 w 8023328"/>
              <a:gd name="connsiteY3688" fmla="*/ 368738 h 2380521"/>
              <a:gd name="connsiteX3689" fmla="*/ 3654110 w 8023328"/>
              <a:gd name="connsiteY3689" fmla="*/ 354153 h 2380521"/>
              <a:gd name="connsiteX3690" fmla="*/ 3583280 w 8023328"/>
              <a:gd name="connsiteY3690" fmla="*/ 354153 h 2380521"/>
              <a:gd name="connsiteX3691" fmla="*/ 3598069 w 8023328"/>
              <a:gd name="connsiteY3691" fmla="*/ 368738 h 2380521"/>
              <a:gd name="connsiteX3692" fmla="*/ 3583280 w 8023328"/>
              <a:gd name="connsiteY3692" fmla="*/ 380407 h 2380521"/>
              <a:gd name="connsiteX3693" fmla="*/ 3568491 w 8023328"/>
              <a:gd name="connsiteY3693" fmla="*/ 368738 h 2380521"/>
              <a:gd name="connsiteX3694" fmla="*/ 3583280 w 8023328"/>
              <a:gd name="connsiteY3694" fmla="*/ 354153 h 2380521"/>
              <a:gd name="connsiteX3695" fmla="*/ 3512449 w 8023328"/>
              <a:gd name="connsiteY3695" fmla="*/ 354153 h 2380521"/>
              <a:gd name="connsiteX3696" fmla="*/ 3527237 w 8023328"/>
              <a:gd name="connsiteY3696" fmla="*/ 369330 h 2380521"/>
              <a:gd name="connsiteX3697" fmla="*/ 3512449 w 8023328"/>
              <a:gd name="connsiteY3697" fmla="*/ 383749 h 2380521"/>
              <a:gd name="connsiteX3698" fmla="*/ 3497661 w 8023328"/>
              <a:gd name="connsiteY3698" fmla="*/ 369330 h 2380521"/>
              <a:gd name="connsiteX3699" fmla="*/ 3512449 w 8023328"/>
              <a:gd name="connsiteY3699" fmla="*/ 354153 h 2380521"/>
              <a:gd name="connsiteX3700" fmla="*/ 3440686 w 8023328"/>
              <a:gd name="connsiteY3700" fmla="*/ 354153 h 2380521"/>
              <a:gd name="connsiteX3701" fmla="*/ 3453083 w 8023328"/>
              <a:gd name="connsiteY3701" fmla="*/ 369330 h 2380521"/>
              <a:gd name="connsiteX3702" fmla="*/ 3440686 w 8023328"/>
              <a:gd name="connsiteY3702" fmla="*/ 383749 h 2380521"/>
              <a:gd name="connsiteX3703" fmla="*/ 3426830 w 8023328"/>
              <a:gd name="connsiteY3703" fmla="*/ 369330 h 2380521"/>
              <a:gd name="connsiteX3704" fmla="*/ 3440686 w 8023328"/>
              <a:gd name="connsiteY3704" fmla="*/ 354153 h 2380521"/>
              <a:gd name="connsiteX3705" fmla="*/ 3369857 w 8023328"/>
              <a:gd name="connsiteY3705" fmla="*/ 354153 h 2380521"/>
              <a:gd name="connsiteX3706" fmla="*/ 3382254 w 8023328"/>
              <a:gd name="connsiteY3706" fmla="*/ 369330 h 2380521"/>
              <a:gd name="connsiteX3707" fmla="*/ 3369857 w 8023328"/>
              <a:gd name="connsiteY3707" fmla="*/ 383749 h 2380521"/>
              <a:gd name="connsiteX3708" fmla="*/ 3356001 w 8023328"/>
              <a:gd name="connsiteY3708" fmla="*/ 369330 h 2380521"/>
              <a:gd name="connsiteX3709" fmla="*/ 3369857 w 8023328"/>
              <a:gd name="connsiteY3709" fmla="*/ 354153 h 2380521"/>
              <a:gd name="connsiteX3710" fmla="*/ 3299097 w 8023328"/>
              <a:gd name="connsiteY3710" fmla="*/ 354153 h 2380521"/>
              <a:gd name="connsiteX3711" fmla="*/ 3311496 w 8023328"/>
              <a:gd name="connsiteY3711" fmla="*/ 369330 h 2380521"/>
              <a:gd name="connsiteX3712" fmla="*/ 3299097 w 8023328"/>
              <a:gd name="connsiteY3712" fmla="*/ 383749 h 2380521"/>
              <a:gd name="connsiteX3713" fmla="*/ 3285242 w 8023328"/>
              <a:gd name="connsiteY3713" fmla="*/ 369330 h 2380521"/>
              <a:gd name="connsiteX3714" fmla="*/ 3299097 w 8023328"/>
              <a:gd name="connsiteY3714" fmla="*/ 354153 h 2380521"/>
              <a:gd name="connsiteX3715" fmla="*/ 3226808 w 8023328"/>
              <a:gd name="connsiteY3715" fmla="*/ 354153 h 2380521"/>
              <a:gd name="connsiteX3716" fmla="*/ 3240664 w 8023328"/>
              <a:gd name="connsiteY3716" fmla="*/ 369330 h 2380521"/>
              <a:gd name="connsiteX3717" fmla="*/ 3226808 w 8023328"/>
              <a:gd name="connsiteY3717" fmla="*/ 383749 h 2380521"/>
              <a:gd name="connsiteX3718" fmla="*/ 3214410 w 8023328"/>
              <a:gd name="connsiteY3718" fmla="*/ 369330 h 2380521"/>
              <a:gd name="connsiteX3719" fmla="*/ 3226808 w 8023328"/>
              <a:gd name="connsiteY3719" fmla="*/ 354153 h 2380521"/>
              <a:gd name="connsiteX3720" fmla="*/ 3152605 w 8023328"/>
              <a:gd name="connsiteY3720" fmla="*/ 354153 h 2380521"/>
              <a:gd name="connsiteX3721" fmla="*/ 3166462 w 8023328"/>
              <a:gd name="connsiteY3721" fmla="*/ 369330 h 2380521"/>
              <a:gd name="connsiteX3722" fmla="*/ 3152605 w 8023328"/>
              <a:gd name="connsiteY3722" fmla="*/ 383749 h 2380521"/>
              <a:gd name="connsiteX3723" fmla="*/ 3140206 w 8023328"/>
              <a:gd name="connsiteY3723" fmla="*/ 369330 h 2380521"/>
              <a:gd name="connsiteX3724" fmla="*/ 3152605 w 8023328"/>
              <a:gd name="connsiteY3724" fmla="*/ 354153 h 2380521"/>
              <a:gd name="connsiteX3725" fmla="*/ 3081774 w 8023328"/>
              <a:gd name="connsiteY3725" fmla="*/ 354153 h 2380521"/>
              <a:gd name="connsiteX3726" fmla="*/ 3095627 w 8023328"/>
              <a:gd name="connsiteY3726" fmla="*/ 369330 h 2380521"/>
              <a:gd name="connsiteX3727" fmla="*/ 3081774 w 8023328"/>
              <a:gd name="connsiteY3727" fmla="*/ 383749 h 2380521"/>
              <a:gd name="connsiteX3728" fmla="*/ 3069375 w 8023328"/>
              <a:gd name="connsiteY3728" fmla="*/ 369330 h 2380521"/>
              <a:gd name="connsiteX3729" fmla="*/ 3081774 w 8023328"/>
              <a:gd name="connsiteY3729" fmla="*/ 354153 h 2380521"/>
              <a:gd name="connsiteX3730" fmla="*/ 3013715 w 8023328"/>
              <a:gd name="connsiteY3730" fmla="*/ 354153 h 2380521"/>
              <a:gd name="connsiteX3731" fmla="*/ 3028135 w 8023328"/>
              <a:gd name="connsiteY3731" fmla="*/ 369330 h 2380521"/>
              <a:gd name="connsiteX3732" fmla="*/ 3013715 w 8023328"/>
              <a:gd name="connsiteY3732" fmla="*/ 383749 h 2380521"/>
              <a:gd name="connsiteX3733" fmla="*/ 2998539 w 8023328"/>
              <a:gd name="connsiteY3733" fmla="*/ 369330 h 2380521"/>
              <a:gd name="connsiteX3734" fmla="*/ 3013715 w 8023328"/>
              <a:gd name="connsiteY3734" fmla="*/ 354153 h 2380521"/>
              <a:gd name="connsiteX3735" fmla="*/ 2942494 w 8023328"/>
              <a:gd name="connsiteY3735" fmla="*/ 354153 h 2380521"/>
              <a:gd name="connsiteX3736" fmla="*/ 2957288 w 8023328"/>
              <a:gd name="connsiteY3736" fmla="*/ 369330 h 2380521"/>
              <a:gd name="connsiteX3737" fmla="*/ 2942494 w 8023328"/>
              <a:gd name="connsiteY3737" fmla="*/ 383749 h 2380521"/>
              <a:gd name="connsiteX3738" fmla="*/ 2927708 w 8023328"/>
              <a:gd name="connsiteY3738" fmla="*/ 369330 h 2380521"/>
              <a:gd name="connsiteX3739" fmla="*/ 2942494 w 8023328"/>
              <a:gd name="connsiteY3739" fmla="*/ 354153 h 2380521"/>
              <a:gd name="connsiteX3740" fmla="*/ 2868293 w 8023328"/>
              <a:gd name="connsiteY3740" fmla="*/ 354153 h 2380521"/>
              <a:gd name="connsiteX3741" fmla="*/ 2883085 w 8023328"/>
              <a:gd name="connsiteY3741" fmla="*/ 369330 h 2380521"/>
              <a:gd name="connsiteX3742" fmla="*/ 2868293 w 8023328"/>
              <a:gd name="connsiteY3742" fmla="*/ 383749 h 2380521"/>
              <a:gd name="connsiteX3743" fmla="*/ 2853504 w 8023328"/>
              <a:gd name="connsiteY3743" fmla="*/ 369330 h 2380521"/>
              <a:gd name="connsiteX3744" fmla="*/ 2868293 w 8023328"/>
              <a:gd name="connsiteY3744" fmla="*/ 354153 h 2380521"/>
              <a:gd name="connsiteX3745" fmla="*/ 2796535 w 8023328"/>
              <a:gd name="connsiteY3745" fmla="*/ 354153 h 2380521"/>
              <a:gd name="connsiteX3746" fmla="*/ 2808932 w 8023328"/>
              <a:gd name="connsiteY3746" fmla="*/ 369330 h 2380521"/>
              <a:gd name="connsiteX3747" fmla="*/ 2796535 w 8023328"/>
              <a:gd name="connsiteY3747" fmla="*/ 383749 h 2380521"/>
              <a:gd name="connsiteX3748" fmla="*/ 2782678 w 8023328"/>
              <a:gd name="connsiteY3748" fmla="*/ 369330 h 2380521"/>
              <a:gd name="connsiteX3749" fmla="*/ 2796535 w 8023328"/>
              <a:gd name="connsiteY3749" fmla="*/ 354153 h 2380521"/>
              <a:gd name="connsiteX3750" fmla="*/ 2725695 w 8023328"/>
              <a:gd name="connsiteY3750" fmla="*/ 354153 h 2380521"/>
              <a:gd name="connsiteX3751" fmla="*/ 2738100 w 8023328"/>
              <a:gd name="connsiteY3751" fmla="*/ 369330 h 2380521"/>
              <a:gd name="connsiteX3752" fmla="*/ 2725695 w 8023328"/>
              <a:gd name="connsiteY3752" fmla="*/ 383749 h 2380521"/>
              <a:gd name="connsiteX3753" fmla="*/ 2711846 w 8023328"/>
              <a:gd name="connsiteY3753" fmla="*/ 369330 h 2380521"/>
              <a:gd name="connsiteX3754" fmla="*/ 2725695 w 8023328"/>
              <a:gd name="connsiteY3754" fmla="*/ 354153 h 2380521"/>
              <a:gd name="connsiteX3755" fmla="*/ 2653415 w 8023328"/>
              <a:gd name="connsiteY3755" fmla="*/ 354153 h 2380521"/>
              <a:gd name="connsiteX3756" fmla="*/ 2667270 w 8023328"/>
              <a:gd name="connsiteY3756" fmla="*/ 369330 h 2380521"/>
              <a:gd name="connsiteX3757" fmla="*/ 2653415 w 8023328"/>
              <a:gd name="connsiteY3757" fmla="*/ 383749 h 2380521"/>
              <a:gd name="connsiteX3758" fmla="*/ 2641021 w 8023328"/>
              <a:gd name="connsiteY3758" fmla="*/ 369330 h 2380521"/>
              <a:gd name="connsiteX3759" fmla="*/ 2653415 w 8023328"/>
              <a:gd name="connsiteY3759" fmla="*/ 354153 h 2380521"/>
              <a:gd name="connsiteX3760" fmla="*/ 2582583 w 8023328"/>
              <a:gd name="connsiteY3760" fmla="*/ 354153 h 2380521"/>
              <a:gd name="connsiteX3761" fmla="*/ 2596439 w 8023328"/>
              <a:gd name="connsiteY3761" fmla="*/ 369330 h 2380521"/>
              <a:gd name="connsiteX3762" fmla="*/ 2582583 w 8023328"/>
              <a:gd name="connsiteY3762" fmla="*/ 383749 h 2380521"/>
              <a:gd name="connsiteX3763" fmla="*/ 2570184 w 8023328"/>
              <a:gd name="connsiteY3763" fmla="*/ 369330 h 2380521"/>
              <a:gd name="connsiteX3764" fmla="*/ 2582583 w 8023328"/>
              <a:gd name="connsiteY3764" fmla="*/ 354153 h 2380521"/>
              <a:gd name="connsiteX3765" fmla="*/ 2511029 w 8023328"/>
              <a:gd name="connsiteY3765" fmla="*/ 354153 h 2380521"/>
              <a:gd name="connsiteX3766" fmla="*/ 2525613 w 8023328"/>
              <a:gd name="connsiteY3766" fmla="*/ 369330 h 2380521"/>
              <a:gd name="connsiteX3767" fmla="*/ 2511029 w 8023328"/>
              <a:gd name="connsiteY3767" fmla="*/ 383749 h 2380521"/>
              <a:gd name="connsiteX3768" fmla="*/ 2499361 w 8023328"/>
              <a:gd name="connsiteY3768" fmla="*/ 369330 h 2380521"/>
              <a:gd name="connsiteX3769" fmla="*/ 2511029 w 8023328"/>
              <a:gd name="connsiteY3769" fmla="*/ 354153 h 2380521"/>
              <a:gd name="connsiteX3770" fmla="*/ 2439946 w 8023328"/>
              <a:gd name="connsiteY3770" fmla="*/ 354153 h 2380521"/>
              <a:gd name="connsiteX3771" fmla="*/ 2454732 w 8023328"/>
              <a:gd name="connsiteY3771" fmla="*/ 369330 h 2380521"/>
              <a:gd name="connsiteX3772" fmla="*/ 2439946 w 8023328"/>
              <a:gd name="connsiteY3772" fmla="*/ 383749 h 2380521"/>
              <a:gd name="connsiteX3773" fmla="*/ 2425156 w 8023328"/>
              <a:gd name="connsiteY3773" fmla="*/ 369330 h 2380521"/>
              <a:gd name="connsiteX3774" fmla="*/ 2439946 w 8023328"/>
              <a:gd name="connsiteY3774" fmla="*/ 354153 h 2380521"/>
              <a:gd name="connsiteX3775" fmla="*/ 2369110 w 8023328"/>
              <a:gd name="connsiteY3775" fmla="*/ 354153 h 2380521"/>
              <a:gd name="connsiteX3776" fmla="*/ 2383899 w 8023328"/>
              <a:gd name="connsiteY3776" fmla="*/ 369330 h 2380521"/>
              <a:gd name="connsiteX3777" fmla="*/ 2369110 w 8023328"/>
              <a:gd name="connsiteY3777" fmla="*/ 383749 h 2380521"/>
              <a:gd name="connsiteX3778" fmla="*/ 2354319 w 8023328"/>
              <a:gd name="connsiteY3778" fmla="*/ 369330 h 2380521"/>
              <a:gd name="connsiteX3779" fmla="*/ 2369110 w 8023328"/>
              <a:gd name="connsiteY3779" fmla="*/ 354153 h 2380521"/>
              <a:gd name="connsiteX3780" fmla="*/ 2298280 w 8023328"/>
              <a:gd name="connsiteY3780" fmla="*/ 354153 h 2380521"/>
              <a:gd name="connsiteX3781" fmla="*/ 2313068 w 8023328"/>
              <a:gd name="connsiteY3781" fmla="*/ 369330 h 2380521"/>
              <a:gd name="connsiteX3782" fmla="*/ 2298280 w 8023328"/>
              <a:gd name="connsiteY3782" fmla="*/ 383749 h 2380521"/>
              <a:gd name="connsiteX3783" fmla="*/ 2283490 w 8023328"/>
              <a:gd name="connsiteY3783" fmla="*/ 369330 h 2380521"/>
              <a:gd name="connsiteX3784" fmla="*/ 2298280 w 8023328"/>
              <a:gd name="connsiteY3784" fmla="*/ 354153 h 2380521"/>
              <a:gd name="connsiteX3785" fmla="*/ 2226517 w 8023328"/>
              <a:gd name="connsiteY3785" fmla="*/ 354153 h 2380521"/>
              <a:gd name="connsiteX3786" fmla="*/ 2238914 w 8023328"/>
              <a:gd name="connsiteY3786" fmla="*/ 369330 h 2380521"/>
              <a:gd name="connsiteX3787" fmla="*/ 2226517 w 8023328"/>
              <a:gd name="connsiteY3787" fmla="*/ 383749 h 2380521"/>
              <a:gd name="connsiteX3788" fmla="*/ 2212658 w 8023328"/>
              <a:gd name="connsiteY3788" fmla="*/ 369330 h 2380521"/>
              <a:gd name="connsiteX3789" fmla="*/ 2226517 w 8023328"/>
              <a:gd name="connsiteY3789" fmla="*/ 354153 h 2380521"/>
              <a:gd name="connsiteX3790" fmla="*/ 2155683 w 8023328"/>
              <a:gd name="connsiteY3790" fmla="*/ 354153 h 2380521"/>
              <a:gd name="connsiteX3791" fmla="*/ 2168081 w 8023328"/>
              <a:gd name="connsiteY3791" fmla="*/ 369330 h 2380521"/>
              <a:gd name="connsiteX3792" fmla="*/ 2155683 w 8023328"/>
              <a:gd name="connsiteY3792" fmla="*/ 383749 h 2380521"/>
              <a:gd name="connsiteX3793" fmla="*/ 2141827 w 8023328"/>
              <a:gd name="connsiteY3793" fmla="*/ 369330 h 2380521"/>
              <a:gd name="connsiteX3794" fmla="*/ 2155683 w 8023328"/>
              <a:gd name="connsiteY3794" fmla="*/ 354153 h 2380521"/>
              <a:gd name="connsiteX3795" fmla="*/ 2084849 w 8023328"/>
              <a:gd name="connsiteY3795" fmla="*/ 354153 h 2380521"/>
              <a:gd name="connsiteX3796" fmla="*/ 2097248 w 8023328"/>
              <a:gd name="connsiteY3796" fmla="*/ 369330 h 2380521"/>
              <a:gd name="connsiteX3797" fmla="*/ 2084849 w 8023328"/>
              <a:gd name="connsiteY3797" fmla="*/ 383749 h 2380521"/>
              <a:gd name="connsiteX3798" fmla="*/ 2070994 w 8023328"/>
              <a:gd name="connsiteY3798" fmla="*/ 369330 h 2380521"/>
              <a:gd name="connsiteX3799" fmla="*/ 2084849 w 8023328"/>
              <a:gd name="connsiteY3799" fmla="*/ 354153 h 2380521"/>
              <a:gd name="connsiteX3800" fmla="*/ 2011835 w 8023328"/>
              <a:gd name="connsiteY3800" fmla="*/ 354153 h 2380521"/>
              <a:gd name="connsiteX3801" fmla="*/ 2026421 w 8023328"/>
              <a:gd name="connsiteY3801" fmla="*/ 369330 h 2380521"/>
              <a:gd name="connsiteX3802" fmla="*/ 2011835 w 8023328"/>
              <a:gd name="connsiteY3802" fmla="*/ 383749 h 2380521"/>
              <a:gd name="connsiteX3803" fmla="*/ 2000166 w 8023328"/>
              <a:gd name="connsiteY3803" fmla="*/ 369330 h 2380521"/>
              <a:gd name="connsiteX3804" fmla="*/ 2011835 w 8023328"/>
              <a:gd name="connsiteY3804" fmla="*/ 354153 h 2380521"/>
              <a:gd name="connsiteX3805" fmla="*/ 1938362 w 8023328"/>
              <a:gd name="connsiteY3805" fmla="*/ 354153 h 2380521"/>
              <a:gd name="connsiteX3806" fmla="*/ 1952222 w 8023328"/>
              <a:gd name="connsiteY3806" fmla="*/ 369330 h 2380521"/>
              <a:gd name="connsiteX3807" fmla="*/ 1938362 w 8023328"/>
              <a:gd name="connsiteY3807" fmla="*/ 383749 h 2380521"/>
              <a:gd name="connsiteX3808" fmla="*/ 1925968 w 8023328"/>
              <a:gd name="connsiteY3808" fmla="*/ 369330 h 2380521"/>
              <a:gd name="connsiteX3809" fmla="*/ 1938362 w 8023328"/>
              <a:gd name="connsiteY3809" fmla="*/ 354153 h 2380521"/>
              <a:gd name="connsiteX3810" fmla="*/ 1867527 w 8023328"/>
              <a:gd name="connsiteY3810" fmla="*/ 354153 h 2380521"/>
              <a:gd name="connsiteX3811" fmla="*/ 1881384 w 8023328"/>
              <a:gd name="connsiteY3811" fmla="*/ 369330 h 2380521"/>
              <a:gd name="connsiteX3812" fmla="*/ 1867527 w 8023328"/>
              <a:gd name="connsiteY3812" fmla="*/ 383749 h 2380521"/>
              <a:gd name="connsiteX3813" fmla="*/ 1855129 w 8023328"/>
              <a:gd name="connsiteY3813" fmla="*/ 369330 h 2380521"/>
              <a:gd name="connsiteX3814" fmla="*/ 1867527 w 8023328"/>
              <a:gd name="connsiteY3814" fmla="*/ 354153 h 2380521"/>
              <a:gd name="connsiteX3815" fmla="*/ 1225708 w 8023328"/>
              <a:gd name="connsiteY3815" fmla="*/ 284879 h 2380521"/>
              <a:gd name="connsiteX3816" fmla="*/ 1240493 w 8023328"/>
              <a:gd name="connsiteY3816" fmla="*/ 298111 h 2380521"/>
              <a:gd name="connsiteX3817" fmla="*/ 1225708 w 8023328"/>
              <a:gd name="connsiteY3817" fmla="*/ 312900 h 2380521"/>
              <a:gd name="connsiteX3818" fmla="*/ 1210931 w 8023328"/>
              <a:gd name="connsiteY3818" fmla="*/ 298111 h 2380521"/>
              <a:gd name="connsiteX3819" fmla="*/ 1225708 w 8023328"/>
              <a:gd name="connsiteY3819" fmla="*/ 284879 h 2380521"/>
              <a:gd name="connsiteX3820" fmla="*/ 3440686 w 8023328"/>
              <a:gd name="connsiteY3820" fmla="*/ 283322 h 2380521"/>
              <a:gd name="connsiteX3821" fmla="*/ 3453083 w 8023328"/>
              <a:gd name="connsiteY3821" fmla="*/ 297178 h 2380521"/>
              <a:gd name="connsiteX3822" fmla="*/ 3440686 w 8023328"/>
              <a:gd name="connsiteY3822" fmla="*/ 309576 h 2380521"/>
              <a:gd name="connsiteX3823" fmla="*/ 3426830 w 8023328"/>
              <a:gd name="connsiteY3823" fmla="*/ 297178 h 2380521"/>
              <a:gd name="connsiteX3824" fmla="*/ 3440686 w 8023328"/>
              <a:gd name="connsiteY3824" fmla="*/ 283322 h 2380521"/>
              <a:gd name="connsiteX3825" fmla="*/ 3369857 w 8023328"/>
              <a:gd name="connsiteY3825" fmla="*/ 283322 h 2380521"/>
              <a:gd name="connsiteX3826" fmla="*/ 3382254 w 8023328"/>
              <a:gd name="connsiteY3826" fmla="*/ 297178 h 2380521"/>
              <a:gd name="connsiteX3827" fmla="*/ 3369857 w 8023328"/>
              <a:gd name="connsiteY3827" fmla="*/ 309576 h 2380521"/>
              <a:gd name="connsiteX3828" fmla="*/ 3356001 w 8023328"/>
              <a:gd name="connsiteY3828" fmla="*/ 297178 h 2380521"/>
              <a:gd name="connsiteX3829" fmla="*/ 3369857 w 8023328"/>
              <a:gd name="connsiteY3829" fmla="*/ 283322 h 2380521"/>
              <a:gd name="connsiteX3830" fmla="*/ 3299100 w 8023328"/>
              <a:gd name="connsiteY3830" fmla="*/ 283322 h 2380521"/>
              <a:gd name="connsiteX3831" fmla="*/ 3311496 w 8023328"/>
              <a:gd name="connsiteY3831" fmla="*/ 297178 h 2380521"/>
              <a:gd name="connsiteX3832" fmla="*/ 3299100 w 8023328"/>
              <a:gd name="connsiteY3832" fmla="*/ 309576 h 2380521"/>
              <a:gd name="connsiteX3833" fmla="*/ 3285242 w 8023328"/>
              <a:gd name="connsiteY3833" fmla="*/ 297178 h 2380521"/>
              <a:gd name="connsiteX3834" fmla="*/ 3299100 w 8023328"/>
              <a:gd name="connsiteY3834" fmla="*/ 283322 h 2380521"/>
              <a:gd name="connsiteX3835" fmla="*/ 3226808 w 8023328"/>
              <a:gd name="connsiteY3835" fmla="*/ 283322 h 2380521"/>
              <a:gd name="connsiteX3836" fmla="*/ 3240664 w 8023328"/>
              <a:gd name="connsiteY3836" fmla="*/ 297178 h 2380521"/>
              <a:gd name="connsiteX3837" fmla="*/ 3226808 w 8023328"/>
              <a:gd name="connsiteY3837" fmla="*/ 309576 h 2380521"/>
              <a:gd name="connsiteX3838" fmla="*/ 3214410 w 8023328"/>
              <a:gd name="connsiteY3838" fmla="*/ 297178 h 2380521"/>
              <a:gd name="connsiteX3839" fmla="*/ 3226808 w 8023328"/>
              <a:gd name="connsiteY3839" fmla="*/ 283322 h 2380521"/>
              <a:gd name="connsiteX3840" fmla="*/ 3152605 w 8023328"/>
              <a:gd name="connsiteY3840" fmla="*/ 283322 h 2380521"/>
              <a:gd name="connsiteX3841" fmla="*/ 3166462 w 8023328"/>
              <a:gd name="connsiteY3841" fmla="*/ 297178 h 2380521"/>
              <a:gd name="connsiteX3842" fmla="*/ 3152605 w 8023328"/>
              <a:gd name="connsiteY3842" fmla="*/ 309576 h 2380521"/>
              <a:gd name="connsiteX3843" fmla="*/ 3140209 w 8023328"/>
              <a:gd name="connsiteY3843" fmla="*/ 297178 h 2380521"/>
              <a:gd name="connsiteX3844" fmla="*/ 3152605 w 8023328"/>
              <a:gd name="connsiteY3844" fmla="*/ 283322 h 2380521"/>
              <a:gd name="connsiteX3845" fmla="*/ 3081774 w 8023328"/>
              <a:gd name="connsiteY3845" fmla="*/ 283322 h 2380521"/>
              <a:gd name="connsiteX3846" fmla="*/ 3095628 w 8023328"/>
              <a:gd name="connsiteY3846" fmla="*/ 297178 h 2380521"/>
              <a:gd name="connsiteX3847" fmla="*/ 3081774 w 8023328"/>
              <a:gd name="connsiteY3847" fmla="*/ 309576 h 2380521"/>
              <a:gd name="connsiteX3848" fmla="*/ 3069375 w 8023328"/>
              <a:gd name="connsiteY3848" fmla="*/ 297178 h 2380521"/>
              <a:gd name="connsiteX3849" fmla="*/ 3081774 w 8023328"/>
              <a:gd name="connsiteY3849" fmla="*/ 283322 h 2380521"/>
              <a:gd name="connsiteX3850" fmla="*/ 3013717 w 8023328"/>
              <a:gd name="connsiteY3850" fmla="*/ 283322 h 2380521"/>
              <a:gd name="connsiteX3851" fmla="*/ 3028135 w 8023328"/>
              <a:gd name="connsiteY3851" fmla="*/ 297178 h 2380521"/>
              <a:gd name="connsiteX3852" fmla="*/ 3013717 w 8023328"/>
              <a:gd name="connsiteY3852" fmla="*/ 309576 h 2380521"/>
              <a:gd name="connsiteX3853" fmla="*/ 2998539 w 8023328"/>
              <a:gd name="connsiteY3853" fmla="*/ 297178 h 2380521"/>
              <a:gd name="connsiteX3854" fmla="*/ 3013717 w 8023328"/>
              <a:gd name="connsiteY3854" fmla="*/ 283322 h 2380521"/>
              <a:gd name="connsiteX3855" fmla="*/ 2942494 w 8023328"/>
              <a:gd name="connsiteY3855" fmla="*/ 283322 h 2380521"/>
              <a:gd name="connsiteX3856" fmla="*/ 2957288 w 8023328"/>
              <a:gd name="connsiteY3856" fmla="*/ 298111 h 2380521"/>
              <a:gd name="connsiteX3857" fmla="*/ 2942494 w 8023328"/>
              <a:gd name="connsiteY3857" fmla="*/ 312900 h 2380521"/>
              <a:gd name="connsiteX3858" fmla="*/ 2927711 w 8023328"/>
              <a:gd name="connsiteY3858" fmla="*/ 298111 h 2380521"/>
              <a:gd name="connsiteX3859" fmla="*/ 2942494 w 8023328"/>
              <a:gd name="connsiteY3859" fmla="*/ 283322 h 2380521"/>
              <a:gd name="connsiteX3860" fmla="*/ 2868293 w 8023328"/>
              <a:gd name="connsiteY3860" fmla="*/ 283322 h 2380521"/>
              <a:gd name="connsiteX3861" fmla="*/ 2883087 w 8023328"/>
              <a:gd name="connsiteY3861" fmla="*/ 298111 h 2380521"/>
              <a:gd name="connsiteX3862" fmla="*/ 2868293 w 8023328"/>
              <a:gd name="connsiteY3862" fmla="*/ 312900 h 2380521"/>
              <a:gd name="connsiteX3863" fmla="*/ 2853507 w 8023328"/>
              <a:gd name="connsiteY3863" fmla="*/ 298111 h 2380521"/>
              <a:gd name="connsiteX3864" fmla="*/ 2868293 w 8023328"/>
              <a:gd name="connsiteY3864" fmla="*/ 283322 h 2380521"/>
              <a:gd name="connsiteX3865" fmla="*/ 2796535 w 8023328"/>
              <a:gd name="connsiteY3865" fmla="*/ 283322 h 2380521"/>
              <a:gd name="connsiteX3866" fmla="*/ 2808934 w 8023328"/>
              <a:gd name="connsiteY3866" fmla="*/ 298111 h 2380521"/>
              <a:gd name="connsiteX3867" fmla="*/ 2796535 w 8023328"/>
              <a:gd name="connsiteY3867" fmla="*/ 312900 h 2380521"/>
              <a:gd name="connsiteX3868" fmla="*/ 2782678 w 8023328"/>
              <a:gd name="connsiteY3868" fmla="*/ 298111 h 2380521"/>
              <a:gd name="connsiteX3869" fmla="*/ 2796535 w 8023328"/>
              <a:gd name="connsiteY3869" fmla="*/ 283322 h 2380521"/>
              <a:gd name="connsiteX3870" fmla="*/ 2725698 w 8023328"/>
              <a:gd name="connsiteY3870" fmla="*/ 283322 h 2380521"/>
              <a:gd name="connsiteX3871" fmla="*/ 2738100 w 8023328"/>
              <a:gd name="connsiteY3871" fmla="*/ 298111 h 2380521"/>
              <a:gd name="connsiteX3872" fmla="*/ 2725698 w 8023328"/>
              <a:gd name="connsiteY3872" fmla="*/ 312900 h 2380521"/>
              <a:gd name="connsiteX3873" fmla="*/ 2711846 w 8023328"/>
              <a:gd name="connsiteY3873" fmla="*/ 298111 h 2380521"/>
              <a:gd name="connsiteX3874" fmla="*/ 2725698 w 8023328"/>
              <a:gd name="connsiteY3874" fmla="*/ 283322 h 2380521"/>
              <a:gd name="connsiteX3875" fmla="*/ 2653415 w 8023328"/>
              <a:gd name="connsiteY3875" fmla="*/ 283322 h 2380521"/>
              <a:gd name="connsiteX3876" fmla="*/ 2667270 w 8023328"/>
              <a:gd name="connsiteY3876" fmla="*/ 298111 h 2380521"/>
              <a:gd name="connsiteX3877" fmla="*/ 2653415 w 8023328"/>
              <a:gd name="connsiteY3877" fmla="*/ 312900 h 2380521"/>
              <a:gd name="connsiteX3878" fmla="*/ 2641021 w 8023328"/>
              <a:gd name="connsiteY3878" fmla="*/ 298111 h 2380521"/>
              <a:gd name="connsiteX3879" fmla="*/ 2653415 w 8023328"/>
              <a:gd name="connsiteY3879" fmla="*/ 283322 h 2380521"/>
              <a:gd name="connsiteX3880" fmla="*/ 2582583 w 8023328"/>
              <a:gd name="connsiteY3880" fmla="*/ 283322 h 2380521"/>
              <a:gd name="connsiteX3881" fmla="*/ 2596439 w 8023328"/>
              <a:gd name="connsiteY3881" fmla="*/ 298111 h 2380521"/>
              <a:gd name="connsiteX3882" fmla="*/ 2582583 w 8023328"/>
              <a:gd name="connsiteY3882" fmla="*/ 312900 h 2380521"/>
              <a:gd name="connsiteX3883" fmla="*/ 2570189 w 8023328"/>
              <a:gd name="connsiteY3883" fmla="*/ 298111 h 2380521"/>
              <a:gd name="connsiteX3884" fmla="*/ 2582583 w 8023328"/>
              <a:gd name="connsiteY3884" fmla="*/ 283322 h 2380521"/>
              <a:gd name="connsiteX3885" fmla="*/ 2511029 w 8023328"/>
              <a:gd name="connsiteY3885" fmla="*/ 283322 h 2380521"/>
              <a:gd name="connsiteX3886" fmla="*/ 2525613 w 8023328"/>
              <a:gd name="connsiteY3886" fmla="*/ 298111 h 2380521"/>
              <a:gd name="connsiteX3887" fmla="*/ 2511029 w 8023328"/>
              <a:gd name="connsiteY3887" fmla="*/ 312900 h 2380521"/>
              <a:gd name="connsiteX3888" fmla="*/ 2499361 w 8023328"/>
              <a:gd name="connsiteY3888" fmla="*/ 298111 h 2380521"/>
              <a:gd name="connsiteX3889" fmla="*/ 2511029 w 8023328"/>
              <a:gd name="connsiteY3889" fmla="*/ 283322 h 2380521"/>
              <a:gd name="connsiteX3890" fmla="*/ 2439946 w 8023328"/>
              <a:gd name="connsiteY3890" fmla="*/ 283322 h 2380521"/>
              <a:gd name="connsiteX3891" fmla="*/ 2454732 w 8023328"/>
              <a:gd name="connsiteY3891" fmla="*/ 298111 h 2380521"/>
              <a:gd name="connsiteX3892" fmla="*/ 2439946 w 8023328"/>
              <a:gd name="connsiteY3892" fmla="*/ 312900 h 2380521"/>
              <a:gd name="connsiteX3893" fmla="*/ 2425156 w 8023328"/>
              <a:gd name="connsiteY3893" fmla="*/ 298111 h 2380521"/>
              <a:gd name="connsiteX3894" fmla="*/ 2439946 w 8023328"/>
              <a:gd name="connsiteY3894" fmla="*/ 283322 h 2380521"/>
              <a:gd name="connsiteX3895" fmla="*/ 2369110 w 8023328"/>
              <a:gd name="connsiteY3895" fmla="*/ 283322 h 2380521"/>
              <a:gd name="connsiteX3896" fmla="*/ 2383899 w 8023328"/>
              <a:gd name="connsiteY3896" fmla="*/ 298111 h 2380521"/>
              <a:gd name="connsiteX3897" fmla="*/ 2369110 w 8023328"/>
              <a:gd name="connsiteY3897" fmla="*/ 312900 h 2380521"/>
              <a:gd name="connsiteX3898" fmla="*/ 2354319 w 8023328"/>
              <a:gd name="connsiteY3898" fmla="*/ 298111 h 2380521"/>
              <a:gd name="connsiteX3899" fmla="*/ 2369110 w 8023328"/>
              <a:gd name="connsiteY3899" fmla="*/ 283322 h 2380521"/>
              <a:gd name="connsiteX3900" fmla="*/ 2298280 w 8023328"/>
              <a:gd name="connsiteY3900" fmla="*/ 283322 h 2380521"/>
              <a:gd name="connsiteX3901" fmla="*/ 2313068 w 8023328"/>
              <a:gd name="connsiteY3901" fmla="*/ 298111 h 2380521"/>
              <a:gd name="connsiteX3902" fmla="*/ 2298280 w 8023328"/>
              <a:gd name="connsiteY3902" fmla="*/ 312900 h 2380521"/>
              <a:gd name="connsiteX3903" fmla="*/ 2283490 w 8023328"/>
              <a:gd name="connsiteY3903" fmla="*/ 298111 h 2380521"/>
              <a:gd name="connsiteX3904" fmla="*/ 2298280 w 8023328"/>
              <a:gd name="connsiteY3904" fmla="*/ 283322 h 2380521"/>
              <a:gd name="connsiteX3905" fmla="*/ 2226517 w 8023328"/>
              <a:gd name="connsiteY3905" fmla="*/ 283322 h 2380521"/>
              <a:gd name="connsiteX3906" fmla="*/ 2238914 w 8023328"/>
              <a:gd name="connsiteY3906" fmla="*/ 298111 h 2380521"/>
              <a:gd name="connsiteX3907" fmla="*/ 2226517 w 8023328"/>
              <a:gd name="connsiteY3907" fmla="*/ 312900 h 2380521"/>
              <a:gd name="connsiteX3908" fmla="*/ 2212658 w 8023328"/>
              <a:gd name="connsiteY3908" fmla="*/ 298111 h 2380521"/>
              <a:gd name="connsiteX3909" fmla="*/ 2226517 w 8023328"/>
              <a:gd name="connsiteY3909" fmla="*/ 283322 h 2380521"/>
              <a:gd name="connsiteX3910" fmla="*/ 2155683 w 8023328"/>
              <a:gd name="connsiteY3910" fmla="*/ 283322 h 2380521"/>
              <a:gd name="connsiteX3911" fmla="*/ 2168081 w 8023328"/>
              <a:gd name="connsiteY3911" fmla="*/ 298111 h 2380521"/>
              <a:gd name="connsiteX3912" fmla="*/ 2155683 w 8023328"/>
              <a:gd name="connsiteY3912" fmla="*/ 312900 h 2380521"/>
              <a:gd name="connsiteX3913" fmla="*/ 2141827 w 8023328"/>
              <a:gd name="connsiteY3913" fmla="*/ 298111 h 2380521"/>
              <a:gd name="connsiteX3914" fmla="*/ 2155683 w 8023328"/>
              <a:gd name="connsiteY3914" fmla="*/ 283322 h 2380521"/>
              <a:gd name="connsiteX3915" fmla="*/ 2084849 w 8023328"/>
              <a:gd name="connsiteY3915" fmla="*/ 283322 h 2380521"/>
              <a:gd name="connsiteX3916" fmla="*/ 2097248 w 8023328"/>
              <a:gd name="connsiteY3916" fmla="*/ 298111 h 2380521"/>
              <a:gd name="connsiteX3917" fmla="*/ 2084849 w 8023328"/>
              <a:gd name="connsiteY3917" fmla="*/ 312900 h 2380521"/>
              <a:gd name="connsiteX3918" fmla="*/ 2070994 w 8023328"/>
              <a:gd name="connsiteY3918" fmla="*/ 298111 h 2380521"/>
              <a:gd name="connsiteX3919" fmla="*/ 2084849 w 8023328"/>
              <a:gd name="connsiteY3919" fmla="*/ 283322 h 2380521"/>
              <a:gd name="connsiteX3920" fmla="*/ 2011835 w 8023328"/>
              <a:gd name="connsiteY3920" fmla="*/ 283322 h 2380521"/>
              <a:gd name="connsiteX3921" fmla="*/ 2026421 w 8023328"/>
              <a:gd name="connsiteY3921" fmla="*/ 298111 h 2380521"/>
              <a:gd name="connsiteX3922" fmla="*/ 2011835 w 8023328"/>
              <a:gd name="connsiteY3922" fmla="*/ 312900 h 2380521"/>
              <a:gd name="connsiteX3923" fmla="*/ 2000168 w 8023328"/>
              <a:gd name="connsiteY3923" fmla="*/ 298111 h 2380521"/>
              <a:gd name="connsiteX3924" fmla="*/ 2011835 w 8023328"/>
              <a:gd name="connsiteY3924" fmla="*/ 283322 h 2380521"/>
              <a:gd name="connsiteX3925" fmla="*/ 1938362 w 8023328"/>
              <a:gd name="connsiteY3925" fmla="*/ 283322 h 2380521"/>
              <a:gd name="connsiteX3926" fmla="*/ 1952222 w 8023328"/>
              <a:gd name="connsiteY3926" fmla="*/ 298111 h 2380521"/>
              <a:gd name="connsiteX3927" fmla="*/ 1938362 w 8023328"/>
              <a:gd name="connsiteY3927" fmla="*/ 312900 h 2380521"/>
              <a:gd name="connsiteX3928" fmla="*/ 1925968 w 8023328"/>
              <a:gd name="connsiteY3928" fmla="*/ 298111 h 2380521"/>
              <a:gd name="connsiteX3929" fmla="*/ 1938362 w 8023328"/>
              <a:gd name="connsiteY3929" fmla="*/ 283322 h 2380521"/>
              <a:gd name="connsiteX3930" fmla="*/ 1867527 w 8023328"/>
              <a:gd name="connsiteY3930" fmla="*/ 283322 h 2380521"/>
              <a:gd name="connsiteX3931" fmla="*/ 1881384 w 8023328"/>
              <a:gd name="connsiteY3931" fmla="*/ 298111 h 2380521"/>
              <a:gd name="connsiteX3932" fmla="*/ 1867527 w 8023328"/>
              <a:gd name="connsiteY3932" fmla="*/ 312900 h 2380521"/>
              <a:gd name="connsiteX3933" fmla="*/ 1855129 w 8023328"/>
              <a:gd name="connsiteY3933" fmla="*/ 298111 h 2380521"/>
              <a:gd name="connsiteX3934" fmla="*/ 1867527 w 8023328"/>
              <a:gd name="connsiteY3934" fmla="*/ 283322 h 2380521"/>
              <a:gd name="connsiteX3935" fmla="*/ 1799085 w 8023328"/>
              <a:gd name="connsiteY3935" fmla="*/ 283322 h 2380521"/>
              <a:gd name="connsiteX3936" fmla="*/ 1813876 w 8023328"/>
              <a:gd name="connsiteY3936" fmla="*/ 298111 h 2380521"/>
              <a:gd name="connsiteX3937" fmla="*/ 1799085 w 8023328"/>
              <a:gd name="connsiteY3937" fmla="*/ 312900 h 2380521"/>
              <a:gd name="connsiteX3938" fmla="*/ 1784300 w 8023328"/>
              <a:gd name="connsiteY3938" fmla="*/ 298111 h 2380521"/>
              <a:gd name="connsiteX3939" fmla="*/ 1799085 w 8023328"/>
              <a:gd name="connsiteY3939" fmla="*/ 283322 h 2380521"/>
              <a:gd name="connsiteX3940" fmla="*/ 1728262 w 8023328"/>
              <a:gd name="connsiteY3940" fmla="*/ 283322 h 2380521"/>
              <a:gd name="connsiteX3941" fmla="*/ 1743052 w 8023328"/>
              <a:gd name="connsiteY3941" fmla="*/ 298111 h 2380521"/>
              <a:gd name="connsiteX3942" fmla="*/ 1728262 w 8023328"/>
              <a:gd name="connsiteY3942" fmla="*/ 312900 h 2380521"/>
              <a:gd name="connsiteX3943" fmla="*/ 1713472 w 8023328"/>
              <a:gd name="connsiteY3943" fmla="*/ 298111 h 2380521"/>
              <a:gd name="connsiteX3944" fmla="*/ 1728262 w 8023328"/>
              <a:gd name="connsiteY3944" fmla="*/ 283322 h 2380521"/>
              <a:gd name="connsiteX3945" fmla="*/ 1656498 w 8023328"/>
              <a:gd name="connsiteY3945" fmla="*/ 283322 h 2380521"/>
              <a:gd name="connsiteX3946" fmla="*/ 1668897 w 8023328"/>
              <a:gd name="connsiteY3946" fmla="*/ 298111 h 2380521"/>
              <a:gd name="connsiteX3947" fmla="*/ 1656498 w 8023328"/>
              <a:gd name="connsiteY3947" fmla="*/ 312900 h 2380521"/>
              <a:gd name="connsiteX3948" fmla="*/ 1642650 w 8023328"/>
              <a:gd name="connsiteY3948" fmla="*/ 298111 h 2380521"/>
              <a:gd name="connsiteX3949" fmla="*/ 1656498 w 8023328"/>
              <a:gd name="connsiteY3949" fmla="*/ 283322 h 2380521"/>
              <a:gd name="connsiteX3950" fmla="*/ 1582299 w 8023328"/>
              <a:gd name="connsiteY3950" fmla="*/ 283322 h 2380521"/>
              <a:gd name="connsiteX3951" fmla="*/ 1594704 w 8023328"/>
              <a:gd name="connsiteY3951" fmla="*/ 298111 h 2380521"/>
              <a:gd name="connsiteX3952" fmla="*/ 1582299 w 8023328"/>
              <a:gd name="connsiteY3952" fmla="*/ 312900 h 2380521"/>
              <a:gd name="connsiteX3953" fmla="*/ 1568441 w 8023328"/>
              <a:gd name="connsiteY3953" fmla="*/ 298111 h 2380521"/>
              <a:gd name="connsiteX3954" fmla="*/ 1582299 w 8023328"/>
              <a:gd name="connsiteY3954" fmla="*/ 283322 h 2380521"/>
              <a:gd name="connsiteX3955" fmla="*/ 1512198 w 8023328"/>
              <a:gd name="connsiteY3955" fmla="*/ 283322 h 2380521"/>
              <a:gd name="connsiteX3956" fmla="*/ 1523865 w 8023328"/>
              <a:gd name="connsiteY3956" fmla="*/ 298111 h 2380521"/>
              <a:gd name="connsiteX3957" fmla="*/ 1512198 w 8023328"/>
              <a:gd name="connsiteY3957" fmla="*/ 312900 h 2380521"/>
              <a:gd name="connsiteX3958" fmla="*/ 1497612 w 8023328"/>
              <a:gd name="connsiteY3958" fmla="*/ 298111 h 2380521"/>
              <a:gd name="connsiteX3959" fmla="*/ 1512198 w 8023328"/>
              <a:gd name="connsiteY3959" fmla="*/ 283322 h 2380521"/>
              <a:gd name="connsiteX3960" fmla="*/ 1439173 w 8023328"/>
              <a:gd name="connsiteY3960" fmla="*/ 283322 h 2380521"/>
              <a:gd name="connsiteX3961" fmla="*/ 1453026 w 8023328"/>
              <a:gd name="connsiteY3961" fmla="*/ 298111 h 2380521"/>
              <a:gd name="connsiteX3962" fmla="*/ 1439173 w 8023328"/>
              <a:gd name="connsiteY3962" fmla="*/ 312900 h 2380521"/>
              <a:gd name="connsiteX3963" fmla="*/ 1426777 w 8023328"/>
              <a:gd name="connsiteY3963" fmla="*/ 298111 h 2380521"/>
              <a:gd name="connsiteX3964" fmla="*/ 1439173 w 8023328"/>
              <a:gd name="connsiteY3964" fmla="*/ 283322 h 2380521"/>
              <a:gd name="connsiteX3965" fmla="*/ 1368347 w 8023328"/>
              <a:gd name="connsiteY3965" fmla="*/ 283322 h 2380521"/>
              <a:gd name="connsiteX3966" fmla="*/ 1382200 w 8023328"/>
              <a:gd name="connsiteY3966" fmla="*/ 298111 h 2380521"/>
              <a:gd name="connsiteX3967" fmla="*/ 1368347 w 8023328"/>
              <a:gd name="connsiteY3967" fmla="*/ 312900 h 2380521"/>
              <a:gd name="connsiteX3968" fmla="*/ 1355949 w 8023328"/>
              <a:gd name="connsiteY3968" fmla="*/ 298111 h 2380521"/>
              <a:gd name="connsiteX3969" fmla="*/ 1368347 w 8023328"/>
              <a:gd name="connsiteY3969" fmla="*/ 283322 h 2380521"/>
              <a:gd name="connsiteX3970" fmla="*/ 1297518 w 8023328"/>
              <a:gd name="connsiteY3970" fmla="*/ 283322 h 2380521"/>
              <a:gd name="connsiteX3971" fmla="*/ 1311374 w 8023328"/>
              <a:gd name="connsiteY3971" fmla="*/ 298111 h 2380521"/>
              <a:gd name="connsiteX3972" fmla="*/ 1297518 w 8023328"/>
              <a:gd name="connsiteY3972" fmla="*/ 312900 h 2380521"/>
              <a:gd name="connsiteX3973" fmla="*/ 1285121 w 8023328"/>
              <a:gd name="connsiteY3973" fmla="*/ 298111 h 2380521"/>
              <a:gd name="connsiteX3974" fmla="*/ 1297518 w 8023328"/>
              <a:gd name="connsiteY3974" fmla="*/ 283322 h 2380521"/>
              <a:gd name="connsiteX3975" fmla="*/ 1154890 w 8023328"/>
              <a:gd name="connsiteY3975" fmla="*/ 283322 h 2380521"/>
              <a:gd name="connsiteX3976" fmla="*/ 1169683 w 8023328"/>
              <a:gd name="connsiteY3976" fmla="*/ 295719 h 2380521"/>
              <a:gd name="connsiteX3977" fmla="*/ 1154890 w 8023328"/>
              <a:gd name="connsiteY3977" fmla="*/ 309576 h 2380521"/>
              <a:gd name="connsiteX3978" fmla="*/ 1140101 w 8023328"/>
              <a:gd name="connsiteY3978" fmla="*/ 295719 h 2380521"/>
              <a:gd name="connsiteX3979" fmla="*/ 1154890 w 8023328"/>
              <a:gd name="connsiteY3979" fmla="*/ 283322 h 2380521"/>
              <a:gd name="connsiteX3980" fmla="*/ 1084059 w 8023328"/>
              <a:gd name="connsiteY3980" fmla="*/ 283322 h 2380521"/>
              <a:gd name="connsiteX3981" fmla="*/ 1098847 w 8023328"/>
              <a:gd name="connsiteY3981" fmla="*/ 295719 h 2380521"/>
              <a:gd name="connsiteX3982" fmla="*/ 1084059 w 8023328"/>
              <a:gd name="connsiteY3982" fmla="*/ 309576 h 2380521"/>
              <a:gd name="connsiteX3983" fmla="*/ 1069272 w 8023328"/>
              <a:gd name="connsiteY3983" fmla="*/ 295719 h 2380521"/>
              <a:gd name="connsiteX3984" fmla="*/ 1084059 w 8023328"/>
              <a:gd name="connsiteY3984" fmla="*/ 283322 h 2380521"/>
              <a:gd name="connsiteX3985" fmla="*/ 1013024 w 8023328"/>
              <a:gd name="connsiteY3985" fmla="*/ 283322 h 2380521"/>
              <a:gd name="connsiteX3986" fmla="*/ 1024691 w 8023328"/>
              <a:gd name="connsiteY3986" fmla="*/ 295719 h 2380521"/>
              <a:gd name="connsiteX3987" fmla="*/ 1013024 w 8023328"/>
              <a:gd name="connsiteY3987" fmla="*/ 309576 h 2380521"/>
              <a:gd name="connsiteX3988" fmla="*/ 998442 w 8023328"/>
              <a:gd name="connsiteY3988" fmla="*/ 295719 h 2380521"/>
              <a:gd name="connsiteX3989" fmla="*/ 1013024 w 8023328"/>
              <a:gd name="connsiteY3989" fmla="*/ 283322 h 2380521"/>
              <a:gd name="connsiteX3990" fmla="*/ 941467 w 8023328"/>
              <a:gd name="connsiteY3990" fmla="*/ 283322 h 2380521"/>
              <a:gd name="connsiteX3991" fmla="*/ 953869 w 8023328"/>
              <a:gd name="connsiteY3991" fmla="*/ 295719 h 2380521"/>
              <a:gd name="connsiteX3992" fmla="*/ 941467 w 8023328"/>
              <a:gd name="connsiteY3992" fmla="*/ 309576 h 2380521"/>
              <a:gd name="connsiteX3993" fmla="*/ 927612 w 8023328"/>
              <a:gd name="connsiteY3993" fmla="*/ 295719 h 2380521"/>
              <a:gd name="connsiteX3994" fmla="*/ 941467 w 8023328"/>
              <a:gd name="connsiteY3994" fmla="*/ 283322 h 2380521"/>
              <a:gd name="connsiteX3995" fmla="*/ 3299102 w 8023328"/>
              <a:gd name="connsiteY3995" fmla="*/ 212492 h 2380521"/>
              <a:gd name="connsiteX3996" fmla="*/ 3311499 w 8023328"/>
              <a:gd name="connsiteY3996" fmla="*/ 226348 h 2380521"/>
              <a:gd name="connsiteX3997" fmla="*/ 3299102 w 8023328"/>
              <a:gd name="connsiteY3997" fmla="*/ 238746 h 2380521"/>
              <a:gd name="connsiteX3998" fmla="*/ 3285245 w 8023328"/>
              <a:gd name="connsiteY3998" fmla="*/ 226348 h 2380521"/>
              <a:gd name="connsiteX3999" fmla="*/ 3299102 w 8023328"/>
              <a:gd name="connsiteY3999" fmla="*/ 212492 h 2380521"/>
              <a:gd name="connsiteX4000" fmla="*/ 3226811 w 8023328"/>
              <a:gd name="connsiteY4000" fmla="*/ 212492 h 2380521"/>
              <a:gd name="connsiteX4001" fmla="*/ 3240667 w 8023328"/>
              <a:gd name="connsiteY4001" fmla="*/ 226348 h 2380521"/>
              <a:gd name="connsiteX4002" fmla="*/ 3226811 w 8023328"/>
              <a:gd name="connsiteY4002" fmla="*/ 238746 h 2380521"/>
              <a:gd name="connsiteX4003" fmla="*/ 3214412 w 8023328"/>
              <a:gd name="connsiteY4003" fmla="*/ 226348 h 2380521"/>
              <a:gd name="connsiteX4004" fmla="*/ 3226811 w 8023328"/>
              <a:gd name="connsiteY4004" fmla="*/ 212492 h 2380521"/>
              <a:gd name="connsiteX4005" fmla="*/ 3152608 w 8023328"/>
              <a:gd name="connsiteY4005" fmla="*/ 212492 h 2380521"/>
              <a:gd name="connsiteX4006" fmla="*/ 3166462 w 8023328"/>
              <a:gd name="connsiteY4006" fmla="*/ 226348 h 2380521"/>
              <a:gd name="connsiteX4007" fmla="*/ 3152608 w 8023328"/>
              <a:gd name="connsiteY4007" fmla="*/ 238746 h 2380521"/>
              <a:gd name="connsiteX4008" fmla="*/ 3140211 w 8023328"/>
              <a:gd name="connsiteY4008" fmla="*/ 226348 h 2380521"/>
              <a:gd name="connsiteX4009" fmla="*/ 3152608 w 8023328"/>
              <a:gd name="connsiteY4009" fmla="*/ 212492 h 2380521"/>
              <a:gd name="connsiteX4010" fmla="*/ 3081775 w 8023328"/>
              <a:gd name="connsiteY4010" fmla="*/ 212492 h 2380521"/>
              <a:gd name="connsiteX4011" fmla="*/ 3095628 w 8023328"/>
              <a:gd name="connsiteY4011" fmla="*/ 226348 h 2380521"/>
              <a:gd name="connsiteX4012" fmla="*/ 3081775 w 8023328"/>
              <a:gd name="connsiteY4012" fmla="*/ 238746 h 2380521"/>
              <a:gd name="connsiteX4013" fmla="*/ 3069375 w 8023328"/>
              <a:gd name="connsiteY4013" fmla="*/ 226348 h 2380521"/>
              <a:gd name="connsiteX4014" fmla="*/ 3081775 w 8023328"/>
              <a:gd name="connsiteY4014" fmla="*/ 212492 h 2380521"/>
              <a:gd name="connsiteX4015" fmla="*/ 3013720 w 8023328"/>
              <a:gd name="connsiteY4015" fmla="*/ 212492 h 2380521"/>
              <a:gd name="connsiteX4016" fmla="*/ 3028140 w 8023328"/>
              <a:gd name="connsiteY4016" fmla="*/ 226348 h 2380521"/>
              <a:gd name="connsiteX4017" fmla="*/ 3013720 w 8023328"/>
              <a:gd name="connsiteY4017" fmla="*/ 238746 h 2380521"/>
              <a:gd name="connsiteX4018" fmla="*/ 2998542 w 8023328"/>
              <a:gd name="connsiteY4018" fmla="*/ 226348 h 2380521"/>
              <a:gd name="connsiteX4019" fmla="*/ 3013720 w 8023328"/>
              <a:gd name="connsiteY4019" fmla="*/ 212492 h 2380521"/>
              <a:gd name="connsiteX4020" fmla="*/ 2942497 w 8023328"/>
              <a:gd name="connsiteY4020" fmla="*/ 212492 h 2380521"/>
              <a:gd name="connsiteX4021" fmla="*/ 2957293 w 8023328"/>
              <a:gd name="connsiteY4021" fmla="*/ 226348 h 2380521"/>
              <a:gd name="connsiteX4022" fmla="*/ 2942497 w 8023328"/>
              <a:gd name="connsiteY4022" fmla="*/ 238746 h 2380521"/>
              <a:gd name="connsiteX4023" fmla="*/ 2927716 w 8023328"/>
              <a:gd name="connsiteY4023" fmla="*/ 226348 h 2380521"/>
              <a:gd name="connsiteX4024" fmla="*/ 2942497 w 8023328"/>
              <a:gd name="connsiteY4024" fmla="*/ 212492 h 2380521"/>
              <a:gd name="connsiteX4025" fmla="*/ 2867363 w 8023328"/>
              <a:gd name="connsiteY4025" fmla="*/ 212492 h 2380521"/>
              <a:gd name="connsiteX4026" fmla="*/ 2879765 w 8023328"/>
              <a:gd name="connsiteY4026" fmla="*/ 226348 h 2380521"/>
              <a:gd name="connsiteX4027" fmla="*/ 2867363 w 8023328"/>
              <a:gd name="connsiteY4027" fmla="*/ 238746 h 2380521"/>
              <a:gd name="connsiteX4028" fmla="*/ 2853510 w 8023328"/>
              <a:gd name="connsiteY4028" fmla="*/ 226348 h 2380521"/>
              <a:gd name="connsiteX4029" fmla="*/ 2867363 w 8023328"/>
              <a:gd name="connsiteY4029" fmla="*/ 212492 h 2380521"/>
              <a:gd name="connsiteX4030" fmla="*/ 2796538 w 8023328"/>
              <a:gd name="connsiteY4030" fmla="*/ 212492 h 2380521"/>
              <a:gd name="connsiteX4031" fmla="*/ 2808934 w 8023328"/>
              <a:gd name="connsiteY4031" fmla="*/ 226348 h 2380521"/>
              <a:gd name="connsiteX4032" fmla="*/ 2796538 w 8023328"/>
              <a:gd name="connsiteY4032" fmla="*/ 238746 h 2380521"/>
              <a:gd name="connsiteX4033" fmla="*/ 2782680 w 8023328"/>
              <a:gd name="connsiteY4033" fmla="*/ 226348 h 2380521"/>
              <a:gd name="connsiteX4034" fmla="*/ 2796538 w 8023328"/>
              <a:gd name="connsiteY4034" fmla="*/ 212492 h 2380521"/>
              <a:gd name="connsiteX4035" fmla="*/ 2725698 w 8023328"/>
              <a:gd name="connsiteY4035" fmla="*/ 212492 h 2380521"/>
              <a:gd name="connsiteX4036" fmla="*/ 2738102 w 8023328"/>
              <a:gd name="connsiteY4036" fmla="*/ 226348 h 2380521"/>
              <a:gd name="connsiteX4037" fmla="*/ 2725698 w 8023328"/>
              <a:gd name="connsiteY4037" fmla="*/ 238746 h 2380521"/>
              <a:gd name="connsiteX4038" fmla="*/ 2711852 w 8023328"/>
              <a:gd name="connsiteY4038" fmla="*/ 226348 h 2380521"/>
              <a:gd name="connsiteX4039" fmla="*/ 2725698 w 8023328"/>
              <a:gd name="connsiteY4039" fmla="*/ 212492 h 2380521"/>
              <a:gd name="connsiteX4040" fmla="*/ 2653420 w 8023328"/>
              <a:gd name="connsiteY4040" fmla="*/ 212492 h 2380521"/>
              <a:gd name="connsiteX4041" fmla="*/ 2667273 w 8023328"/>
              <a:gd name="connsiteY4041" fmla="*/ 226348 h 2380521"/>
              <a:gd name="connsiteX4042" fmla="*/ 2653420 w 8023328"/>
              <a:gd name="connsiteY4042" fmla="*/ 238746 h 2380521"/>
              <a:gd name="connsiteX4043" fmla="*/ 2641021 w 8023328"/>
              <a:gd name="connsiteY4043" fmla="*/ 226348 h 2380521"/>
              <a:gd name="connsiteX4044" fmla="*/ 2653420 w 8023328"/>
              <a:gd name="connsiteY4044" fmla="*/ 212492 h 2380521"/>
              <a:gd name="connsiteX4045" fmla="*/ 2582586 w 8023328"/>
              <a:gd name="connsiteY4045" fmla="*/ 212492 h 2380521"/>
              <a:gd name="connsiteX4046" fmla="*/ 2596439 w 8023328"/>
              <a:gd name="connsiteY4046" fmla="*/ 226348 h 2380521"/>
              <a:gd name="connsiteX4047" fmla="*/ 2582586 w 8023328"/>
              <a:gd name="connsiteY4047" fmla="*/ 238746 h 2380521"/>
              <a:gd name="connsiteX4048" fmla="*/ 2570189 w 8023328"/>
              <a:gd name="connsiteY4048" fmla="*/ 226348 h 2380521"/>
              <a:gd name="connsiteX4049" fmla="*/ 2582586 w 8023328"/>
              <a:gd name="connsiteY4049" fmla="*/ 212492 h 2380521"/>
              <a:gd name="connsiteX4050" fmla="*/ 2511029 w 8023328"/>
              <a:gd name="connsiteY4050" fmla="*/ 212492 h 2380521"/>
              <a:gd name="connsiteX4051" fmla="*/ 2525616 w 8023328"/>
              <a:gd name="connsiteY4051" fmla="*/ 226348 h 2380521"/>
              <a:gd name="connsiteX4052" fmla="*/ 2511029 w 8023328"/>
              <a:gd name="connsiteY4052" fmla="*/ 238746 h 2380521"/>
              <a:gd name="connsiteX4053" fmla="*/ 2499364 w 8023328"/>
              <a:gd name="connsiteY4053" fmla="*/ 226348 h 2380521"/>
              <a:gd name="connsiteX4054" fmla="*/ 2511029 w 8023328"/>
              <a:gd name="connsiteY4054" fmla="*/ 212492 h 2380521"/>
              <a:gd name="connsiteX4055" fmla="*/ 2439946 w 8023328"/>
              <a:gd name="connsiteY4055" fmla="*/ 212492 h 2380521"/>
              <a:gd name="connsiteX4056" fmla="*/ 2454732 w 8023328"/>
              <a:gd name="connsiteY4056" fmla="*/ 226348 h 2380521"/>
              <a:gd name="connsiteX4057" fmla="*/ 2439946 w 8023328"/>
              <a:gd name="connsiteY4057" fmla="*/ 238746 h 2380521"/>
              <a:gd name="connsiteX4058" fmla="*/ 2425156 w 8023328"/>
              <a:gd name="connsiteY4058" fmla="*/ 226348 h 2380521"/>
              <a:gd name="connsiteX4059" fmla="*/ 2439946 w 8023328"/>
              <a:gd name="connsiteY4059" fmla="*/ 212492 h 2380521"/>
              <a:gd name="connsiteX4060" fmla="*/ 2369110 w 8023328"/>
              <a:gd name="connsiteY4060" fmla="*/ 212492 h 2380521"/>
              <a:gd name="connsiteX4061" fmla="*/ 2383900 w 8023328"/>
              <a:gd name="connsiteY4061" fmla="*/ 226348 h 2380521"/>
              <a:gd name="connsiteX4062" fmla="*/ 2369110 w 8023328"/>
              <a:gd name="connsiteY4062" fmla="*/ 238746 h 2380521"/>
              <a:gd name="connsiteX4063" fmla="*/ 2354323 w 8023328"/>
              <a:gd name="connsiteY4063" fmla="*/ 226348 h 2380521"/>
              <a:gd name="connsiteX4064" fmla="*/ 2369110 w 8023328"/>
              <a:gd name="connsiteY4064" fmla="*/ 212492 h 2380521"/>
              <a:gd name="connsiteX4065" fmla="*/ 2298283 w 8023328"/>
              <a:gd name="connsiteY4065" fmla="*/ 212492 h 2380521"/>
              <a:gd name="connsiteX4066" fmla="*/ 2313070 w 8023328"/>
              <a:gd name="connsiteY4066" fmla="*/ 227280 h 2380521"/>
              <a:gd name="connsiteX4067" fmla="*/ 2298283 w 8023328"/>
              <a:gd name="connsiteY4067" fmla="*/ 242069 h 2380521"/>
              <a:gd name="connsiteX4068" fmla="*/ 2283493 w 8023328"/>
              <a:gd name="connsiteY4068" fmla="*/ 227280 h 2380521"/>
              <a:gd name="connsiteX4069" fmla="*/ 2298283 w 8023328"/>
              <a:gd name="connsiteY4069" fmla="*/ 212492 h 2380521"/>
              <a:gd name="connsiteX4070" fmla="*/ 2226517 w 8023328"/>
              <a:gd name="connsiteY4070" fmla="*/ 212492 h 2380521"/>
              <a:gd name="connsiteX4071" fmla="*/ 2238916 w 8023328"/>
              <a:gd name="connsiteY4071" fmla="*/ 227280 h 2380521"/>
              <a:gd name="connsiteX4072" fmla="*/ 2226517 w 8023328"/>
              <a:gd name="connsiteY4072" fmla="*/ 242069 h 2380521"/>
              <a:gd name="connsiteX4073" fmla="*/ 2212659 w 8023328"/>
              <a:gd name="connsiteY4073" fmla="*/ 227280 h 2380521"/>
              <a:gd name="connsiteX4074" fmla="*/ 2226517 w 8023328"/>
              <a:gd name="connsiteY4074" fmla="*/ 212492 h 2380521"/>
              <a:gd name="connsiteX4075" fmla="*/ 2155683 w 8023328"/>
              <a:gd name="connsiteY4075" fmla="*/ 212492 h 2380521"/>
              <a:gd name="connsiteX4076" fmla="*/ 2168081 w 8023328"/>
              <a:gd name="connsiteY4076" fmla="*/ 227280 h 2380521"/>
              <a:gd name="connsiteX4077" fmla="*/ 2155683 w 8023328"/>
              <a:gd name="connsiteY4077" fmla="*/ 242069 h 2380521"/>
              <a:gd name="connsiteX4078" fmla="*/ 2141827 w 8023328"/>
              <a:gd name="connsiteY4078" fmla="*/ 227280 h 2380521"/>
              <a:gd name="connsiteX4079" fmla="*/ 2155683 w 8023328"/>
              <a:gd name="connsiteY4079" fmla="*/ 212492 h 2380521"/>
              <a:gd name="connsiteX4080" fmla="*/ 2084851 w 8023328"/>
              <a:gd name="connsiteY4080" fmla="*/ 212492 h 2380521"/>
              <a:gd name="connsiteX4081" fmla="*/ 2097249 w 8023328"/>
              <a:gd name="connsiteY4081" fmla="*/ 227280 h 2380521"/>
              <a:gd name="connsiteX4082" fmla="*/ 2084851 w 8023328"/>
              <a:gd name="connsiteY4082" fmla="*/ 242069 h 2380521"/>
              <a:gd name="connsiteX4083" fmla="*/ 2070995 w 8023328"/>
              <a:gd name="connsiteY4083" fmla="*/ 227280 h 2380521"/>
              <a:gd name="connsiteX4084" fmla="*/ 2084851 w 8023328"/>
              <a:gd name="connsiteY4084" fmla="*/ 212492 h 2380521"/>
              <a:gd name="connsiteX4085" fmla="*/ 2011835 w 8023328"/>
              <a:gd name="connsiteY4085" fmla="*/ 212492 h 2380521"/>
              <a:gd name="connsiteX4086" fmla="*/ 2026421 w 8023328"/>
              <a:gd name="connsiteY4086" fmla="*/ 227280 h 2380521"/>
              <a:gd name="connsiteX4087" fmla="*/ 2011835 w 8023328"/>
              <a:gd name="connsiteY4087" fmla="*/ 242069 h 2380521"/>
              <a:gd name="connsiteX4088" fmla="*/ 2000168 w 8023328"/>
              <a:gd name="connsiteY4088" fmla="*/ 227280 h 2380521"/>
              <a:gd name="connsiteX4089" fmla="*/ 2011835 w 8023328"/>
              <a:gd name="connsiteY4089" fmla="*/ 212492 h 2380521"/>
              <a:gd name="connsiteX4090" fmla="*/ 1938362 w 8023328"/>
              <a:gd name="connsiteY4090" fmla="*/ 212492 h 2380521"/>
              <a:gd name="connsiteX4091" fmla="*/ 1952222 w 8023328"/>
              <a:gd name="connsiteY4091" fmla="*/ 227280 h 2380521"/>
              <a:gd name="connsiteX4092" fmla="*/ 1938362 w 8023328"/>
              <a:gd name="connsiteY4092" fmla="*/ 242069 h 2380521"/>
              <a:gd name="connsiteX4093" fmla="*/ 1925971 w 8023328"/>
              <a:gd name="connsiteY4093" fmla="*/ 227280 h 2380521"/>
              <a:gd name="connsiteX4094" fmla="*/ 1938362 w 8023328"/>
              <a:gd name="connsiteY4094" fmla="*/ 212492 h 2380521"/>
              <a:gd name="connsiteX4095" fmla="*/ 1867530 w 8023328"/>
              <a:gd name="connsiteY4095" fmla="*/ 212492 h 2380521"/>
              <a:gd name="connsiteX4096" fmla="*/ 1881387 w 8023328"/>
              <a:gd name="connsiteY4096" fmla="*/ 227280 h 2380521"/>
              <a:gd name="connsiteX4097" fmla="*/ 1867530 w 8023328"/>
              <a:gd name="connsiteY4097" fmla="*/ 242069 h 2380521"/>
              <a:gd name="connsiteX4098" fmla="*/ 1855129 w 8023328"/>
              <a:gd name="connsiteY4098" fmla="*/ 227280 h 2380521"/>
              <a:gd name="connsiteX4099" fmla="*/ 1867530 w 8023328"/>
              <a:gd name="connsiteY4099" fmla="*/ 212492 h 2380521"/>
              <a:gd name="connsiteX4100" fmla="*/ 1799087 w 8023328"/>
              <a:gd name="connsiteY4100" fmla="*/ 212492 h 2380521"/>
              <a:gd name="connsiteX4101" fmla="*/ 1813879 w 8023328"/>
              <a:gd name="connsiteY4101" fmla="*/ 227280 h 2380521"/>
              <a:gd name="connsiteX4102" fmla="*/ 1799087 w 8023328"/>
              <a:gd name="connsiteY4102" fmla="*/ 242069 h 2380521"/>
              <a:gd name="connsiteX4103" fmla="*/ 1784303 w 8023328"/>
              <a:gd name="connsiteY4103" fmla="*/ 227280 h 2380521"/>
              <a:gd name="connsiteX4104" fmla="*/ 1799087 w 8023328"/>
              <a:gd name="connsiteY4104" fmla="*/ 212492 h 2380521"/>
              <a:gd name="connsiteX4105" fmla="*/ 1728262 w 8023328"/>
              <a:gd name="connsiteY4105" fmla="*/ 212492 h 2380521"/>
              <a:gd name="connsiteX4106" fmla="*/ 1743052 w 8023328"/>
              <a:gd name="connsiteY4106" fmla="*/ 227280 h 2380521"/>
              <a:gd name="connsiteX4107" fmla="*/ 1728262 w 8023328"/>
              <a:gd name="connsiteY4107" fmla="*/ 242069 h 2380521"/>
              <a:gd name="connsiteX4108" fmla="*/ 1713472 w 8023328"/>
              <a:gd name="connsiteY4108" fmla="*/ 227280 h 2380521"/>
              <a:gd name="connsiteX4109" fmla="*/ 1728262 w 8023328"/>
              <a:gd name="connsiteY4109" fmla="*/ 212492 h 2380521"/>
              <a:gd name="connsiteX4110" fmla="*/ 1656498 w 8023328"/>
              <a:gd name="connsiteY4110" fmla="*/ 212492 h 2380521"/>
              <a:gd name="connsiteX4111" fmla="*/ 1668900 w 8023328"/>
              <a:gd name="connsiteY4111" fmla="*/ 227280 h 2380521"/>
              <a:gd name="connsiteX4112" fmla="*/ 1656498 w 8023328"/>
              <a:gd name="connsiteY4112" fmla="*/ 242069 h 2380521"/>
              <a:gd name="connsiteX4113" fmla="*/ 1642655 w 8023328"/>
              <a:gd name="connsiteY4113" fmla="*/ 227280 h 2380521"/>
              <a:gd name="connsiteX4114" fmla="*/ 1656498 w 8023328"/>
              <a:gd name="connsiteY4114" fmla="*/ 212492 h 2380521"/>
              <a:gd name="connsiteX4115" fmla="*/ 1582299 w 8023328"/>
              <a:gd name="connsiteY4115" fmla="*/ 212492 h 2380521"/>
              <a:gd name="connsiteX4116" fmla="*/ 1594704 w 8023328"/>
              <a:gd name="connsiteY4116" fmla="*/ 227280 h 2380521"/>
              <a:gd name="connsiteX4117" fmla="*/ 1582299 w 8023328"/>
              <a:gd name="connsiteY4117" fmla="*/ 242069 h 2380521"/>
              <a:gd name="connsiteX4118" fmla="*/ 1568441 w 8023328"/>
              <a:gd name="connsiteY4118" fmla="*/ 227280 h 2380521"/>
              <a:gd name="connsiteX4119" fmla="*/ 1582299 w 8023328"/>
              <a:gd name="connsiteY4119" fmla="*/ 212492 h 2380521"/>
              <a:gd name="connsiteX4120" fmla="*/ 1512198 w 8023328"/>
              <a:gd name="connsiteY4120" fmla="*/ 212492 h 2380521"/>
              <a:gd name="connsiteX4121" fmla="*/ 1523867 w 8023328"/>
              <a:gd name="connsiteY4121" fmla="*/ 227280 h 2380521"/>
              <a:gd name="connsiteX4122" fmla="*/ 1512198 w 8023328"/>
              <a:gd name="connsiteY4122" fmla="*/ 242069 h 2380521"/>
              <a:gd name="connsiteX4123" fmla="*/ 1497612 w 8023328"/>
              <a:gd name="connsiteY4123" fmla="*/ 227280 h 2380521"/>
              <a:gd name="connsiteX4124" fmla="*/ 1512198 w 8023328"/>
              <a:gd name="connsiteY4124" fmla="*/ 212492 h 2380521"/>
              <a:gd name="connsiteX4125" fmla="*/ 1439173 w 8023328"/>
              <a:gd name="connsiteY4125" fmla="*/ 212492 h 2380521"/>
              <a:gd name="connsiteX4126" fmla="*/ 1453026 w 8023328"/>
              <a:gd name="connsiteY4126" fmla="*/ 227280 h 2380521"/>
              <a:gd name="connsiteX4127" fmla="*/ 1439173 w 8023328"/>
              <a:gd name="connsiteY4127" fmla="*/ 242069 h 2380521"/>
              <a:gd name="connsiteX4128" fmla="*/ 1426777 w 8023328"/>
              <a:gd name="connsiteY4128" fmla="*/ 227280 h 2380521"/>
              <a:gd name="connsiteX4129" fmla="*/ 1439173 w 8023328"/>
              <a:gd name="connsiteY4129" fmla="*/ 212492 h 2380521"/>
              <a:gd name="connsiteX4130" fmla="*/ 1368349 w 8023328"/>
              <a:gd name="connsiteY4130" fmla="*/ 212492 h 2380521"/>
              <a:gd name="connsiteX4131" fmla="*/ 1382203 w 8023328"/>
              <a:gd name="connsiteY4131" fmla="*/ 227280 h 2380521"/>
              <a:gd name="connsiteX4132" fmla="*/ 1368349 w 8023328"/>
              <a:gd name="connsiteY4132" fmla="*/ 242069 h 2380521"/>
              <a:gd name="connsiteX4133" fmla="*/ 1355950 w 8023328"/>
              <a:gd name="connsiteY4133" fmla="*/ 227280 h 2380521"/>
              <a:gd name="connsiteX4134" fmla="*/ 1368349 w 8023328"/>
              <a:gd name="connsiteY4134" fmla="*/ 212492 h 2380521"/>
              <a:gd name="connsiteX4135" fmla="*/ 1297520 w 8023328"/>
              <a:gd name="connsiteY4135" fmla="*/ 212492 h 2380521"/>
              <a:gd name="connsiteX4136" fmla="*/ 1311374 w 8023328"/>
              <a:gd name="connsiteY4136" fmla="*/ 227280 h 2380521"/>
              <a:gd name="connsiteX4137" fmla="*/ 1297520 w 8023328"/>
              <a:gd name="connsiteY4137" fmla="*/ 242069 h 2380521"/>
              <a:gd name="connsiteX4138" fmla="*/ 1285121 w 8023328"/>
              <a:gd name="connsiteY4138" fmla="*/ 227280 h 2380521"/>
              <a:gd name="connsiteX4139" fmla="*/ 1297520 w 8023328"/>
              <a:gd name="connsiteY4139" fmla="*/ 212492 h 2380521"/>
              <a:gd name="connsiteX4140" fmla="*/ 1225708 w 8023328"/>
              <a:gd name="connsiteY4140" fmla="*/ 212492 h 2380521"/>
              <a:gd name="connsiteX4141" fmla="*/ 1240496 w 8023328"/>
              <a:gd name="connsiteY4141" fmla="*/ 227280 h 2380521"/>
              <a:gd name="connsiteX4142" fmla="*/ 1225708 w 8023328"/>
              <a:gd name="connsiteY4142" fmla="*/ 242069 h 2380521"/>
              <a:gd name="connsiteX4143" fmla="*/ 1210934 w 8023328"/>
              <a:gd name="connsiteY4143" fmla="*/ 227280 h 2380521"/>
              <a:gd name="connsiteX4144" fmla="*/ 1225708 w 8023328"/>
              <a:gd name="connsiteY4144" fmla="*/ 212492 h 2380521"/>
              <a:gd name="connsiteX4145" fmla="*/ 1154891 w 8023328"/>
              <a:gd name="connsiteY4145" fmla="*/ 212492 h 2380521"/>
              <a:gd name="connsiteX4146" fmla="*/ 1169683 w 8023328"/>
              <a:gd name="connsiteY4146" fmla="*/ 227280 h 2380521"/>
              <a:gd name="connsiteX4147" fmla="*/ 1154891 w 8023328"/>
              <a:gd name="connsiteY4147" fmla="*/ 242069 h 2380521"/>
              <a:gd name="connsiteX4148" fmla="*/ 1140105 w 8023328"/>
              <a:gd name="connsiteY4148" fmla="*/ 227280 h 2380521"/>
              <a:gd name="connsiteX4149" fmla="*/ 1154891 w 8023328"/>
              <a:gd name="connsiteY4149" fmla="*/ 212492 h 2380521"/>
              <a:gd name="connsiteX4150" fmla="*/ 1084063 w 8023328"/>
              <a:gd name="connsiteY4150" fmla="*/ 212492 h 2380521"/>
              <a:gd name="connsiteX4151" fmla="*/ 1098847 w 8023328"/>
              <a:gd name="connsiteY4151" fmla="*/ 227280 h 2380521"/>
              <a:gd name="connsiteX4152" fmla="*/ 1084063 w 8023328"/>
              <a:gd name="connsiteY4152" fmla="*/ 242069 h 2380521"/>
              <a:gd name="connsiteX4153" fmla="*/ 1069276 w 8023328"/>
              <a:gd name="connsiteY4153" fmla="*/ 227280 h 2380521"/>
              <a:gd name="connsiteX4154" fmla="*/ 1084063 w 8023328"/>
              <a:gd name="connsiteY4154" fmla="*/ 212492 h 2380521"/>
              <a:gd name="connsiteX4155" fmla="*/ 3013723 w 8023328"/>
              <a:gd name="connsiteY4155" fmla="*/ 141661 h 2380521"/>
              <a:gd name="connsiteX4156" fmla="*/ 3028140 w 8023328"/>
              <a:gd name="connsiteY4156" fmla="*/ 155517 h 2380521"/>
              <a:gd name="connsiteX4157" fmla="*/ 3013723 w 8023328"/>
              <a:gd name="connsiteY4157" fmla="*/ 167915 h 2380521"/>
              <a:gd name="connsiteX4158" fmla="*/ 2998545 w 8023328"/>
              <a:gd name="connsiteY4158" fmla="*/ 155517 h 2380521"/>
              <a:gd name="connsiteX4159" fmla="*/ 3013723 w 8023328"/>
              <a:gd name="connsiteY4159" fmla="*/ 141661 h 2380521"/>
              <a:gd name="connsiteX4160" fmla="*/ 2942497 w 8023328"/>
              <a:gd name="connsiteY4160" fmla="*/ 141661 h 2380521"/>
              <a:gd name="connsiteX4161" fmla="*/ 2957293 w 8023328"/>
              <a:gd name="connsiteY4161" fmla="*/ 155517 h 2380521"/>
              <a:gd name="connsiteX4162" fmla="*/ 2942497 w 8023328"/>
              <a:gd name="connsiteY4162" fmla="*/ 167915 h 2380521"/>
              <a:gd name="connsiteX4163" fmla="*/ 2927716 w 8023328"/>
              <a:gd name="connsiteY4163" fmla="*/ 155517 h 2380521"/>
              <a:gd name="connsiteX4164" fmla="*/ 2942497 w 8023328"/>
              <a:gd name="connsiteY4164" fmla="*/ 141661 h 2380521"/>
              <a:gd name="connsiteX4165" fmla="*/ 2867363 w 8023328"/>
              <a:gd name="connsiteY4165" fmla="*/ 141661 h 2380521"/>
              <a:gd name="connsiteX4166" fmla="*/ 2879765 w 8023328"/>
              <a:gd name="connsiteY4166" fmla="*/ 155517 h 2380521"/>
              <a:gd name="connsiteX4167" fmla="*/ 2867363 w 8023328"/>
              <a:gd name="connsiteY4167" fmla="*/ 167915 h 2380521"/>
              <a:gd name="connsiteX4168" fmla="*/ 2853510 w 8023328"/>
              <a:gd name="connsiteY4168" fmla="*/ 155517 h 2380521"/>
              <a:gd name="connsiteX4169" fmla="*/ 2867363 w 8023328"/>
              <a:gd name="connsiteY4169" fmla="*/ 141661 h 2380521"/>
              <a:gd name="connsiteX4170" fmla="*/ 2796538 w 8023328"/>
              <a:gd name="connsiteY4170" fmla="*/ 141661 h 2380521"/>
              <a:gd name="connsiteX4171" fmla="*/ 2808940 w 8023328"/>
              <a:gd name="connsiteY4171" fmla="*/ 155517 h 2380521"/>
              <a:gd name="connsiteX4172" fmla="*/ 2796538 w 8023328"/>
              <a:gd name="connsiteY4172" fmla="*/ 167915 h 2380521"/>
              <a:gd name="connsiteX4173" fmla="*/ 2782683 w 8023328"/>
              <a:gd name="connsiteY4173" fmla="*/ 155517 h 2380521"/>
              <a:gd name="connsiteX4174" fmla="*/ 2796538 w 8023328"/>
              <a:gd name="connsiteY4174" fmla="*/ 141661 h 2380521"/>
              <a:gd name="connsiteX4175" fmla="*/ 2725703 w 8023328"/>
              <a:gd name="connsiteY4175" fmla="*/ 141661 h 2380521"/>
              <a:gd name="connsiteX4176" fmla="*/ 2738105 w 8023328"/>
              <a:gd name="connsiteY4176" fmla="*/ 155517 h 2380521"/>
              <a:gd name="connsiteX4177" fmla="*/ 2725703 w 8023328"/>
              <a:gd name="connsiteY4177" fmla="*/ 167915 h 2380521"/>
              <a:gd name="connsiteX4178" fmla="*/ 2711852 w 8023328"/>
              <a:gd name="connsiteY4178" fmla="*/ 155517 h 2380521"/>
              <a:gd name="connsiteX4179" fmla="*/ 2725703 w 8023328"/>
              <a:gd name="connsiteY4179" fmla="*/ 141661 h 2380521"/>
              <a:gd name="connsiteX4180" fmla="*/ 2653420 w 8023328"/>
              <a:gd name="connsiteY4180" fmla="*/ 141661 h 2380521"/>
              <a:gd name="connsiteX4181" fmla="*/ 2667273 w 8023328"/>
              <a:gd name="connsiteY4181" fmla="*/ 155517 h 2380521"/>
              <a:gd name="connsiteX4182" fmla="*/ 2653420 w 8023328"/>
              <a:gd name="connsiteY4182" fmla="*/ 167915 h 2380521"/>
              <a:gd name="connsiteX4183" fmla="*/ 2641021 w 8023328"/>
              <a:gd name="connsiteY4183" fmla="*/ 155517 h 2380521"/>
              <a:gd name="connsiteX4184" fmla="*/ 2653420 w 8023328"/>
              <a:gd name="connsiteY4184" fmla="*/ 141661 h 2380521"/>
              <a:gd name="connsiteX4185" fmla="*/ 2582586 w 8023328"/>
              <a:gd name="connsiteY4185" fmla="*/ 141661 h 2380521"/>
              <a:gd name="connsiteX4186" fmla="*/ 2596442 w 8023328"/>
              <a:gd name="connsiteY4186" fmla="*/ 155517 h 2380521"/>
              <a:gd name="connsiteX4187" fmla="*/ 2582586 w 8023328"/>
              <a:gd name="connsiteY4187" fmla="*/ 167915 h 2380521"/>
              <a:gd name="connsiteX4188" fmla="*/ 2570189 w 8023328"/>
              <a:gd name="connsiteY4188" fmla="*/ 155517 h 2380521"/>
              <a:gd name="connsiteX4189" fmla="*/ 2582586 w 8023328"/>
              <a:gd name="connsiteY4189" fmla="*/ 141661 h 2380521"/>
              <a:gd name="connsiteX4190" fmla="*/ 2511034 w 8023328"/>
              <a:gd name="connsiteY4190" fmla="*/ 141661 h 2380521"/>
              <a:gd name="connsiteX4191" fmla="*/ 2525616 w 8023328"/>
              <a:gd name="connsiteY4191" fmla="*/ 155517 h 2380521"/>
              <a:gd name="connsiteX4192" fmla="*/ 2511034 w 8023328"/>
              <a:gd name="connsiteY4192" fmla="*/ 167915 h 2380521"/>
              <a:gd name="connsiteX4193" fmla="*/ 2499364 w 8023328"/>
              <a:gd name="connsiteY4193" fmla="*/ 155517 h 2380521"/>
              <a:gd name="connsiteX4194" fmla="*/ 2511034 w 8023328"/>
              <a:gd name="connsiteY4194" fmla="*/ 141661 h 2380521"/>
              <a:gd name="connsiteX4195" fmla="*/ 2439946 w 8023328"/>
              <a:gd name="connsiteY4195" fmla="*/ 141661 h 2380521"/>
              <a:gd name="connsiteX4196" fmla="*/ 2454734 w 8023328"/>
              <a:gd name="connsiteY4196" fmla="*/ 155517 h 2380521"/>
              <a:gd name="connsiteX4197" fmla="*/ 2439946 w 8023328"/>
              <a:gd name="connsiteY4197" fmla="*/ 167915 h 2380521"/>
              <a:gd name="connsiteX4198" fmla="*/ 2425159 w 8023328"/>
              <a:gd name="connsiteY4198" fmla="*/ 155517 h 2380521"/>
              <a:gd name="connsiteX4199" fmla="*/ 2439946 w 8023328"/>
              <a:gd name="connsiteY4199" fmla="*/ 141661 h 2380521"/>
              <a:gd name="connsiteX4200" fmla="*/ 2369114 w 8023328"/>
              <a:gd name="connsiteY4200" fmla="*/ 141661 h 2380521"/>
              <a:gd name="connsiteX4201" fmla="*/ 2383900 w 8023328"/>
              <a:gd name="connsiteY4201" fmla="*/ 155517 h 2380521"/>
              <a:gd name="connsiteX4202" fmla="*/ 2369114 w 8023328"/>
              <a:gd name="connsiteY4202" fmla="*/ 167915 h 2380521"/>
              <a:gd name="connsiteX4203" fmla="*/ 2354323 w 8023328"/>
              <a:gd name="connsiteY4203" fmla="*/ 155517 h 2380521"/>
              <a:gd name="connsiteX4204" fmla="*/ 2369114 w 8023328"/>
              <a:gd name="connsiteY4204" fmla="*/ 141661 h 2380521"/>
              <a:gd name="connsiteX4205" fmla="*/ 2298283 w 8023328"/>
              <a:gd name="connsiteY4205" fmla="*/ 141661 h 2380521"/>
              <a:gd name="connsiteX4206" fmla="*/ 2313070 w 8023328"/>
              <a:gd name="connsiteY4206" fmla="*/ 155517 h 2380521"/>
              <a:gd name="connsiteX4207" fmla="*/ 2298283 w 8023328"/>
              <a:gd name="connsiteY4207" fmla="*/ 167915 h 2380521"/>
              <a:gd name="connsiteX4208" fmla="*/ 2283493 w 8023328"/>
              <a:gd name="connsiteY4208" fmla="*/ 155517 h 2380521"/>
              <a:gd name="connsiteX4209" fmla="*/ 2298283 w 8023328"/>
              <a:gd name="connsiteY4209" fmla="*/ 141661 h 2380521"/>
              <a:gd name="connsiteX4210" fmla="*/ 2226517 w 8023328"/>
              <a:gd name="connsiteY4210" fmla="*/ 141661 h 2380521"/>
              <a:gd name="connsiteX4211" fmla="*/ 2238916 w 8023328"/>
              <a:gd name="connsiteY4211" fmla="*/ 155517 h 2380521"/>
              <a:gd name="connsiteX4212" fmla="*/ 2226517 w 8023328"/>
              <a:gd name="connsiteY4212" fmla="*/ 167915 h 2380521"/>
              <a:gd name="connsiteX4213" fmla="*/ 2212659 w 8023328"/>
              <a:gd name="connsiteY4213" fmla="*/ 155517 h 2380521"/>
              <a:gd name="connsiteX4214" fmla="*/ 2226517 w 8023328"/>
              <a:gd name="connsiteY4214" fmla="*/ 141661 h 2380521"/>
              <a:gd name="connsiteX4215" fmla="*/ 2155683 w 8023328"/>
              <a:gd name="connsiteY4215" fmla="*/ 141661 h 2380521"/>
              <a:gd name="connsiteX4216" fmla="*/ 2168084 w 8023328"/>
              <a:gd name="connsiteY4216" fmla="*/ 155517 h 2380521"/>
              <a:gd name="connsiteX4217" fmla="*/ 2155683 w 8023328"/>
              <a:gd name="connsiteY4217" fmla="*/ 167915 h 2380521"/>
              <a:gd name="connsiteX4218" fmla="*/ 2141827 w 8023328"/>
              <a:gd name="connsiteY4218" fmla="*/ 155517 h 2380521"/>
              <a:gd name="connsiteX4219" fmla="*/ 2155683 w 8023328"/>
              <a:gd name="connsiteY4219" fmla="*/ 141661 h 2380521"/>
              <a:gd name="connsiteX4220" fmla="*/ 2084851 w 8023328"/>
              <a:gd name="connsiteY4220" fmla="*/ 141661 h 2380521"/>
              <a:gd name="connsiteX4221" fmla="*/ 2097249 w 8023328"/>
              <a:gd name="connsiteY4221" fmla="*/ 155517 h 2380521"/>
              <a:gd name="connsiteX4222" fmla="*/ 2084851 w 8023328"/>
              <a:gd name="connsiteY4222" fmla="*/ 167915 h 2380521"/>
              <a:gd name="connsiteX4223" fmla="*/ 2070995 w 8023328"/>
              <a:gd name="connsiteY4223" fmla="*/ 155517 h 2380521"/>
              <a:gd name="connsiteX4224" fmla="*/ 2084851 w 8023328"/>
              <a:gd name="connsiteY4224" fmla="*/ 141661 h 2380521"/>
              <a:gd name="connsiteX4225" fmla="*/ 2011835 w 8023328"/>
              <a:gd name="connsiteY4225" fmla="*/ 141661 h 2380521"/>
              <a:gd name="connsiteX4226" fmla="*/ 2026421 w 8023328"/>
              <a:gd name="connsiteY4226" fmla="*/ 155517 h 2380521"/>
              <a:gd name="connsiteX4227" fmla="*/ 2011835 w 8023328"/>
              <a:gd name="connsiteY4227" fmla="*/ 167915 h 2380521"/>
              <a:gd name="connsiteX4228" fmla="*/ 2000168 w 8023328"/>
              <a:gd name="connsiteY4228" fmla="*/ 155517 h 2380521"/>
              <a:gd name="connsiteX4229" fmla="*/ 2011835 w 8023328"/>
              <a:gd name="connsiteY4229" fmla="*/ 141661 h 2380521"/>
              <a:gd name="connsiteX4230" fmla="*/ 1938365 w 8023328"/>
              <a:gd name="connsiteY4230" fmla="*/ 141661 h 2380521"/>
              <a:gd name="connsiteX4231" fmla="*/ 1952222 w 8023328"/>
              <a:gd name="connsiteY4231" fmla="*/ 155517 h 2380521"/>
              <a:gd name="connsiteX4232" fmla="*/ 1938365 w 8023328"/>
              <a:gd name="connsiteY4232" fmla="*/ 167915 h 2380521"/>
              <a:gd name="connsiteX4233" fmla="*/ 1925971 w 8023328"/>
              <a:gd name="connsiteY4233" fmla="*/ 155517 h 2380521"/>
              <a:gd name="connsiteX4234" fmla="*/ 1938365 w 8023328"/>
              <a:gd name="connsiteY4234" fmla="*/ 141661 h 2380521"/>
              <a:gd name="connsiteX4235" fmla="*/ 1869922 w 8023328"/>
              <a:gd name="connsiteY4235" fmla="*/ 141661 h 2380521"/>
              <a:gd name="connsiteX4236" fmla="*/ 1884712 w 8023328"/>
              <a:gd name="connsiteY4236" fmla="*/ 155517 h 2380521"/>
              <a:gd name="connsiteX4237" fmla="*/ 1869922 w 8023328"/>
              <a:gd name="connsiteY4237" fmla="*/ 167915 h 2380521"/>
              <a:gd name="connsiteX4238" fmla="*/ 1855131 w 8023328"/>
              <a:gd name="connsiteY4238" fmla="*/ 155517 h 2380521"/>
              <a:gd name="connsiteX4239" fmla="*/ 1869922 w 8023328"/>
              <a:gd name="connsiteY4239" fmla="*/ 141661 h 2380521"/>
              <a:gd name="connsiteX4240" fmla="*/ 1799087 w 8023328"/>
              <a:gd name="connsiteY4240" fmla="*/ 141661 h 2380521"/>
              <a:gd name="connsiteX4241" fmla="*/ 1813879 w 8023328"/>
              <a:gd name="connsiteY4241" fmla="*/ 155517 h 2380521"/>
              <a:gd name="connsiteX4242" fmla="*/ 1799087 w 8023328"/>
              <a:gd name="connsiteY4242" fmla="*/ 167915 h 2380521"/>
              <a:gd name="connsiteX4243" fmla="*/ 1784303 w 8023328"/>
              <a:gd name="connsiteY4243" fmla="*/ 155517 h 2380521"/>
              <a:gd name="connsiteX4244" fmla="*/ 1799087 w 8023328"/>
              <a:gd name="connsiteY4244" fmla="*/ 141661 h 2380521"/>
              <a:gd name="connsiteX4245" fmla="*/ 1728262 w 8023328"/>
              <a:gd name="connsiteY4245" fmla="*/ 141661 h 2380521"/>
              <a:gd name="connsiteX4246" fmla="*/ 1743052 w 8023328"/>
              <a:gd name="connsiteY4246" fmla="*/ 155517 h 2380521"/>
              <a:gd name="connsiteX4247" fmla="*/ 1728262 w 8023328"/>
              <a:gd name="connsiteY4247" fmla="*/ 167915 h 2380521"/>
              <a:gd name="connsiteX4248" fmla="*/ 1713474 w 8023328"/>
              <a:gd name="connsiteY4248" fmla="*/ 155517 h 2380521"/>
              <a:gd name="connsiteX4249" fmla="*/ 1728262 w 8023328"/>
              <a:gd name="connsiteY4249" fmla="*/ 141661 h 2380521"/>
              <a:gd name="connsiteX4250" fmla="*/ 1656501 w 8023328"/>
              <a:gd name="connsiteY4250" fmla="*/ 141661 h 2380521"/>
              <a:gd name="connsiteX4251" fmla="*/ 1668900 w 8023328"/>
              <a:gd name="connsiteY4251" fmla="*/ 156450 h 2380521"/>
              <a:gd name="connsiteX4252" fmla="*/ 1656501 w 8023328"/>
              <a:gd name="connsiteY4252" fmla="*/ 171239 h 2380521"/>
              <a:gd name="connsiteX4253" fmla="*/ 1642655 w 8023328"/>
              <a:gd name="connsiteY4253" fmla="*/ 156450 h 2380521"/>
              <a:gd name="connsiteX4254" fmla="*/ 1656501 w 8023328"/>
              <a:gd name="connsiteY4254" fmla="*/ 141661 h 2380521"/>
              <a:gd name="connsiteX4255" fmla="*/ 1582299 w 8023328"/>
              <a:gd name="connsiteY4255" fmla="*/ 141661 h 2380521"/>
              <a:gd name="connsiteX4256" fmla="*/ 1594704 w 8023328"/>
              <a:gd name="connsiteY4256" fmla="*/ 156450 h 2380521"/>
              <a:gd name="connsiteX4257" fmla="*/ 1582299 w 8023328"/>
              <a:gd name="connsiteY4257" fmla="*/ 171239 h 2380521"/>
              <a:gd name="connsiteX4258" fmla="*/ 1568444 w 8023328"/>
              <a:gd name="connsiteY4258" fmla="*/ 156450 h 2380521"/>
              <a:gd name="connsiteX4259" fmla="*/ 1582299 w 8023328"/>
              <a:gd name="connsiteY4259" fmla="*/ 141661 h 2380521"/>
              <a:gd name="connsiteX4260" fmla="*/ 1512199 w 8023328"/>
              <a:gd name="connsiteY4260" fmla="*/ 141661 h 2380521"/>
              <a:gd name="connsiteX4261" fmla="*/ 1523867 w 8023328"/>
              <a:gd name="connsiteY4261" fmla="*/ 156450 h 2380521"/>
              <a:gd name="connsiteX4262" fmla="*/ 1512199 w 8023328"/>
              <a:gd name="connsiteY4262" fmla="*/ 171239 h 2380521"/>
              <a:gd name="connsiteX4263" fmla="*/ 1497612 w 8023328"/>
              <a:gd name="connsiteY4263" fmla="*/ 156450 h 2380521"/>
              <a:gd name="connsiteX4264" fmla="*/ 1512199 w 8023328"/>
              <a:gd name="connsiteY4264" fmla="*/ 141661 h 2380521"/>
              <a:gd name="connsiteX4265" fmla="*/ 1439173 w 8023328"/>
              <a:gd name="connsiteY4265" fmla="*/ 141661 h 2380521"/>
              <a:gd name="connsiteX4266" fmla="*/ 1453026 w 8023328"/>
              <a:gd name="connsiteY4266" fmla="*/ 156450 h 2380521"/>
              <a:gd name="connsiteX4267" fmla="*/ 1439173 w 8023328"/>
              <a:gd name="connsiteY4267" fmla="*/ 171239 h 2380521"/>
              <a:gd name="connsiteX4268" fmla="*/ 1426777 w 8023328"/>
              <a:gd name="connsiteY4268" fmla="*/ 156450 h 2380521"/>
              <a:gd name="connsiteX4269" fmla="*/ 1439173 w 8023328"/>
              <a:gd name="connsiteY4269" fmla="*/ 141661 h 2380521"/>
              <a:gd name="connsiteX4270" fmla="*/ 1368349 w 8023328"/>
              <a:gd name="connsiteY4270" fmla="*/ 141661 h 2380521"/>
              <a:gd name="connsiteX4271" fmla="*/ 1382203 w 8023328"/>
              <a:gd name="connsiteY4271" fmla="*/ 156450 h 2380521"/>
              <a:gd name="connsiteX4272" fmla="*/ 1368349 w 8023328"/>
              <a:gd name="connsiteY4272" fmla="*/ 171239 h 2380521"/>
              <a:gd name="connsiteX4273" fmla="*/ 1355953 w 8023328"/>
              <a:gd name="connsiteY4273" fmla="*/ 156450 h 2380521"/>
              <a:gd name="connsiteX4274" fmla="*/ 1368349 w 8023328"/>
              <a:gd name="connsiteY4274" fmla="*/ 141661 h 2380521"/>
              <a:gd name="connsiteX4275" fmla="*/ 1297520 w 8023328"/>
              <a:gd name="connsiteY4275" fmla="*/ 141661 h 2380521"/>
              <a:gd name="connsiteX4276" fmla="*/ 1311374 w 8023328"/>
              <a:gd name="connsiteY4276" fmla="*/ 156450 h 2380521"/>
              <a:gd name="connsiteX4277" fmla="*/ 1297520 w 8023328"/>
              <a:gd name="connsiteY4277" fmla="*/ 171239 h 2380521"/>
              <a:gd name="connsiteX4278" fmla="*/ 1285121 w 8023328"/>
              <a:gd name="connsiteY4278" fmla="*/ 156450 h 2380521"/>
              <a:gd name="connsiteX4279" fmla="*/ 1297520 w 8023328"/>
              <a:gd name="connsiteY4279" fmla="*/ 141661 h 2380521"/>
              <a:gd name="connsiteX4280" fmla="*/ 2796538 w 8023328"/>
              <a:gd name="connsiteY4280" fmla="*/ 70831 h 2380521"/>
              <a:gd name="connsiteX4281" fmla="*/ 2808940 w 8023328"/>
              <a:gd name="connsiteY4281" fmla="*/ 84687 h 2380521"/>
              <a:gd name="connsiteX4282" fmla="*/ 2796538 w 8023328"/>
              <a:gd name="connsiteY4282" fmla="*/ 97085 h 2380521"/>
              <a:gd name="connsiteX4283" fmla="*/ 2782683 w 8023328"/>
              <a:gd name="connsiteY4283" fmla="*/ 84687 h 2380521"/>
              <a:gd name="connsiteX4284" fmla="*/ 2796538 w 8023328"/>
              <a:gd name="connsiteY4284" fmla="*/ 70831 h 2380521"/>
              <a:gd name="connsiteX4285" fmla="*/ 2725703 w 8023328"/>
              <a:gd name="connsiteY4285" fmla="*/ 70831 h 2380521"/>
              <a:gd name="connsiteX4286" fmla="*/ 2738105 w 8023328"/>
              <a:gd name="connsiteY4286" fmla="*/ 84687 h 2380521"/>
              <a:gd name="connsiteX4287" fmla="*/ 2725703 w 8023328"/>
              <a:gd name="connsiteY4287" fmla="*/ 97085 h 2380521"/>
              <a:gd name="connsiteX4288" fmla="*/ 2711852 w 8023328"/>
              <a:gd name="connsiteY4288" fmla="*/ 84687 h 2380521"/>
              <a:gd name="connsiteX4289" fmla="*/ 2725703 w 8023328"/>
              <a:gd name="connsiteY4289" fmla="*/ 70831 h 2380521"/>
              <a:gd name="connsiteX4290" fmla="*/ 2653420 w 8023328"/>
              <a:gd name="connsiteY4290" fmla="*/ 70831 h 2380521"/>
              <a:gd name="connsiteX4291" fmla="*/ 2667273 w 8023328"/>
              <a:gd name="connsiteY4291" fmla="*/ 84687 h 2380521"/>
              <a:gd name="connsiteX4292" fmla="*/ 2653420 w 8023328"/>
              <a:gd name="connsiteY4292" fmla="*/ 97085 h 2380521"/>
              <a:gd name="connsiteX4293" fmla="*/ 2641021 w 8023328"/>
              <a:gd name="connsiteY4293" fmla="*/ 84687 h 2380521"/>
              <a:gd name="connsiteX4294" fmla="*/ 2653420 w 8023328"/>
              <a:gd name="connsiteY4294" fmla="*/ 70831 h 2380521"/>
              <a:gd name="connsiteX4295" fmla="*/ 2582586 w 8023328"/>
              <a:gd name="connsiteY4295" fmla="*/ 70831 h 2380521"/>
              <a:gd name="connsiteX4296" fmla="*/ 2596442 w 8023328"/>
              <a:gd name="connsiteY4296" fmla="*/ 84687 h 2380521"/>
              <a:gd name="connsiteX4297" fmla="*/ 2582586 w 8023328"/>
              <a:gd name="connsiteY4297" fmla="*/ 97085 h 2380521"/>
              <a:gd name="connsiteX4298" fmla="*/ 2570189 w 8023328"/>
              <a:gd name="connsiteY4298" fmla="*/ 84687 h 2380521"/>
              <a:gd name="connsiteX4299" fmla="*/ 2582586 w 8023328"/>
              <a:gd name="connsiteY4299" fmla="*/ 70831 h 2380521"/>
              <a:gd name="connsiteX4300" fmla="*/ 2511034 w 8023328"/>
              <a:gd name="connsiteY4300" fmla="*/ 70831 h 2380521"/>
              <a:gd name="connsiteX4301" fmla="*/ 2525616 w 8023328"/>
              <a:gd name="connsiteY4301" fmla="*/ 84687 h 2380521"/>
              <a:gd name="connsiteX4302" fmla="*/ 2511034 w 8023328"/>
              <a:gd name="connsiteY4302" fmla="*/ 97085 h 2380521"/>
              <a:gd name="connsiteX4303" fmla="*/ 2499364 w 8023328"/>
              <a:gd name="connsiteY4303" fmla="*/ 84687 h 2380521"/>
              <a:gd name="connsiteX4304" fmla="*/ 2511034 w 8023328"/>
              <a:gd name="connsiteY4304" fmla="*/ 70831 h 2380521"/>
              <a:gd name="connsiteX4305" fmla="*/ 2439946 w 8023328"/>
              <a:gd name="connsiteY4305" fmla="*/ 70831 h 2380521"/>
              <a:gd name="connsiteX4306" fmla="*/ 2454737 w 8023328"/>
              <a:gd name="connsiteY4306" fmla="*/ 84687 h 2380521"/>
              <a:gd name="connsiteX4307" fmla="*/ 2439946 w 8023328"/>
              <a:gd name="connsiteY4307" fmla="*/ 97085 h 2380521"/>
              <a:gd name="connsiteX4308" fmla="*/ 2425159 w 8023328"/>
              <a:gd name="connsiteY4308" fmla="*/ 84687 h 2380521"/>
              <a:gd name="connsiteX4309" fmla="*/ 2439946 w 8023328"/>
              <a:gd name="connsiteY4309" fmla="*/ 70831 h 2380521"/>
              <a:gd name="connsiteX4310" fmla="*/ 2369114 w 8023328"/>
              <a:gd name="connsiteY4310" fmla="*/ 70831 h 2380521"/>
              <a:gd name="connsiteX4311" fmla="*/ 2383900 w 8023328"/>
              <a:gd name="connsiteY4311" fmla="*/ 84687 h 2380521"/>
              <a:gd name="connsiteX4312" fmla="*/ 2369114 w 8023328"/>
              <a:gd name="connsiteY4312" fmla="*/ 97085 h 2380521"/>
              <a:gd name="connsiteX4313" fmla="*/ 2354323 w 8023328"/>
              <a:gd name="connsiteY4313" fmla="*/ 84687 h 2380521"/>
              <a:gd name="connsiteX4314" fmla="*/ 2369114 w 8023328"/>
              <a:gd name="connsiteY4314" fmla="*/ 70831 h 2380521"/>
              <a:gd name="connsiteX4315" fmla="*/ 2298283 w 8023328"/>
              <a:gd name="connsiteY4315" fmla="*/ 70831 h 2380521"/>
              <a:gd name="connsiteX4316" fmla="*/ 2313070 w 8023328"/>
              <a:gd name="connsiteY4316" fmla="*/ 84687 h 2380521"/>
              <a:gd name="connsiteX4317" fmla="*/ 2298283 w 8023328"/>
              <a:gd name="connsiteY4317" fmla="*/ 97085 h 2380521"/>
              <a:gd name="connsiteX4318" fmla="*/ 2283493 w 8023328"/>
              <a:gd name="connsiteY4318" fmla="*/ 84687 h 2380521"/>
              <a:gd name="connsiteX4319" fmla="*/ 2298283 w 8023328"/>
              <a:gd name="connsiteY4319" fmla="*/ 70831 h 2380521"/>
              <a:gd name="connsiteX4320" fmla="*/ 2226517 w 8023328"/>
              <a:gd name="connsiteY4320" fmla="*/ 70831 h 2380521"/>
              <a:gd name="connsiteX4321" fmla="*/ 2238916 w 8023328"/>
              <a:gd name="connsiteY4321" fmla="*/ 84687 h 2380521"/>
              <a:gd name="connsiteX4322" fmla="*/ 2226517 w 8023328"/>
              <a:gd name="connsiteY4322" fmla="*/ 97085 h 2380521"/>
              <a:gd name="connsiteX4323" fmla="*/ 2212659 w 8023328"/>
              <a:gd name="connsiteY4323" fmla="*/ 84687 h 2380521"/>
              <a:gd name="connsiteX4324" fmla="*/ 2226517 w 8023328"/>
              <a:gd name="connsiteY4324" fmla="*/ 70831 h 2380521"/>
              <a:gd name="connsiteX4325" fmla="*/ 2155683 w 8023328"/>
              <a:gd name="connsiteY4325" fmla="*/ 70831 h 2380521"/>
              <a:gd name="connsiteX4326" fmla="*/ 2168084 w 8023328"/>
              <a:gd name="connsiteY4326" fmla="*/ 84687 h 2380521"/>
              <a:gd name="connsiteX4327" fmla="*/ 2155683 w 8023328"/>
              <a:gd name="connsiteY4327" fmla="*/ 97085 h 2380521"/>
              <a:gd name="connsiteX4328" fmla="*/ 2141827 w 8023328"/>
              <a:gd name="connsiteY4328" fmla="*/ 84687 h 2380521"/>
              <a:gd name="connsiteX4329" fmla="*/ 2155683 w 8023328"/>
              <a:gd name="connsiteY4329" fmla="*/ 70831 h 2380521"/>
              <a:gd name="connsiteX4330" fmla="*/ 2083393 w 8023328"/>
              <a:gd name="connsiteY4330" fmla="*/ 70831 h 2380521"/>
              <a:gd name="connsiteX4331" fmla="*/ 2097249 w 8023328"/>
              <a:gd name="connsiteY4331" fmla="*/ 84687 h 2380521"/>
              <a:gd name="connsiteX4332" fmla="*/ 2083393 w 8023328"/>
              <a:gd name="connsiteY4332" fmla="*/ 97085 h 2380521"/>
              <a:gd name="connsiteX4333" fmla="*/ 2070995 w 8023328"/>
              <a:gd name="connsiteY4333" fmla="*/ 84687 h 2380521"/>
              <a:gd name="connsiteX4334" fmla="*/ 2083393 w 8023328"/>
              <a:gd name="connsiteY4334" fmla="*/ 70831 h 2380521"/>
              <a:gd name="connsiteX4335" fmla="*/ 2011835 w 8023328"/>
              <a:gd name="connsiteY4335" fmla="*/ 70831 h 2380521"/>
              <a:gd name="connsiteX4336" fmla="*/ 2026421 w 8023328"/>
              <a:gd name="connsiteY4336" fmla="*/ 84687 h 2380521"/>
              <a:gd name="connsiteX4337" fmla="*/ 2011835 w 8023328"/>
              <a:gd name="connsiteY4337" fmla="*/ 97085 h 2380521"/>
              <a:gd name="connsiteX4338" fmla="*/ 2000168 w 8023328"/>
              <a:gd name="connsiteY4338" fmla="*/ 84687 h 2380521"/>
              <a:gd name="connsiteX4339" fmla="*/ 2011835 w 8023328"/>
              <a:gd name="connsiteY4339" fmla="*/ 70831 h 2380521"/>
              <a:gd name="connsiteX4340" fmla="*/ 1938365 w 8023328"/>
              <a:gd name="connsiteY4340" fmla="*/ 70831 h 2380521"/>
              <a:gd name="connsiteX4341" fmla="*/ 1952222 w 8023328"/>
              <a:gd name="connsiteY4341" fmla="*/ 84687 h 2380521"/>
              <a:gd name="connsiteX4342" fmla="*/ 1938365 w 8023328"/>
              <a:gd name="connsiteY4342" fmla="*/ 97085 h 2380521"/>
              <a:gd name="connsiteX4343" fmla="*/ 1925971 w 8023328"/>
              <a:gd name="connsiteY4343" fmla="*/ 84687 h 2380521"/>
              <a:gd name="connsiteX4344" fmla="*/ 1938365 w 8023328"/>
              <a:gd name="connsiteY4344" fmla="*/ 70831 h 2380521"/>
              <a:gd name="connsiteX4345" fmla="*/ 1869922 w 8023328"/>
              <a:gd name="connsiteY4345" fmla="*/ 70831 h 2380521"/>
              <a:gd name="connsiteX4346" fmla="*/ 1884712 w 8023328"/>
              <a:gd name="connsiteY4346" fmla="*/ 84687 h 2380521"/>
              <a:gd name="connsiteX4347" fmla="*/ 1869922 w 8023328"/>
              <a:gd name="connsiteY4347" fmla="*/ 97085 h 2380521"/>
              <a:gd name="connsiteX4348" fmla="*/ 1855131 w 8023328"/>
              <a:gd name="connsiteY4348" fmla="*/ 84687 h 2380521"/>
              <a:gd name="connsiteX4349" fmla="*/ 1869922 w 8023328"/>
              <a:gd name="connsiteY4349" fmla="*/ 70831 h 2380521"/>
              <a:gd name="connsiteX4350" fmla="*/ 1799087 w 8023328"/>
              <a:gd name="connsiteY4350" fmla="*/ 70831 h 2380521"/>
              <a:gd name="connsiteX4351" fmla="*/ 1813879 w 8023328"/>
              <a:gd name="connsiteY4351" fmla="*/ 84687 h 2380521"/>
              <a:gd name="connsiteX4352" fmla="*/ 1799087 w 8023328"/>
              <a:gd name="connsiteY4352" fmla="*/ 97085 h 2380521"/>
              <a:gd name="connsiteX4353" fmla="*/ 1784303 w 8023328"/>
              <a:gd name="connsiteY4353" fmla="*/ 84687 h 2380521"/>
              <a:gd name="connsiteX4354" fmla="*/ 1799087 w 8023328"/>
              <a:gd name="connsiteY4354" fmla="*/ 70831 h 2380521"/>
              <a:gd name="connsiteX4355" fmla="*/ 1728262 w 8023328"/>
              <a:gd name="connsiteY4355" fmla="*/ 70831 h 2380521"/>
              <a:gd name="connsiteX4356" fmla="*/ 1743052 w 8023328"/>
              <a:gd name="connsiteY4356" fmla="*/ 84687 h 2380521"/>
              <a:gd name="connsiteX4357" fmla="*/ 1728262 w 8023328"/>
              <a:gd name="connsiteY4357" fmla="*/ 97085 h 2380521"/>
              <a:gd name="connsiteX4358" fmla="*/ 1713474 w 8023328"/>
              <a:gd name="connsiteY4358" fmla="*/ 84687 h 2380521"/>
              <a:gd name="connsiteX4359" fmla="*/ 1728262 w 8023328"/>
              <a:gd name="connsiteY4359" fmla="*/ 70831 h 2380521"/>
              <a:gd name="connsiteX4360" fmla="*/ 1656501 w 8023328"/>
              <a:gd name="connsiteY4360" fmla="*/ 70831 h 2380521"/>
              <a:gd name="connsiteX4361" fmla="*/ 1668900 w 8023328"/>
              <a:gd name="connsiteY4361" fmla="*/ 84687 h 2380521"/>
              <a:gd name="connsiteX4362" fmla="*/ 1656501 w 8023328"/>
              <a:gd name="connsiteY4362" fmla="*/ 97085 h 2380521"/>
              <a:gd name="connsiteX4363" fmla="*/ 1642655 w 8023328"/>
              <a:gd name="connsiteY4363" fmla="*/ 84687 h 2380521"/>
              <a:gd name="connsiteX4364" fmla="*/ 1656501 w 8023328"/>
              <a:gd name="connsiteY4364" fmla="*/ 70831 h 2380521"/>
              <a:gd name="connsiteX4365" fmla="*/ 1582299 w 8023328"/>
              <a:gd name="connsiteY4365" fmla="*/ 70831 h 2380521"/>
              <a:gd name="connsiteX4366" fmla="*/ 1594704 w 8023328"/>
              <a:gd name="connsiteY4366" fmla="*/ 84687 h 2380521"/>
              <a:gd name="connsiteX4367" fmla="*/ 1582299 w 8023328"/>
              <a:gd name="connsiteY4367" fmla="*/ 97085 h 2380521"/>
              <a:gd name="connsiteX4368" fmla="*/ 1568444 w 8023328"/>
              <a:gd name="connsiteY4368" fmla="*/ 84687 h 2380521"/>
              <a:gd name="connsiteX4369" fmla="*/ 1582299 w 8023328"/>
              <a:gd name="connsiteY4369" fmla="*/ 70831 h 2380521"/>
              <a:gd name="connsiteX4370" fmla="*/ 2796538 w 8023328"/>
              <a:gd name="connsiteY4370" fmla="*/ 0 h 2380521"/>
              <a:gd name="connsiteX4371" fmla="*/ 2808940 w 8023328"/>
              <a:gd name="connsiteY4371" fmla="*/ 12397 h 2380521"/>
              <a:gd name="connsiteX4372" fmla="*/ 2796538 w 8023328"/>
              <a:gd name="connsiteY4372" fmla="*/ 26254 h 2380521"/>
              <a:gd name="connsiteX4373" fmla="*/ 2782683 w 8023328"/>
              <a:gd name="connsiteY4373" fmla="*/ 12397 h 2380521"/>
              <a:gd name="connsiteX4374" fmla="*/ 2796538 w 8023328"/>
              <a:gd name="connsiteY4374" fmla="*/ 0 h 2380521"/>
              <a:gd name="connsiteX4375" fmla="*/ 2725703 w 8023328"/>
              <a:gd name="connsiteY4375" fmla="*/ 0 h 2380521"/>
              <a:gd name="connsiteX4376" fmla="*/ 2738105 w 8023328"/>
              <a:gd name="connsiteY4376" fmla="*/ 12397 h 2380521"/>
              <a:gd name="connsiteX4377" fmla="*/ 2725703 w 8023328"/>
              <a:gd name="connsiteY4377" fmla="*/ 26254 h 2380521"/>
              <a:gd name="connsiteX4378" fmla="*/ 2711852 w 8023328"/>
              <a:gd name="connsiteY4378" fmla="*/ 12397 h 2380521"/>
              <a:gd name="connsiteX4379" fmla="*/ 2725703 w 8023328"/>
              <a:gd name="connsiteY4379" fmla="*/ 0 h 2380521"/>
              <a:gd name="connsiteX4380" fmla="*/ 2653420 w 8023328"/>
              <a:gd name="connsiteY4380" fmla="*/ 0 h 2380521"/>
              <a:gd name="connsiteX4381" fmla="*/ 2667273 w 8023328"/>
              <a:gd name="connsiteY4381" fmla="*/ 12397 h 2380521"/>
              <a:gd name="connsiteX4382" fmla="*/ 2653420 w 8023328"/>
              <a:gd name="connsiteY4382" fmla="*/ 26254 h 2380521"/>
              <a:gd name="connsiteX4383" fmla="*/ 2641021 w 8023328"/>
              <a:gd name="connsiteY4383" fmla="*/ 12397 h 2380521"/>
              <a:gd name="connsiteX4384" fmla="*/ 2653420 w 8023328"/>
              <a:gd name="connsiteY4384" fmla="*/ 0 h 2380521"/>
              <a:gd name="connsiteX4385" fmla="*/ 2582586 w 8023328"/>
              <a:gd name="connsiteY4385" fmla="*/ 0 h 2380521"/>
              <a:gd name="connsiteX4386" fmla="*/ 2596442 w 8023328"/>
              <a:gd name="connsiteY4386" fmla="*/ 12397 h 2380521"/>
              <a:gd name="connsiteX4387" fmla="*/ 2582586 w 8023328"/>
              <a:gd name="connsiteY4387" fmla="*/ 26254 h 2380521"/>
              <a:gd name="connsiteX4388" fmla="*/ 2570189 w 8023328"/>
              <a:gd name="connsiteY4388" fmla="*/ 12397 h 2380521"/>
              <a:gd name="connsiteX4389" fmla="*/ 2582586 w 8023328"/>
              <a:gd name="connsiteY4389" fmla="*/ 0 h 2380521"/>
              <a:gd name="connsiteX4390" fmla="*/ 2511034 w 8023328"/>
              <a:gd name="connsiteY4390" fmla="*/ 0 h 2380521"/>
              <a:gd name="connsiteX4391" fmla="*/ 2525616 w 8023328"/>
              <a:gd name="connsiteY4391" fmla="*/ 12397 h 2380521"/>
              <a:gd name="connsiteX4392" fmla="*/ 2511034 w 8023328"/>
              <a:gd name="connsiteY4392" fmla="*/ 26254 h 2380521"/>
              <a:gd name="connsiteX4393" fmla="*/ 2499364 w 8023328"/>
              <a:gd name="connsiteY4393" fmla="*/ 12397 h 2380521"/>
              <a:gd name="connsiteX4394" fmla="*/ 2511034 w 8023328"/>
              <a:gd name="connsiteY4394" fmla="*/ 0 h 2380521"/>
              <a:gd name="connsiteX4395" fmla="*/ 2439946 w 8023328"/>
              <a:gd name="connsiteY4395" fmla="*/ 0 h 2380521"/>
              <a:gd name="connsiteX4396" fmla="*/ 2454737 w 8023328"/>
              <a:gd name="connsiteY4396" fmla="*/ 12397 h 2380521"/>
              <a:gd name="connsiteX4397" fmla="*/ 2439946 w 8023328"/>
              <a:gd name="connsiteY4397" fmla="*/ 26254 h 2380521"/>
              <a:gd name="connsiteX4398" fmla="*/ 2425159 w 8023328"/>
              <a:gd name="connsiteY4398" fmla="*/ 12397 h 2380521"/>
              <a:gd name="connsiteX4399" fmla="*/ 2439946 w 8023328"/>
              <a:gd name="connsiteY4399" fmla="*/ 0 h 2380521"/>
              <a:gd name="connsiteX4400" fmla="*/ 2369114 w 8023328"/>
              <a:gd name="connsiteY4400" fmla="*/ 0 h 2380521"/>
              <a:gd name="connsiteX4401" fmla="*/ 2383900 w 8023328"/>
              <a:gd name="connsiteY4401" fmla="*/ 12397 h 2380521"/>
              <a:gd name="connsiteX4402" fmla="*/ 2369114 w 8023328"/>
              <a:gd name="connsiteY4402" fmla="*/ 26254 h 2380521"/>
              <a:gd name="connsiteX4403" fmla="*/ 2354323 w 8023328"/>
              <a:gd name="connsiteY4403" fmla="*/ 12397 h 2380521"/>
              <a:gd name="connsiteX4404" fmla="*/ 2369114 w 8023328"/>
              <a:gd name="connsiteY4404" fmla="*/ 0 h 2380521"/>
              <a:gd name="connsiteX4405" fmla="*/ 2298283 w 8023328"/>
              <a:gd name="connsiteY4405" fmla="*/ 0 h 2380521"/>
              <a:gd name="connsiteX4406" fmla="*/ 2313070 w 8023328"/>
              <a:gd name="connsiteY4406" fmla="*/ 12397 h 2380521"/>
              <a:gd name="connsiteX4407" fmla="*/ 2298283 w 8023328"/>
              <a:gd name="connsiteY4407" fmla="*/ 26254 h 2380521"/>
              <a:gd name="connsiteX4408" fmla="*/ 2283493 w 8023328"/>
              <a:gd name="connsiteY4408" fmla="*/ 12397 h 2380521"/>
              <a:gd name="connsiteX4409" fmla="*/ 2298283 w 8023328"/>
              <a:gd name="connsiteY4409" fmla="*/ 0 h 2380521"/>
              <a:gd name="connsiteX4410" fmla="*/ 2226517 w 8023328"/>
              <a:gd name="connsiteY4410" fmla="*/ 0 h 2380521"/>
              <a:gd name="connsiteX4411" fmla="*/ 2238916 w 8023328"/>
              <a:gd name="connsiteY4411" fmla="*/ 13856 h 2380521"/>
              <a:gd name="connsiteX4412" fmla="*/ 2226517 w 8023328"/>
              <a:gd name="connsiteY4412" fmla="*/ 26254 h 2380521"/>
              <a:gd name="connsiteX4413" fmla="*/ 2212659 w 8023328"/>
              <a:gd name="connsiteY4413" fmla="*/ 13856 h 2380521"/>
              <a:gd name="connsiteX4414" fmla="*/ 2226517 w 8023328"/>
              <a:gd name="connsiteY4414" fmla="*/ 0 h 2380521"/>
              <a:gd name="connsiteX4415" fmla="*/ 2155683 w 8023328"/>
              <a:gd name="connsiteY4415" fmla="*/ 0 h 2380521"/>
              <a:gd name="connsiteX4416" fmla="*/ 2168084 w 8023328"/>
              <a:gd name="connsiteY4416" fmla="*/ 13856 h 2380521"/>
              <a:gd name="connsiteX4417" fmla="*/ 2155683 w 8023328"/>
              <a:gd name="connsiteY4417" fmla="*/ 26254 h 2380521"/>
              <a:gd name="connsiteX4418" fmla="*/ 2141827 w 8023328"/>
              <a:gd name="connsiteY4418" fmla="*/ 13856 h 2380521"/>
              <a:gd name="connsiteX4419" fmla="*/ 2155683 w 8023328"/>
              <a:gd name="connsiteY4419" fmla="*/ 0 h 2380521"/>
              <a:gd name="connsiteX4420" fmla="*/ 2083393 w 8023328"/>
              <a:gd name="connsiteY4420" fmla="*/ 0 h 2380521"/>
              <a:gd name="connsiteX4421" fmla="*/ 2097249 w 8023328"/>
              <a:gd name="connsiteY4421" fmla="*/ 13856 h 2380521"/>
              <a:gd name="connsiteX4422" fmla="*/ 2083393 w 8023328"/>
              <a:gd name="connsiteY4422" fmla="*/ 26254 h 2380521"/>
              <a:gd name="connsiteX4423" fmla="*/ 2070995 w 8023328"/>
              <a:gd name="connsiteY4423" fmla="*/ 13856 h 2380521"/>
              <a:gd name="connsiteX4424" fmla="*/ 2083393 w 8023328"/>
              <a:gd name="connsiteY4424" fmla="*/ 0 h 2380521"/>
              <a:gd name="connsiteX4425" fmla="*/ 2011835 w 8023328"/>
              <a:gd name="connsiteY4425" fmla="*/ 0 h 2380521"/>
              <a:gd name="connsiteX4426" fmla="*/ 2026421 w 8023328"/>
              <a:gd name="connsiteY4426" fmla="*/ 13856 h 2380521"/>
              <a:gd name="connsiteX4427" fmla="*/ 2011835 w 8023328"/>
              <a:gd name="connsiteY4427" fmla="*/ 26254 h 2380521"/>
              <a:gd name="connsiteX4428" fmla="*/ 2000168 w 8023328"/>
              <a:gd name="connsiteY4428" fmla="*/ 13856 h 2380521"/>
              <a:gd name="connsiteX4429" fmla="*/ 2011835 w 8023328"/>
              <a:gd name="connsiteY4429" fmla="*/ 0 h 2380521"/>
              <a:gd name="connsiteX4430" fmla="*/ 1938365 w 8023328"/>
              <a:gd name="connsiteY4430" fmla="*/ 0 h 2380521"/>
              <a:gd name="connsiteX4431" fmla="*/ 1952222 w 8023328"/>
              <a:gd name="connsiteY4431" fmla="*/ 13856 h 2380521"/>
              <a:gd name="connsiteX4432" fmla="*/ 1938365 w 8023328"/>
              <a:gd name="connsiteY4432" fmla="*/ 26254 h 2380521"/>
              <a:gd name="connsiteX4433" fmla="*/ 1925971 w 8023328"/>
              <a:gd name="connsiteY4433" fmla="*/ 13856 h 2380521"/>
              <a:gd name="connsiteX4434" fmla="*/ 1938365 w 8023328"/>
              <a:gd name="connsiteY4434" fmla="*/ 0 h 2380521"/>
              <a:gd name="connsiteX4435" fmla="*/ 1869922 w 8023328"/>
              <a:gd name="connsiteY4435" fmla="*/ 0 h 2380521"/>
              <a:gd name="connsiteX4436" fmla="*/ 1884712 w 8023328"/>
              <a:gd name="connsiteY4436" fmla="*/ 13856 h 2380521"/>
              <a:gd name="connsiteX4437" fmla="*/ 1869922 w 8023328"/>
              <a:gd name="connsiteY4437" fmla="*/ 26254 h 2380521"/>
              <a:gd name="connsiteX4438" fmla="*/ 1855131 w 8023328"/>
              <a:gd name="connsiteY4438" fmla="*/ 13856 h 2380521"/>
              <a:gd name="connsiteX4439" fmla="*/ 1869922 w 8023328"/>
              <a:gd name="connsiteY4439" fmla="*/ 0 h 2380521"/>
              <a:gd name="connsiteX4440" fmla="*/ 1799087 w 8023328"/>
              <a:gd name="connsiteY4440" fmla="*/ 0 h 2380521"/>
              <a:gd name="connsiteX4441" fmla="*/ 1813879 w 8023328"/>
              <a:gd name="connsiteY4441" fmla="*/ 13856 h 2380521"/>
              <a:gd name="connsiteX4442" fmla="*/ 1799087 w 8023328"/>
              <a:gd name="connsiteY4442" fmla="*/ 26254 h 2380521"/>
              <a:gd name="connsiteX4443" fmla="*/ 1784303 w 8023328"/>
              <a:gd name="connsiteY4443" fmla="*/ 13856 h 2380521"/>
              <a:gd name="connsiteX4444" fmla="*/ 1799087 w 8023328"/>
              <a:gd name="connsiteY4444" fmla="*/ 0 h 2380521"/>
              <a:gd name="connsiteX4445" fmla="*/ 1728262 w 8023328"/>
              <a:gd name="connsiteY4445" fmla="*/ 0 h 2380521"/>
              <a:gd name="connsiteX4446" fmla="*/ 1743052 w 8023328"/>
              <a:gd name="connsiteY4446" fmla="*/ 13856 h 2380521"/>
              <a:gd name="connsiteX4447" fmla="*/ 1728262 w 8023328"/>
              <a:gd name="connsiteY4447" fmla="*/ 26254 h 2380521"/>
              <a:gd name="connsiteX4448" fmla="*/ 1713474 w 8023328"/>
              <a:gd name="connsiteY4448" fmla="*/ 13856 h 2380521"/>
              <a:gd name="connsiteX4449" fmla="*/ 1728262 w 8023328"/>
              <a:gd name="connsiteY4449" fmla="*/ 0 h 2380521"/>
              <a:gd name="connsiteX4450" fmla="*/ 1656501 w 8023328"/>
              <a:gd name="connsiteY4450" fmla="*/ 0 h 2380521"/>
              <a:gd name="connsiteX4451" fmla="*/ 1668900 w 8023328"/>
              <a:gd name="connsiteY4451" fmla="*/ 13856 h 2380521"/>
              <a:gd name="connsiteX4452" fmla="*/ 1656501 w 8023328"/>
              <a:gd name="connsiteY4452" fmla="*/ 26254 h 2380521"/>
              <a:gd name="connsiteX4453" fmla="*/ 1642655 w 8023328"/>
              <a:gd name="connsiteY4453" fmla="*/ 13856 h 2380521"/>
              <a:gd name="connsiteX4454" fmla="*/ 1656501 w 8023328"/>
              <a:gd name="connsiteY4454" fmla="*/ 0 h 2380521"/>
              <a:gd name="connsiteX4455" fmla="*/ 1582299 w 8023328"/>
              <a:gd name="connsiteY4455" fmla="*/ 0 h 2380521"/>
              <a:gd name="connsiteX4456" fmla="*/ 1594704 w 8023328"/>
              <a:gd name="connsiteY4456" fmla="*/ 13856 h 2380521"/>
              <a:gd name="connsiteX4457" fmla="*/ 1582299 w 8023328"/>
              <a:gd name="connsiteY4457" fmla="*/ 26254 h 2380521"/>
              <a:gd name="connsiteX4458" fmla="*/ 1568444 w 8023328"/>
              <a:gd name="connsiteY4458" fmla="*/ 13856 h 2380521"/>
              <a:gd name="connsiteX4459" fmla="*/ 1582299 w 8023328"/>
              <a:gd name="connsiteY4459" fmla="*/ 0 h 2380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</a:cxnLst>
            <a:rect l="l" t="t" r="r" b="b"/>
            <a:pathLst>
              <a:path w="8023328" h="2380521">
                <a:moveTo>
                  <a:pt x="8010930" y="2354267"/>
                </a:moveTo>
                <a:cubicBezTo>
                  <a:pt x="8018223" y="2354267"/>
                  <a:pt x="8023328" y="2360101"/>
                  <a:pt x="8023328" y="2366665"/>
                </a:cubicBezTo>
                <a:cubicBezTo>
                  <a:pt x="8023328" y="2373958"/>
                  <a:pt x="8018223" y="2380521"/>
                  <a:pt x="8010930" y="2380521"/>
                </a:cubicBezTo>
                <a:cubicBezTo>
                  <a:pt x="8002908" y="2380521"/>
                  <a:pt x="7997074" y="2373958"/>
                  <a:pt x="7997074" y="2366665"/>
                </a:cubicBezTo>
                <a:cubicBezTo>
                  <a:pt x="7997074" y="2360101"/>
                  <a:pt x="8002908" y="2354267"/>
                  <a:pt x="8010930" y="2354267"/>
                </a:cubicBezTo>
                <a:close/>
                <a:moveTo>
                  <a:pt x="7940099" y="2354267"/>
                </a:moveTo>
                <a:cubicBezTo>
                  <a:pt x="7945933" y="2354267"/>
                  <a:pt x="7952497" y="2360101"/>
                  <a:pt x="7952497" y="2366665"/>
                </a:cubicBezTo>
                <a:cubicBezTo>
                  <a:pt x="7952497" y="2373958"/>
                  <a:pt x="7945933" y="2380521"/>
                  <a:pt x="7940099" y="2380521"/>
                </a:cubicBezTo>
                <a:cubicBezTo>
                  <a:pt x="7932077" y="2380521"/>
                  <a:pt x="7926243" y="2373958"/>
                  <a:pt x="7926243" y="2366665"/>
                </a:cubicBezTo>
                <a:cubicBezTo>
                  <a:pt x="7926243" y="2360101"/>
                  <a:pt x="7932077" y="2354267"/>
                  <a:pt x="7940099" y="2354267"/>
                </a:cubicBezTo>
                <a:close/>
                <a:moveTo>
                  <a:pt x="7869269" y="2354267"/>
                </a:moveTo>
                <a:cubicBezTo>
                  <a:pt x="7875833" y="2354267"/>
                  <a:pt x="7881667" y="2360101"/>
                  <a:pt x="7881667" y="2366665"/>
                </a:cubicBezTo>
                <a:cubicBezTo>
                  <a:pt x="7881667" y="2373958"/>
                  <a:pt x="7875833" y="2380521"/>
                  <a:pt x="7869269" y="2380521"/>
                </a:cubicBezTo>
                <a:cubicBezTo>
                  <a:pt x="7861976" y="2380521"/>
                  <a:pt x="7855413" y="2373958"/>
                  <a:pt x="7855413" y="2366665"/>
                </a:cubicBezTo>
                <a:cubicBezTo>
                  <a:pt x="7855413" y="2360101"/>
                  <a:pt x="7861976" y="2354267"/>
                  <a:pt x="7869269" y="2354267"/>
                </a:cubicBezTo>
                <a:close/>
                <a:moveTo>
                  <a:pt x="7796980" y="2354267"/>
                </a:moveTo>
                <a:cubicBezTo>
                  <a:pt x="7805002" y="2354267"/>
                  <a:pt x="7810836" y="2360101"/>
                  <a:pt x="7810836" y="2366665"/>
                </a:cubicBezTo>
                <a:cubicBezTo>
                  <a:pt x="7810836" y="2373958"/>
                  <a:pt x="7805002" y="2380521"/>
                  <a:pt x="7796980" y="2380521"/>
                </a:cubicBezTo>
                <a:cubicBezTo>
                  <a:pt x="7791145" y="2380521"/>
                  <a:pt x="7784582" y="2373958"/>
                  <a:pt x="7784582" y="2366665"/>
                </a:cubicBezTo>
                <a:cubicBezTo>
                  <a:pt x="7784582" y="2360101"/>
                  <a:pt x="7791145" y="2354267"/>
                  <a:pt x="7796980" y="2354267"/>
                </a:cubicBezTo>
                <a:close/>
                <a:moveTo>
                  <a:pt x="8010930" y="2283438"/>
                </a:moveTo>
                <a:cubicBezTo>
                  <a:pt x="8018223" y="2283438"/>
                  <a:pt x="8023328" y="2288543"/>
                  <a:pt x="8023328" y="2295835"/>
                </a:cubicBezTo>
                <a:cubicBezTo>
                  <a:pt x="8023328" y="2303857"/>
                  <a:pt x="8018223" y="2309691"/>
                  <a:pt x="8010930" y="2309691"/>
                </a:cubicBezTo>
                <a:cubicBezTo>
                  <a:pt x="8002908" y="2309691"/>
                  <a:pt x="7997074" y="2303857"/>
                  <a:pt x="7997074" y="2295835"/>
                </a:cubicBezTo>
                <a:cubicBezTo>
                  <a:pt x="7997074" y="2288543"/>
                  <a:pt x="8002908" y="2283438"/>
                  <a:pt x="8010930" y="2283438"/>
                </a:cubicBezTo>
                <a:close/>
                <a:moveTo>
                  <a:pt x="7940099" y="2283438"/>
                </a:moveTo>
                <a:cubicBezTo>
                  <a:pt x="7945933" y="2283438"/>
                  <a:pt x="7952497" y="2288543"/>
                  <a:pt x="7952497" y="2295835"/>
                </a:cubicBezTo>
                <a:cubicBezTo>
                  <a:pt x="7952497" y="2303857"/>
                  <a:pt x="7945933" y="2309691"/>
                  <a:pt x="7940099" y="2309691"/>
                </a:cubicBezTo>
                <a:cubicBezTo>
                  <a:pt x="7932077" y="2309691"/>
                  <a:pt x="7926243" y="2303857"/>
                  <a:pt x="7926243" y="2295835"/>
                </a:cubicBezTo>
                <a:cubicBezTo>
                  <a:pt x="7926243" y="2288543"/>
                  <a:pt x="7932077" y="2283438"/>
                  <a:pt x="7940099" y="2283438"/>
                </a:cubicBezTo>
                <a:close/>
                <a:moveTo>
                  <a:pt x="7869269" y="2283438"/>
                </a:moveTo>
                <a:cubicBezTo>
                  <a:pt x="7875833" y="2283438"/>
                  <a:pt x="7881667" y="2288543"/>
                  <a:pt x="7881667" y="2295835"/>
                </a:cubicBezTo>
                <a:cubicBezTo>
                  <a:pt x="7881667" y="2303857"/>
                  <a:pt x="7875833" y="2309691"/>
                  <a:pt x="7869269" y="2309691"/>
                </a:cubicBezTo>
                <a:cubicBezTo>
                  <a:pt x="7861976" y="2309691"/>
                  <a:pt x="7855413" y="2303857"/>
                  <a:pt x="7855413" y="2295835"/>
                </a:cubicBezTo>
                <a:cubicBezTo>
                  <a:pt x="7855413" y="2288543"/>
                  <a:pt x="7861976" y="2283438"/>
                  <a:pt x="7869269" y="2283438"/>
                </a:cubicBezTo>
                <a:close/>
                <a:moveTo>
                  <a:pt x="7796980" y="2283438"/>
                </a:moveTo>
                <a:cubicBezTo>
                  <a:pt x="7805002" y="2283438"/>
                  <a:pt x="7810836" y="2288543"/>
                  <a:pt x="7810836" y="2295835"/>
                </a:cubicBezTo>
                <a:cubicBezTo>
                  <a:pt x="7810836" y="2303857"/>
                  <a:pt x="7805002" y="2309691"/>
                  <a:pt x="7796980" y="2309691"/>
                </a:cubicBezTo>
                <a:cubicBezTo>
                  <a:pt x="7791145" y="2309691"/>
                  <a:pt x="7784582" y="2303857"/>
                  <a:pt x="7784582" y="2295835"/>
                </a:cubicBezTo>
                <a:cubicBezTo>
                  <a:pt x="7784582" y="2288543"/>
                  <a:pt x="7791145" y="2283438"/>
                  <a:pt x="7796980" y="2283438"/>
                </a:cubicBezTo>
                <a:close/>
                <a:moveTo>
                  <a:pt x="7726151" y="2283438"/>
                </a:moveTo>
                <a:cubicBezTo>
                  <a:pt x="7734173" y="2283438"/>
                  <a:pt x="7740007" y="2288543"/>
                  <a:pt x="7740007" y="2295835"/>
                </a:cubicBezTo>
                <a:cubicBezTo>
                  <a:pt x="7740007" y="2303857"/>
                  <a:pt x="7734173" y="2309691"/>
                  <a:pt x="7726151" y="2309691"/>
                </a:cubicBezTo>
                <a:cubicBezTo>
                  <a:pt x="7718858" y="2309691"/>
                  <a:pt x="7713753" y="2303857"/>
                  <a:pt x="7713753" y="2295835"/>
                </a:cubicBezTo>
                <a:cubicBezTo>
                  <a:pt x="7713753" y="2288543"/>
                  <a:pt x="7718858" y="2283438"/>
                  <a:pt x="7726151" y="2283438"/>
                </a:cubicBezTo>
                <a:close/>
                <a:moveTo>
                  <a:pt x="7940099" y="2209234"/>
                </a:moveTo>
                <a:cubicBezTo>
                  <a:pt x="7945933" y="2209234"/>
                  <a:pt x="7952497" y="2216239"/>
                  <a:pt x="7952497" y="2224022"/>
                </a:cubicBezTo>
                <a:cubicBezTo>
                  <a:pt x="7952497" y="2232584"/>
                  <a:pt x="7945933" y="2238810"/>
                  <a:pt x="7940099" y="2238810"/>
                </a:cubicBezTo>
                <a:cubicBezTo>
                  <a:pt x="7932077" y="2238810"/>
                  <a:pt x="7926243" y="2232584"/>
                  <a:pt x="7926243" y="2224022"/>
                </a:cubicBezTo>
                <a:cubicBezTo>
                  <a:pt x="7926243" y="2216239"/>
                  <a:pt x="7932077" y="2209234"/>
                  <a:pt x="7940099" y="2209234"/>
                </a:cubicBezTo>
                <a:close/>
                <a:moveTo>
                  <a:pt x="7867811" y="2209234"/>
                </a:moveTo>
                <a:cubicBezTo>
                  <a:pt x="7875833" y="2209234"/>
                  <a:pt x="7881667" y="2216239"/>
                  <a:pt x="7881667" y="2224022"/>
                </a:cubicBezTo>
                <a:cubicBezTo>
                  <a:pt x="7881667" y="2232584"/>
                  <a:pt x="7875833" y="2238810"/>
                  <a:pt x="7867811" y="2238810"/>
                </a:cubicBezTo>
                <a:cubicBezTo>
                  <a:pt x="7861976" y="2238810"/>
                  <a:pt x="7855413" y="2232584"/>
                  <a:pt x="7855413" y="2224022"/>
                </a:cubicBezTo>
                <a:cubicBezTo>
                  <a:pt x="7855413" y="2216239"/>
                  <a:pt x="7861976" y="2209234"/>
                  <a:pt x="7867811" y="2209234"/>
                </a:cubicBezTo>
                <a:close/>
                <a:moveTo>
                  <a:pt x="7796980" y="2209234"/>
                </a:moveTo>
                <a:cubicBezTo>
                  <a:pt x="7805002" y="2209234"/>
                  <a:pt x="7810836" y="2216239"/>
                  <a:pt x="7810836" y="2224022"/>
                </a:cubicBezTo>
                <a:cubicBezTo>
                  <a:pt x="7810836" y="2232584"/>
                  <a:pt x="7805002" y="2238810"/>
                  <a:pt x="7796980" y="2238810"/>
                </a:cubicBezTo>
                <a:cubicBezTo>
                  <a:pt x="7791145" y="2238810"/>
                  <a:pt x="7784582" y="2232584"/>
                  <a:pt x="7784582" y="2224022"/>
                </a:cubicBezTo>
                <a:cubicBezTo>
                  <a:pt x="7784582" y="2216239"/>
                  <a:pt x="7791145" y="2209234"/>
                  <a:pt x="7796980" y="2209234"/>
                </a:cubicBezTo>
                <a:close/>
                <a:moveTo>
                  <a:pt x="7726151" y="2209234"/>
                </a:moveTo>
                <a:cubicBezTo>
                  <a:pt x="7734173" y="2209234"/>
                  <a:pt x="7740007" y="2216239"/>
                  <a:pt x="7740007" y="2224022"/>
                </a:cubicBezTo>
                <a:cubicBezTo>
                  <a:pt x="7740007" y="2232584"/>
                  <a:pt x="7734173" y="2238810"/>
                  <a:pt x="7726151" y="2238810"/>
                </a:cubicBezTo>
                <a:cubicBezTo>
                  <a:pt x="7718858" y="2238810"/>
                  <a:pt x="7713753" y="2232584"/>
                  <a:pt x="7713753" y="2224022"/>
                </a:cubicBezTo>
                <a:cubicBezTo>
                  <a:pt x="7713753" y="2216239"/>
                  <a:pt x="7718858" y="2209234"/>
                  <a:pt x="7726151" y="2209234"/>
                </a:cubicBezTo>
                <a:close/>
                <a:moveTo>
                  <a:pt x="7940099" y="2138403"/>
                </a:moveTo>
                <a:cubicBezTo>
                  <a:pt x="7945933" y="2138403"/>
                  <a:pt x="7952497" y="2145408"/>
                  <a:pt x="7952497" y="2153192"/>
                </a:cubicBezTo>
                <a:cubicBezTo>
                  <a:pt x="7952497" y="2161754"/>
                  <a:pt x="7945933" y="2167981"/>
                  <a:pt x="7940099" y="2167981"/>
                </a:cubicBezTo>
                <a:cubicBezTo>
                  <a:pt x="7932077" y="2167981"/>
                  <a:pt x="7926243" y="2161754"/>
                  <a:pt x="7926243" y="2153192"/>
                </a:cubicBezTo>
                <a:cubicBezTo>
                  <a:pt x="7926243" y="2145408"/>
                  <a:pt x="7932077" y="2138403"/>
                  <a:pt x="7940099" y="2138403"/>
                </a:cubicBezTo>
                <a:close/>
                <a:moveTo>
                  <a:pt x="7867811" y="2138403"/>
                </a:moveTo>
                <a:cubicBezTo>
                  <a:pt x="7875833" y="2138403"/>
                  <a:pt x="7881667" y="2145408"/>
                  <a:pt x="7881667" y="2153192"/>
                </a:cubicBezTo>
                <a:cubicBezTo>
                  <a:pt x="7881667" y="2161754"/>
                  <a:pt x="7875833" y="2167981"/>
                  <a:pt x="7867811" y="2167981"/>
                </a:cubicBezTo>
                <a:cubicBezTo>
                  <a:pt x="7861976" y="2167981"/>
                  <a:pt x="7855413" y="2161754"/>
                  <a:pt x="7855413" y="2153192"/>
                </a:cubicBezTo>
                <a:cubicBezTo>
                  <a:pt x="7855413" y="2145408"/>
                  <a:pt x="7861976" y="2138403"/>
                  <a:pt x="7867811" y="2138403"/>
                </a:cubicBezTo>
                <a:close/>
                <a:moveTo>
                  <a:pt x="7796980" y="2138403"/>
                </a:moveTo>
                <a:cubicBezTo>
                  <a:pt x="7805002" y="2138403"/>
                  <a:pt x="7810836" y="2145408"/>
                  <a:pt x="7810836" y="2153192"/>
                </a:cubicBezTo>
                <a:cubicBezTo>
                  <a:pt x="7810836" y="2161754"/>
                  <a:pt x="7805002" y="2167981"/>
                  <a:pt x="7796980" y="2167981"/>
                </a:cubicBezTo>
                <a:cubicBezTo>
                  <a:pt x="7791145" y="2167981"/>
                  <a:pt x="7784582" y="2161754"/>
                  <a:pt x="7784582" y="2153192"/>
                </a:cubicBezTo>
                <a:cubicBezTo>
                  <a:pt x="7784582" y="2145408"/>
                  <a:pt x="7791145" y="2138403"/>
                  <a:pt x="7796980" y="2138403"/>
                </a:cubicBezTo>
                <a:close/>
                <a:moveTo>
                  <a:pt x="7726151" y="2138403"/>
                </a:moveTo>
                <a:cubicBezTo>
                  <a:pt x="7734173" y="2138403"/>
                  <a:pt x="7740007" y="2145408"/>
                  <a:pt x="7740007" y="2153192"/>
                </a:cubicBezTo>
                <a:cubicBezTo>
                  <a:pt x="7740007" y="2161754"/>
                  <a:pt x="7734173" y="2167981"/>
                  <a:pt x="7726151" y="2167981"/>
                </a:cubicBezTo>
                <a:cubicBezTo>
                  <a:pt x="7718858" y="2167981"/>
                  <a:pt x="7713753" y="2161754"/>
                  <a:pt x="7713753" y="2153192"/>
                </a:cubicBezTo>
                <a:cubicBezTo>
                  <a:pt x="7713753" y="2145408"/>
                  <a:pt x="7718858" y="2138403"/>
                  <a:pt x="7726151" y="2138403"/>
                </a:cubicBezTo>
                <a:close/>
                <a:moveTo>
                  <a:pt x="7654337" y="2138403"/>
                </a:moveTo>
                <a:cubicBezTo>
                  <a:pt x="7662899" y="2138403"/>
                  <a:pt x="7669126" y="2145408"/>
                  <a:pt x="7669126" y="2153192"/>
                </a:cubicBezTo>
                <a:cubicBezTo>
                  <a:pt x="7669126" y="2161754"/>
                  <a:pt x="7662899" y="2167981"/>
                  <a:pt x="7654337" y="2167981"/>
                </a:cubicBezTo>
                <a:cubicBezTo>
                  <a:pt x="7645776" y="2167981"/>
                  <a:pt x="7639549" y="2161754"/>
                  <a:pt x="7639549" y="2153192"/>
                </a:cubicBezTo>
                <a:cubicBezTo>
                  <a:pt x="7639549" y="2145408"/>
                  <a:pt x="7645776" y="2138403"/>
                  <a:pt x="7654337" y="2138403"/>
                </a:cubicBezTo>
                <a:close/>
                <a:moveTo>
                  <a:pt x="7867811" y="2067574"/>
                </a:moveTo>
                <a:cubicBezTo>
                  <a:pt x="7875833" y="2067574"/>
                  <a:pt x="7881667" y="2073800"/>
                  <a:pt x="7881667" y="2082362"/>
                </a:cubicBezTo>
                <a:cubicBezTo>
                  <a:pt x="7881667" y="2090924"/>
                  <a:pt x="7875833" y="2097150"/>
                  <a:pt x="7867811" y="2097150"/>
                </a:cubicBezTo>
                <a:cubicBezTo>
                  <a:pt x="7861976" y="2097150"/>
                  <a:pt x="7855413" y="2090924"/>
                  <a:pt x="7855413" y="2082362"/>
                </a:cubicBezTo>
                <a:cubicBezTo>
                  <a:pt x="7855413" y="2073800"/>
                  <a:pt x="7861976" y="2067574"/>
                  <a:pt x="7867811" y="2067574"/>
                </a:cubicBezTo>
                <a:close/>
                <a:moveTo>
                  <a:pt x="7796980" y="2067574"/>
                </a:moveTo>
                <a:cubicBezTo>
                  <a:pt x="7805002" y="2067574"/>
                  <a:pt x="7810836" y="2073800"/>
                  <a:pt x="7810836" y="2082362"/>
                </a:cubicBezTo>
                <a:cubicBezTo>
                  <a:pt x="7810836" y="2090924"/>
                  <a:pt x="7805002" y="2097150"/>
                  <a:pt x="7796980" y="2097150"/>
                </a:cubicBezTo>
                <a:cubicBezTo>
                  <a:pt x="7791145" y="2097150"/>
                  <a:pt x="7784582" y="2090924"/>
                  <a:pt x="7784582" y="2082362"/>
                </a:cubicBezTo>
                <a:cubicBezTo>
                  <a:pt x="7784582" y="2073800"/>
                  <a:pt x="7791145" y="2067574"/>
                  <a:pt x="7796980" y="2067574"/>
                </a:cubicBezTo>
                <a:close/>
                <a:moveTo>
                  <a:pt x="7726151" y="2067574"/>
                </a:moveTo>
                <a:cubicBezTo>
                  <a:pt x="7734173" y="2067574"/>
                  <a:pt x="7740007" y="2073800"/>
                  <a:pt x="7740007" y="2082362"/>
                </a:cubicBezTo>
                <a:cubicBezTo>
                  <a:pt x="7740007" y="2090924"/>
                  <a:pt x="7734173" y="2097150"/>
                  <a:pt x="7726151" y="2097150"/>
                </a:cubicBezTo>
                <a:cubicBezTo>
                  <a:pt x="7718858" y="2097150"/>
                  <a:pt x="7713753" y="2090924"/>
                  <a:pt x="7713753" y="2082362"/>
                </a:cubicBezTo>
                <a:cubicBezTo>
                  <a:pt x="7713753" y="2073800"/>
                  <a:pt x="7718858" y="2067574"/>
                  <a:pt x="7726151" y="2067574"/>
                </a:cubicBezTo>
                <a:close/>
                <a:moveTo>
                  <a:pt x="7654337" y="2067574"/>
                </a:moveTo>
                <a:cubicBezTo>
                  <a:pt x="7662899" y="2067574"/>
                  <a:pt x="7669126" y="2073800"/>
                  <a:pt x="7669126" y="2082362"/>
                </a:cubicBezTo>
                <a:cubicBezTo>
                  <a:pt x="7669126" y="2090924"/>
                  <a:pt x="7662899" y="2097150"/>
                  <a:pt x="7654337" y="2097150"/>
                </a:cubicBezTo>
                <a:cubicBezTo>
                  <a:pt x="7645776" y="2097150"/>
                  <a:pt x="7639549" y="2090924"/>
                  <a:pt x="7639549" y="2082362"/>
                </a:cubicBezTo>
                <a:cubicBezTo>
                  <a:pt x="7639549" y="2073800"/>
                  <a:pt x="7645776" y="2067574"/>
                  <a:pt x="7654337" y="2067574"/>
                </a:cubicBezTo>
                <a:close/>
                <a:moveTo>
                  <a:pt x="7583507" y="2067574"/>
                </a:moveTo>
                <a:cubicBezTo>
                  <a:pt x="7591291" y="2067574"/>
                  <a:pt x="7598297" y="2073800"/>
                  <a:pt x="7598297" y="2082362"/>
                </a:cubicBezTo>
                <a:cubicBezTo>
                  <a:pt x="7598297" y="2090924"/>
                  <a:pt x="7591291" y="2097150"/>
                  <a:pt x="7583507" y="2097150"/>
                </a:cubicBezTo>
                <a:cubicBezTo>
                  <a:pt x="7574945" y="2097150"/>
                  <a:pt x="7568718" y="2090924"/>
                  <a:pt x="7568718" y="2082362"/>
                </a:cubicBezTo>
                <a:cubicBezTo>
                  <a:pt x="7568718" y="2073800"/>
                  <a:pt x="7574945" y="2067574"/>
                  <a:pt x="7583507" y="2067574"/>
                </a:cubicBezTo>
                <a:close/>
                <a:moveTo>
                  <a:pt x="7867811" y="1996742"/>
                </a:moveTo>
                <a:cubicBezTo>
                  <a:pt x="7875833" y="1996742"/>
                  <a:pt x="7881667" y="2002576"/>
                  <a:pt x="7881667" y="2010598"/>
                </a:cubicBezTo>
                <a:cubicBezTo>
                  <a:pt x="7881667" y="2017891"/>
                  <a:pt x="7875833" y="2022995"/>
                  <a:pt x="7867811" y="2022995"/>
                </a:cubicBezTo>
                <a:cubicBezTo>
                  <a:pt x="7861976" y="2022995"/>
                  <a:pt x="7855413" y="2017891"/>
                  <a:pt x="7855413" y="2010598"/>
                </a:cubicBezTo>
                <a:cubicBezTo>
                  <a:pt x="7855413" y="2002576"/>
                  <a:pt x="7861976" y="1996742"/>
                  <a:pt x="7867811" y="1996742"/>
                </a:cubicBezTo>
                <a:close/>
                <a:moveTo>
                  <a:pt x="7796980" y="1996742"/>
                </a:moveTo>
                <a:cubicBezTo>
                  <a:pt x="7805002" y="1996742"/>
                  <a:pt x="7810836" y="2002576"/>
                  <a:pt x="7810836" y="2010598"/>
                </a:cubicBezTo>
                <a:cubicBezTo>
                  <a:pt x="7810836" y="2017891"/>
                  <a:pt x="7805002" y="2022995"/>
                  <a:pt x="7796980" y="2022995"/>
                </a:cubicBezTo>
                <a:cubicBezTo>
                  <a:pt x="7791145" y="2022995"/>
                  <a:pt x="7784582" y="2017891"/>
                  <a:pt x="7784582" y="2010598"/>
                </a:cubicBezTo>
                <a:cubicBezTo>
                  <a:pt x="7784582" y="2002576"/>
                  <a:pt x="7791145" y="1996742"/>
                  <a:pt x="7796980" y="1996742"/>
                </a:cubicBezTo>
                <a:close/>
                <a:moveTo>
                  <a:pt x="7726151" y="1996742"/>
                </a:moveTo>
                <a:cubicBezTo>
                  <a:pt x="7734173" y="1996742"/>
                  <a:pt x="7740007" y="2002576"/>
                  <a:pt x="7740007" y="2010598"/>
                </a:cubicBezTo>
                <a:cubicBezTo>
                  <a:pt x="7740007" y="2017891"/>
                  <a:pt x="7734173" y="2022995"/>
                  <a:pt x="7726151" y="2022995"/>
                </a:cubicBezTo>
                <a:cubicBezTo>
                  <a:pt x="7718858" y="2022995"/>
                  <a:pt x="7713753" y="2017891"/>
                  <a:pt x="7713753" y="2010598"/>
                </a:cubicBezTo>
                <a:cubicBezTo>
                  <a:pt x="7713753" y="2002576"/>
                  <a:pt x="7718858" y="1996742"/>
                  <a:pt x="7726151" y="1996742"/>
                </a:cubicBezTo>
                <a:close/>
                <a:moveTo>
                  <a:pt x="7654337" y="1996742"/>
                </a:moveTo>
                <a:cubicBezTo>
                  <a:pt x="7662899" y="1996742"/>
                  <a:pt x="7669126" y="2002576"/>
                  <a:pt x="7669126" y="2010598"/>
                </a:cubicBezTo>
                <a:cubicBezTo>
                  <a:pt x="7669126" y="2017891"/>
                  <a:pt x="7662899" y="2022995"/>
                  <a:pt x="7654337" y="2022995"/>
                </a:cubicBezTo>
                <a:cubicBezTo>
                  <a:pt x="7645776" y="2022995"/>
                  <a:pt x="7639549" y="2017891"/>
                  <a:pt x="7639549" y="2010598"/>
                </a:cubicBezTo>
                <a:cubicBezTo>
                  <a:pt x="7639549" y="2002576"/>
                  <a:pt x="7645776" y="1996742"/>
                  <a:pt x="7654337" y="1996742"/>
                </a:cubicBezTo>
                <a:close/>
                <a:moveTo>
                  <a:pt x="7583507" y="1996742"/>
                </a:moveTo>
                <a:cubicBezTo>
                  <a:pt x="7591291" y="1996742"/>
                  <a:pt x="7598297" y="2002576"/>
                  <a:pt x="7598297" y="2010598"/>
                </a:cubicBezTo>
                <a:cubicBezTo>
                  <a:pt x="7598297" y="2017891"/>
                  <a:pt x="7591291" y="2022995"/>
                  <a:pt x="7583507" y="2022995"/>
                </a:cubicBezTo>
                <a:cubicBezTo>
                  <a:pt x="7574945" y="2022995"/>
                  <a:pt x="7568718" y="2017891"/>
                  <a:pt x="7568718" y="2010598"/>
                </a:cubicBezTo>
                <a:cubicBezTo>
                  <a:pt x="7568718" y="2002576"/>
                  <a:pt x="7574945" y="1996742"/>
                  <a:pt x="7583507" y="1996742"/>
                </a:cubicBezTo>
                <a:close/>
                <a:moveTo>
                  <a:pt x="7512677" y="1996742"/>
                </a:moveTo>
                <a:cubicBezTo>
                  <a:pt x="7520461" y="1996742"/>
                  <a:pt x="7527466" y="2002576"/>
                  <a:pt x="7527466" y="2010598"/>
                </a:cubicBezTo>
                <a:cubicBezTo>
                  <a:pt x="7527466" y="2017891"/>
                  <a:pt x="7520461" y="2022995"/>
                  <a:pt x="7512677" y="2022995"/>
                </a:cubicBezTo>
                <a:cubicBezTo>
                  <a:pt x="7504115" y="2022995"/>
                  <a:pt x="7497889" y="2017891"/>
                  <a:pt x="7497889" y="2010598"/>
                </a:cubicBezTo>
                <a:cubicBezTo>
                  <a:pt x="7497889" y="2002576"/>
                  <a:pt x="7504115" y="1996742"/>
                  <a:pt x="7512677" y="1996742"/>
                </a:cubicBezTo>
                <a:close/>
                <a:moveTo>
                  <a:pt x="7796980" y="1925913"/>
                </a:moveTo>
                <a:cubicBezTo>
                  <a:pt x="7805002" y="1925913"/>
                  <a:pt x="7810836" y="1931747"/>
                  <a:pt x="7810836" y="1939769"/>
                </a:cubicBezTo>
                <a:cubicBezTo>
                  <a:pt x="7810836" y="1945603"/>
                  <a:pt x="7805002" y="1952166"/>
                  <a:pt x="7796980" y="1952166"/>
                </a:cubicBezTo>
                <a:cubicBezTo>
                  <a:pt x="7791145" y="1952166"/>
                  <a:pt x="7784582" y="1945603"/>
                  <a:pt x="7784582" y="1939769"/>
                </a:cubicBezTo>
                <a:cubicBezTo>
                  <a:pt x="7784582" y="1931747"/>
                  <a:pt x="7791145" y="1925913"/>
                  <a:pt x="7796980" y="1925913"/>
                </a:cubicBezTo>
                <a:close/>
                <a:moveTo>
                  <a:pt x="7726151" y="1925913"/>
                </a:moveTo>
                <a:cubicBezTo>
                  <a:pt x="7734173" y="1925913"/>
                  <a:pt x="7740007" y="1931747"/>
                  <a:pt x="7740007" y="1939769"/>
                </a:cubicBezTo>
                <a:cubicBezTo>
                  <a:pt x="7740007" y="1945603"/>
                  <a:pt x="7734173" y="1952166"/>
                  <a:pt x="7726151" y="1952166"/>
                </a:cubicBezTo>
                <a:cubicBezTo>
                  <a:pt x="7718858" y="1952166"/>
                  <a:pt x="7713753" y="1945603"/>
                  <a:pt x="7713753" y="1939769"/>
                </a:cubicBezTo>
                <a:cubicBezTo>
                  <a:pt x="7713753" y="1931747"/>
                  <a:pt x="7718858" y="1925913"/>
                  <a:pt x="7726151" y="1925913"/>
                </a:cubicBezTo>
                <a:close/>
                <a:moveTo>
                  <a:pt x="7654337" y="1925913"/>
                </a:moveTo>
                <a:cubicBezTo>
                  <a:pt x="7662899" y="1925913"/>
                  <a:pt x="7669126" y="1931747"/>
                  <a:pt x="7669126" y="1939769"/>
                </a:cubicBezTo>
                <a:cubicBezTo>
                  <a:pt x="7669126" y="1945603"/>
                  <a:pt x="7662899" y="1952166"/>
                  <a:pt x="7654337" y="1952166"/>
                </a:cubicBezTo>
                <a:cubicBezTo>
                  <a:pt x="7645776" y="1952166"/>
                  <a:pt x="7639549" y="1945603"/>
                  <a:pt x="7639549" y="1939769"/>
                </a:cubicBezTo>
                <a:cubicBezTo>
                  <a:pt x="7639549" y="1931747"/>
                  <a:pt x="7645776" y="1925913"/>
                  <a:pt x="7654337" y="1925913"/>
                </a:cubicBezTo>
                <a:close/>
                <a:moveTo>
                  <a:pt x="7583507" y="1925913"/>
                </a:moveTo>
                <a:cubicBezTo>
                  <a:pt x="7591291" y="1925913"/>
                  <a:pt x="7598297" y="1931747"/>
                  <a:pt x="7598297" y="1939769"/>
                </a:cubicBezTo>
                <a:cubicBezTo>
                  <a:pt x="7598297" y="1945603"/>
                  <a:pt x="7591291" y="1952166"/>
                  <a:pt x="7583507" y="1952166"/>
                </a:cubicBezTo>
                <a:cubicBezTo>
                  <a:pt x="7574945" y="1952166"/>
                  <a:pt x="7568718" y="1945603"/>
                  <a:pt x="7568718" y="1939769"/>
                </a:cubicBezTo>
                <a:cubicBezTo>
                  <a:pt x="7568718" y="1931747"/>
                  <a:pt x="7574945" y="1925913"/>
                  <a:pt x="7583507" y="1925913"/>
                </a:cubicBezTo>
                <a:close/>
                <a:moveTo>
                  <a:pt x="7512677" y="1925913"/>
                </a:moveTo>
                <a:cubicBezTo>
                  <a:pt x="7520461" y="1925913"/>
                  <a:pt x="7527466" y="1931747"/>
                  <a:pt x="7527466" y="1939769"/>
                </a:cubicBezTo>
                <a:cubicBezTo>
                  <a:pt x="7527466" y="1945603"/>
                  <a:pt x="7520461" y="1952166"/>
                  <a:pt x="7512677" y="1952166"/>
                </a:cubicBezTo>
                <a:cubicBezTo>
                  <a:pt x="7504115" y="1952166"/>
                  <a:pt x="7497889" y="1945603"/>
                  <a:pt x="7497889" y="1939769"/>
                </a:cubicBezTo>
                <a:cubicBezTo>
                  <a:pt x="7497889" y="1931747"/>
                  <a:pt x="7504115" y="1925913"/>
                  <a:pt x="7512677" y="1925913"/>
                </a:cubicBezTo>
                <a:close/>
                <a:moveTo>
                  <a:pt x="7440913" y="1925913"/>
                </a:moveTo>
                <a:cubicBezTo>
                  <a:pt x="7448206" y="1925913"/>
                  <a:pt x="7453310" y="1931747"/>
                  <a:pt x="7453310" y="1939769"/>
                </a:cubicBezTo>
                <a:cubicBezTo>
                  <a:pt x="7453310" y="1945603"/>
                  <a:pt x="7448206" y="1952166"/>
                  <a:pt x="7440913" y="1952166"/>
                </a:cubicBezTo>
                <a:cubicBezTo>
                  <a:pt x="7432891" y="1952166"/>
                  <a:pt x="7427057" y="1945603"/>
                  <a:pt x="7427057" y="1939769"/>
                </a:cubicBezTo>
                <a:cubicBezTo>
                  <a:pt x="7427057" y="1931747"/>
                  <a:pt x="7432891" y="1925913"/>
                  <a:pt x="7440913" y="1925913"/>
                </a:cubicBezTo>
                <a:close/>
                <a:moveTo>
                  <a:pt x="7726151" y="1855081"/>
                </a:moveTo>
                <a:cubicBezTo>
                  <a:pt x="7734173" y="1855081"/>
                  <a:pt x="7740007" y="1860915"/>
                  <a:pt x="7740007" y="1868937"/>
                </a:cubicBezTo>
                <a:cubicBezTo>
                  <a:pt x="7740007" y="1874771"/>
                  <a:pt x="7734173" y="1881334"/>
                  <a:pt x="7726151" y="1881334"/>
                </a:cubicBezTo>
                <a:cubicBezTo>
                  <a:pt x="7718858" y="1881334"/>
                  <a:pt x="7713753" y="1874771"/>
                  <a:pt x="7713753" y="1868937"/>
                </a:cubicBezTo>
                <a:cubicBezTo>
                  <a:pt x="7713753" y="1860915"/>
                  <a:pt x="7718858" y="1855081"/>
                  <a:pt x="7726151" y="1855081"/>
                </a:cubicBezTo>
                <a:close/>
                <a:moveTo>
                  <a:pt x="7654337" y="1855081"/>
                </a:moveTo>
                <a:cubicBezTo>
                  <a:pt x="7662899" y="1855081"/>
                  <a:pt x="7669126" y="1860915"/>
                  <a:pt x="7669126" y="1868937"/>
                </a:cubicBezTo>
                <a:cubicBezTo>
                  <a:pt x="7669126" y="1874771"/>
                  <a:pt x="7662899" y="1881334"/>
                  <a:pt x="7654337" y="1881334"/>
                </a:cubicBezTo>
                <a:cubicBezTo>
                  <a:pt x="7645776" y="1881334"/>
                  <a:pt x="7639549" y="1874771"/>
                  <a:pt x="7639549" y="1868937"/>
                </a:cubicBezTo>
                <a:cubicBezTo>
                  <a:pt x="7639549" y="1860915"/>
                  <a:pt x="7645776" y="1855081"/>
                  <a:pt x="7654337" y="1855081"/>
                </a:cubicBezTo>
                <a:close/>
                <a:moveTo>
                  <a:pt x="7583507" y="1855081"/>
                </a:moveTo>
                <a:cubicBezTo>
                  <a:pt x="7591291" y="1855081"/>
                  <a:pt x="7598297" y="1860915"/>
                  <a:pt x="7598297" y="1868937"/>
                </a:cubicBezTo>
                <a:cubicBezTo>
                  <a:pt x="7598297" y="1874771"/>
                  <a:pt x="7591291" y="1881334"/>
                  <a:pt x="7583507" y="1881334"/>
                </a:cubicBezTo>
                <a:cubicBezTo>
                  <a:pt x="7574945" y="1881334"/>
                  <a:pt x="7568718" y="1874771"/>
                  <a:pt x="7568718" y="1868937"/>
                </a:cubicBezTo>
                <a:cubicBezTo>
                  <a:pt x="7568718" y="1860915"/>
                  <a:pt x="7574945" y="1855081"/>
                  <a:pt x="7583507" y="1855081"/>
                </a:cubicBezTo>
                <a:close/>
                <a:moveTo>
                  <a:pt x="7512677" y="1855081"/>
                </a:moveTo>
                <a:cubicBezTo>
                  <a:pt x="7520461" y="1855081"/>
                  <a:pt x="7527466" y="1860915"/>
                  <a:pt x="7527466" y="1868937"/>
                </a:cubicBezTo>
                <a:cubicBezTo>
                  <a:pt x="7527466" y="1874771"/>
                  <a:pt x="7520461" y="1881334"/>
                  <a:pt x="7512677" y="1881334"/>
                </a:cubicBezTo>
                <a:cubicBezTo>
                  <a:pt x="7504115" y="1881334"/>
                  <a:pt x="7497889" y="1874771"/>
                  <a:pt x="7497889" y="1868937"/>
                </a:cubicBezTo>
                <a:cubicBezTo>
                  <a:pt x="7497889" y="1860915"/>
                  <a:pt x="7504115" y="1855081"/>
                  <a:pt x="7512677" y="1855081"/>
                </a:cubicBezTo>
                <a:close/>
                <a:moveTo>
                  <a:pt x="7440913" y="1855081"/>
                </a:moveTo>
                <a:cubicBezTo>
                  <a:pt x="7446747" y="1855081"/>
                  <a:pt x="7453310" y="1860915"/>
                  <a:pt x="7453310" y="1868937"/>
                </a:cubicBezTo>
                <a:cubicBezTo>
                  <a:pt x="7453310" y="1874771"/>
                  <a:pt x="7446747" y="1881334"/>
                  <a:pt x="7440913" y="1881334"/>
                </a:cubicBezTo>
                <a:cubicBezTo>
                  <a:pt x="7432891" y="1881334"/>
                  <a:pt x="7427057" y="1874771"/>
                  <a:pt x="7427057" y="1868937"/>
                </a:cubicBezTo>
                <a:cubicBezTo>
                  <a:pt x="7427057" y="1860915"/>
                  <a:pt x="7432891" y="1855081"/>
                  <a:pt x="7440913" y="1855081"/>
                </a:cubicBezTo>
                <a:close/>
                <a:moveTo>
                  <a:pt x="7654337" y="1780878"/>
                </a:moveTo>
                <a:cubicBezTo>
                  <a:pt x="7662899" y="1780878"/>
                  <a:pt x="7669126" y="1787441"/>
                  <a:pt x="7669126" y="1793275"/>
                </a:cubicBezTo>
                <a:cubicBezTo>
                  <a:pt x="7669126" y="1801297"/>
                  <a:pt x="7662899" y="1807131"/>
                  <a:pt x="7654337" y="1807131"/>
                </a:cubicBezTo>
                <a:cubicBezTo>
                  <a:pt x="7645776" y="1807131"/>
                  <a:pt x="7639549" y="1801297"/>
                  <a:pt x="7639549" y="1793275"/>
                </a:cubicBezTo>
                <a:cubicBezTo>
                  <a:pt x="7639549" y="1787441"/>
                  <a:pt x="7645776" y="1780878"/>
                  <a:pt x="7654337" y="1780878"/>
                </a:cubicBezTo>
                <a:close/>
                <a:moveTo>
                  <a:pt x="7583507" y="1780878"/>
                </a:moveTo>
                <a:cubicBezTo>
                  <a:pt x="7591291" y="1780878"/>
                  <a:pt x="7598297" y="1787441"/>
                  <a:pt x="7598297" y="1793275"/>
                </a:cubicBezTo>
                <a:cubicBezTo>
                  <a:pt x="7598297" y="1801297"/>
                  <a:pt x="7591291" y="1807131"/>
                  <a:pt x="7583507" y="1807131"/>
                </a:cubicBezTo>
                <a:cubicBezTo>
                  <a:pt x="7574945" y="1807131"/>
                  <a:pt x="7568718" y="1801297"/>
                  <a:pt x="7568718" y="1793275"/>
                </a:cubicBezTo>
                <a:cubicBezTo>
                  <a:pt x="7568718" y="1787441"/>
                  <a:pt x="7574945" y="1780878"/>
                  <a:pt x="7583507" y="1780878"/>
                </a:cubicBezTo>
                <a:close/>
                <a:moveTo>
                  <a:pt x="7511745" y="1780878"/>
                </a:moveTo>
                <a:cubicBezTo>
                  <a:pt x="7519038" y="1780878"/>
                  <a:pt x="7524143" y="1787441"/>
                  <a:pt x="7524143" y="1793275"/>
                </a:cubicBezTo>
                <a:cubicBezTo>
                  <a:pt x="7524143" y="1801297"/>
                  <a:pt x="7519038" y="1807131"/>
                  <a:pt x="7511745" y="1807131"/>
                </a:cubicBezTo>
                <a:cubicBezTo>
                  <a:pt x="7503723" y="1807131"/>
                  <a:pt x="7497889" y="1801297"/>
                  <a:pt x="7497889" y="1793275"/>
                </a:cubicBezTo>
                <a:cubicBezTo>
                  <a:pt x="7497889" y="1787441"/>
                  <a:pt x="7503723" y="1780878"/>
                  <a:pt x="7511745" y="1780878"/>
                </a:cubicBezTo>
                <a:close/>
                <a:moveTo>
                  <a:pt x="7440913" y="1780878"/>
                </a:moveTo>
                <a:cubicBezTo>
                  <a:pt x="7446747" y="1780878"/>
                  <a:pt x="7453310" y="1787441"/>
                  <a:pt x="7453310" y="1793275"/>
                </a:cubicBezTo>
                <a:cubicBezTo>
                  <a:pt x="7453310" y="1801297"/>
                  <a:pt x="7446747" y="1807131"/>
                  <a:pt x="7440913" y="1807131"/>
                </a:cubicBezTo>
                <a:cubicBezTo>
                  <a:pt x="7432891" y="1807131"/>
                  <a:pt x="7427057" y="1801297"/>
                  <a:pt x="7427057" y="1793275"/>
                </a:cubicBezTo>
                <a:cubicBezTo>
                  <a:pt x="7427057" y="1787441"/>
                  <a:pt x="7432891" y="1780878"/>
                  <a:pt x="7440913" y="1780878"/>
                </a:cubicBezTo>
                <a:close/>
                <a:moveTo>
                  <a:pt x="7370084" y="1780878"/>
                </a:moveTo>
                <a:cubicBezTo>
                  <a:pt x="7376647" y="1780878"/>
                  <a:pt x="7382481" y="1787441"/>
                  <a:pt x="7382481" y="1793275"/>
                </a:cubicBezTo>
                <a:cubicBezTo>
                  <a:pt x="7382481" y="1801297"/>
                  <a:pt x="7376647" y="1807131"/>
                  <a:pt x="7370084" y="1807131"/>
                </a:cubicBezTo>
                <a:cubicBezTo>
                  <a:pt x="7362791" y="1807131"/>
                  <a:pt x="7356228" y="1801297"/>
                  <a:pt x="7356228" y="1793275"/>
                </a:cubicBezTo>
                <a:cubicBezTo>
                  <a:pt x="7356228" y="1787441"/>
                  <a:pt x="7362791" y="1780878"/>
                  <a:pt x="7370084" y="1780878"/>
                </a:cubicBezTo>
                <a:close/>
                <a:moveTo>
                  <a:pt x="7294422" y="1780878"/>
                </a:moveTo>
                <a:cubicBezTo>
                  <a:pt x="7302444" y="1780878"/>
                  <a:pt x="7308278" y="1787441"/>
                  <a:pt x="7308278" y="1793275"/>
                </a:cubicBezTo>
                <a:cubicBezTo>
                  <a:pt x="7308278" y="1801297"/>
                  <a:pt x="7302444" y="1807131"/>
                  <a:pt x="7294422" y="1807131"/>
                </a:cubicBezTo>
                <a:cubicBezTo>
                  <a:pt x="7288588" y="1807131"/>
                  <a:pt x="7282025" y="1801297"/>
                  <a:pt x="7282025" y="1793275"/>
                </a:cubicBezTo>
                <a:cubicBezTo>
                  <a:pt x="7282025" y="1787441"/>
                  <a:pt x="7288588" y="1780878"/>
                  <a:pt x="7294422" y="1780878"/>
                </a:cubicBezTo>
                <a:close/>
                <a:moveTo>
                  <a:pt x="7654337" y="1710049"/>
                </a:moveTo>
                <a:cubicBezTo>
                  <a:pt x="7662899" y="1710049"/>
                  <a:pt x="7669126" y="1716612"/>
                  <a:pt x="7669126" y="1722446"/>
                </a:cubicBezTo>
                <a:cubicBezTo>
                  <a:pt x="7669126" y="1730468"/>
                  <a:pt x="7662899" y="1736302"/>
                  <a:pt x="7654337" y="1736302"/>
                </a:cubicBezTo>
                <a:cubicBezTo>
                  <a:pt x="7645776" y="1736302"/>
                  <a:pt x="7639549" y="1730468"/>
                  <a:pt x="7639549" y="1722446"/>
                </a:cubicBezTo>
                <a:cubicBezTo>
                  <a:pt x="7639549" y="1716612"/>
                  <a:pt x="7645776" y="1710049"/>
                  <a:pt x="7654337" y="1710049"/>
                </a:cubicBezTo>
                <a:close/>
                <a:moveTo>
                  <a:pt x="7583507" y="1710049"/>
                </a:moveTo>
                <a:cubicBezTo>
                  <a:pt x="7591291" y="1710049"/>
                  <a:pt x="7598297" y="1716612"/>
                  <a:pt x="7598297" y="1722446"/>
                </a:cubicBezTo>
                <a:cubicBezTo>
                  <a:pt x="7598297" y="1730468"/>
                  <a:pt x="7591291" y="1736302"/>
                  <a:pt x="7583507" y="1736302"/>
                </a:cubicBezTo>
                <a:cubicBezTo>
                  <a:pt x="7574945" y="1736302"/>
                  <a:pt x="7568718" y="1730468"/>
                  <a:pt x="7568718" y="1722446"/>
                </a:cubicBezTo>
                <a:cubicBezTo>
                  <a:pt x="7568718" y="1716612"/>
                  <a:pt x="7574945" y="1710049"/>
                  <a:pt x="7583507" y="1710049"/>
                </a:cubicBezTo>
                <a:close/>
                <a:moveTo>
                  <a:pt x="7511745" y="1710049"/>
                </a:moveTo>
                <a:cubicBezTo>
                  <a:pt x="7519038" y="1710049"/>
                  <a:pt x="7524143" y="1716612"/>
                  <a:pt x="7524143" y="1722446"/>
                </a:cubicBezTo>
                <a:cubicBezTo>
                  <a:pt x="7524143" y="1730468"/>
                  <a:pt x="7519038" y="1736302"/>
                  <a:pt x="7511745" y="1736302"/>
                </a:cubicBezTo>
                <a:cubicBezTo>
                  <a:pt x="7503723" y="1736302"/>
                  <a:pt x="7497889" y="1730468"/>
                  <a:pt x="7497889" y="1722446"/>
                </a:cubicBezTo>
                <a:cubicBezTo>
                  <a:pt x="7497889" y="1716612"/>
                  <a:pt x="7503723" y="1710049"/>
                  <a:pt x="7511745" y="1710049"/>
                </a:cubicBezTo>
                <a:close/>
                <a:moveTo>
                  <a:pt x="7440913" y="1710049"/>
                </a:moveTo>
                <a:cubicBezTo>
                  <a:pt x="7446747" y="1710049"/>
                  <a:pt x="7453310" y="1716612"/>
                  <a:pt x="7453310" y="1722446"/>
                </a:cubicBezTo>
                <a:cubicBezTo>
                  <a:pt x="7453310" y="1730468"/>
                  <a:pt x="7446747" y="1736302"/>
                  <a:pt x="7440913" y="1736302"/>
                </a:cubicBezTo>
                <a:cubicBezTo>
                  <a:pt x="7432891" y="1736302"/>
                  <a:pt x="7427057" y="1730468"/>
                  <a:pt x="7427057" y="1722446"/>
                </a:cubicBezTo>
                <a:cubicBezTo>
                  <a:pt x="7427057" y="1716612"/>
                  <a:pt x="7432891" y="1710049"/>
                  <a:pt x="7440913" y="1710049"/>
                </a:cubicBezTo>
                <a:close/>
                <a:moveTo>
                  <a:pt x="7370084" y="1710049"/>
                </a:moveTo>
                <a:cubicBezTo>
                  <a:pt x="7376647" y="1710049"/>
                  <a:pt x="7382481" y="1716612"/>
                  <a:pt x="7382481" y="1722446"/>
                </a:cubicBezTo>
                <a:cubicBezTo>
                  <a:pt x="7382481" y="1730468"/>
                  <a:pt x="7376647" y="1736302"/>
                  <a:pt x="7370084" y="1736302"/>
                </a:cubicBezTo>
                <a:cubicBezTo>
                  <a:pt x="7362791" y="1736302"/>
                  <a:pt x="7356228" y="1730468"/>
                  <a:pt x="7356228" y="1722446"/>
                </a:cubicBezTo>
                <a:cubicBezTo>
                  <a:pt x="7356228" y="1716612"/>
                  <a:pt x="7362791" y="1710049"/>
                  <a:pt x="7370084" y="1710049"/>
                </a:cubicBezTo>
                <a:close/>
                <a:moveTo>
                  <a:pt x="7294422" y="1710049"/>
                </a:moveTo>
                <a:cubicBezTo>
                  <a:pt x="7302444" y="1710049"/>
                  <a:pt x="7308278" y="1716612"/>
                  <a:pt x="7308278" y="1722446"/>
                </a:cubicBezTo>
                <a:cubicBezTo>
                  <a:pt x="7308278" y="1730468"/>
                  <a:pt x="7302444" y="1736302"/>
                  <a:pt x="7294422" y="1736302"/>
                </a:cubicBezTo>
                <a:cubicBezTo>
                  <a:pt x="7288588" y="1736302"/>
                  <a:pt x="7282025" y="1730468"/>
                  <a:pt x="7282025" y="1722446"/>
                </a:cubicBezTo>
                <a:cubicBezTo>
                  <a:pt x="7282025" y="1716612"/>
                  <a:pt x="7288588" y="1710049"/>
                  <a:pt x="7294422" y="1710049"/>
                </a:cubicBezTo>
                <a:close/>
                <a:moveTo>
                  <a:pt x="7223591" y="1710049"/>
                </a:moveTo>
                <a:cubicBezTo>
                  <a:pt x="7231613" y="1710049"/>
                  <a:pt x="7237447" y="1716612"/>
                  <a:pt x="7237447" y="1722446"/>
                </a:cubicBezTo>
                <a:cubicBezTo>
                  <a:pt x="7237447" y="1730468"/>
                  <a:pt x="7231613" y="1736302"/>
                  <a:pt x="7223591" y="1736302"/>
                </a:cubicBezTo>
                <a:cubicBezTo>
                  <a:pt x="7217757" y="1736302"/>
                  <a:pt x="7211194" y="1730468"/>
                  <a:pt x="7211194" y="1722446"/>
                </a:cubicBezTo>
                <a:cubicBezTo>
                  <a:pt x="7211194" y="1716612"/>
                  <a:pt x="7217757" y="1710049"/>
                  <a:pt x="7223591" y="1710049"/>
                </a:cubicBezTo>
                <a:close/>
                <a:moveTo>
                  <a:pt x="7583507" y="1639217"/>
                </a:moveTo>
                <a:cubicBezTo>
                  <a:pt x="7591291" y="1639217"/>
                  <a:pt x="7598297" y="1643592"/>
                  <a:pt x="7598297" y="1651614"/>
                </a:cubicBezTo>
                <a:cubicBezTo>
                  <a:pt x="7598297" y="1659636"/>
                  <a:pt x="7591291" y="1665470"/>
                  <a:pt x="7583507" y="1665470"/>
                </a:cubicBezTo>
                <a:cubicBezTo>
                  <a:pt x="7574945" y="1665470"/>
                  <a:pt x="7568718" y="1659636"/>
                  <a:pt x="7568718" y="1651614"/>
                </a:cubicBezTo>
                <a:cubicBezTo>
                  <a:pt x="7568718" y="1643592"/>
                  <a:pt x="7574945" y="1639217"/>
                  <a:pt x="7583507" y="1639217"/>
                </a:cubicBezTo>
                <a:close/>
                <a:moveTo>
                  <a:pt x="7511745" y="1639217"/>
                </a:moveTo>
                <a:cubicBezTo>
                  <a:pt x="7519038" y="1639217"/>
                  <a:pt x="7524143" y="1643592"/>
                  <a:pt x="7524143" y="1651614"/>
                </a:cubicBezTo>
                <a:cubicBezTo>
                  <a:pt x="7524143" y="1659636"/>
                  <a:pt x="7519038" y="1665470"/>
                  <a:pt x="7511745" y="1665470"/>
                </a:cubicBezTo>
                <a:cubicBezTo>
                  <a:pt x="7503723" y="1665470"/>
                  <a:pt x="7497889" y="1659636"/>
                  <a:pt x="7497889" y="1651614"/>
                </a:cubicBezTo>
                <a:cubicBezTo>
                  <a:pt x="7497889" y="1643592"/>
                  <a:pt x="7503723" y="1639217"/>
                  <a:pt x="7511745" y="1639217"/>
                </a:cubicBezTo>
                <a:close/>
                <a:moveTo>
                  <a:pt x="7440913" y="1639217"/>
                </a:moveTo>
                <a:cubicBezTo>
                  <a:pt x="7446747" y="1639217"/>
                  <a:pt x="7453310" y="1643592"/>
                  <a:pt x="7453310" y="1651614"/>
                </a:cubicBezTo>
                <a:cubicBezTo>
                  <a:pt x="7453310" y="1659636"/>
                  <a:pt x="7446747" y="1665470"/>
                  <a:pt x="7440913" y="1665470"/>
                </a:cubicBezTo>
                <a:cubicBezTo>
                  <a:pt x="7432891" y="1665470"/>
                  <a:pt x="7427057" y="1659636"/>
                  <a:pt x="7427057" y="1651614"/>
                </a:cubicBezTo>
                <a:cubicBezTo>
                  <a:pt x="7427057" y="1643592"/>
                  <a:pt x="7432891" y="1639217"/>
                  <a:pt x="7440913" y="1639217"/>
                </a:cubicBezTo>
                <a:close/>
                <a:moveTo>
                  <a:pt x="7370084" y="1639217"/>
                </a:moveTo>
                <a:cubicBezTo>
                  <a:pt x="7376647" y="1639217"/>
                  <a:pt x="7382481" y="1643592"/>
                  <a:pt x="7382481" y="1651614"/>
                </a:cubicBezTo>
                <a:cubicBezTo>
                  <a:pt x="7382481" y="1659636"/>
                  <a:pt x="7376647" y="1665470"/>
                  <a:pt x="7370084" y="1665470"/>
                </a:cubicBezTo>
                <a:cubicBezTo>
                  <a:pt x="7362791" y="1665470"/>
                  <a:pt x="7356228" y="1659636"/>
                  <a:pt x="7356228" y="1651614"/>
                </a:cubicBezTo>
                <a:cubicBezTo>
                  <a:pt x="7356228" y="1643592"/>
                  <a:pt x="7362791" y="1639217"/>
                  <a:pt x="7370084" y="1639217"/>
                </a:cubicBezTo>
                <a:close/>
                <a:moveTo>
                  <a:pt x="7294422" y="1639217"/>
                </a:moveTo>
                <a:cubicBezTo>
                  <a:pt x="7302444" y="1639217"/>
                  <a:pt x="7308278" y="1643592"/>
                  <a:pt x="7308278" y="1651614"/>
                </a:cubicBezTo>
                <a:cubicBezTo>
                  <a:pt x="7308278" y="1659636"/>
                  <a:pt x="7302444" y="1665470"/>
                  <a:pt x="7294422" y="1665470"/>
                </a:cubicBezTo>
                <a:cubicBezTo>
                  <a:pt x="7288588" y="1665470"/>
                  <a:pt x="7282025" y="1659636"/>
                  <a:pt x="7282025" y="1651614"/>
                </a:cubicBezTo>
                <a:cubicBezTo>
                  <a:pt x="7282025" y="1643592"/>
                  <a:pt x="7288588" y="1639217"/>
                  <a:pt x="7294422" y="1639217"/>
                </a:cubicBezTo>
                <a:close/>
                <a:moveTo>
                  <a:pt x="7223591" y="1639217"/>
                </a:moveTo>
                <a:cubicBezTo>
                  <a:pt x="7231613" y="1639217"/>
                  <a:pt x="7237447" y="1643592"/>
                  <a:pt x="7237447" y="1651614"/>
                </a:cubicBezTo>
                <a:cubicBezTo>
                  <a:pt x="7237447" y="1659636"/>
                  <a:pt x="7231613" y="1665470"/>
                  <a:pt x="7223591" y="1665470"/>
                </a:cubicBezTo>
                <a:cubicBezTo>
                  <a:pt x="7217757" y="1665470"/>
                  <a:pt x="7211194" y="1659636"/>
                  <a:pt x="7211194" y="1651614"/>
                </a:cubicBezTo>
                <a:cubicBezTo>
                  <a:pt x="7211194" y="1643592"/>
                  <a:pt x="7217757" y="1639217"/>
                  <a:pt x="7223591" y="1639217"/>
                </a:cubicBezTo>
                <a:close/>
                <a:moveTo>
                  <a:pt x="7152761" y="1639217"/>
                </a:moveTo>
                <a:cubicBezTo>
                  <a:pt x="7160783" y="1639217"/>
                  <a:pt x="7166617" y="1643592"/>
                  <a:pt x="7166617" y="1651614"/>
                </a:cubicBezTo>
                <a:cubicBezTo>
                  <a:pt x="7166617" y="1659636"/>
                  <a:pt x="7160783" y="1665470"/>
                  <a:pt x="7152761" y="1665470"/>
                </a:cubicBezTo>
                <a:cubicBezTo>
                  <a:pt x="7144739" y="1665470"/>
                  <a:pt x="7140364" y="1659636"/>
                  <a:pt x="7140364" y="1651614"/>
                </a:cubicBezTo>
                <a:cubicBezTo>
                  <a:pt x="7140364" y="1643592"/>
                  <a:pt x="7144739" y="1639217"/>
                  <a:pt x="7152761" y="1639217"/>
                </a:cubicBezTo>
                <a:close/>
                <a:moveTo>
                  <a:pt x="7511745" y="1568388"/>
                </a:moveTo>
                <a:cubicBezTo>
                  <a:pt x="7519038" y="1568388"/>
                  <a:pt x="7524143" y="1574614"/>
                  <a:pt x="7524143" y="1583176"/>
                </a:cubicBezTo>
                <a:cubicBezTo>
                  <a:pt x="7524143" y="1591738"/>
                  <a:pt x="7519038" y="1597964"/>
                  <a:pt x="7511745" y="1597964"/>
                </a:cubicBezTo>
                <a:cubicBezTo>
                  <a:pt x="7503723" y="1597964"/>
                  <a:pt x="7497889" y="1591738"/>
                  <a:pt x="7497889" y="1583176"/>
                </a:cubicBezTo>
                <a:cubicBezTo>
                  <a:pt x="7497889" y="1574614"/>
                  <a:pt x="7503723" y="1568388"/>
                  <a:pt x="7511745" y="1568388"/>
                </a:cubicBezTo>
                <a:close/>
                <a:moveTo>
                  <a:pt x="7440913" y="1568388"/>
                </a:moveTo>
                <a:cubicBezTo>
                  <a:pt x="7446747" y="1568388"/>
                  <a:pt x="7453310" y="1574614"/>
                  <a:pt x="7453310" y="1583176"/>
                </a:cubicBezTo>
                <a:cubicBezTo>
                  <a:pt x="7453310" y="1591738"/>
                  <a:pt x="7446747" y="1597964"/>
                  <a:pt x="7440913" y="1597964"/>
                </a:cubicBezTo>
                <a:cubicBezTo>
                  <a:pt x="7432891" y="1597964"/>
                  <a:pt x="7427057" y="1591738"/>
                  <a:pt x="7427057" y="1583176"/>
                </a:cubicBezTo>
                <a:cubicBezTo>
                  <a:pt x="7427057" y="1574614"/>
                  <a:pt x="7432891" y="1568388"/>
                  <a:pt x="7440913" y="1568388"/>
                </a:cubicBezTo>
                <a:close/>
                <a:moveTo>
                  <a:pt x="7370084" y="1568388"/>
                </a:moveTo>
                <a:cubicBezTo>
                  <a:pt x="7376647" y="1568388"/>
                  <a:pt x="7382481" y="1574614"/>
                  <a:pt x="7382481" y="1583176"/>
                </a:cubicBezTo>
                <a:cubicBezTo>
                  <a:pt x="7382481" y="1591738"/>
                  <a:pt x="7376647" y="1597964"/>
                  <a:pt x="7370084" y="1597964"/>
                </a:cubicBezTo>
                <a:cubicBezTo>
                  <a:pt x="7362791" y="1597964"/>
                  <a:pt x="7356228" y="1591738"/>
                  <a:pt x="7356228" y="1583176"/>
                </a:cubicBezTo>
                <a:cubicBezTo>
                  <a:pt x="7356228" y="1574614"/>
                  <a:pt x="7362791" y="1568388"/>
                  <a:pt x="7370084" y="1568388"/>
                </a:cubicBezTo>
                <a:close/>
                <a:moveTo>
                  <a:pt x="7294422" y="1568388"/>
                </a:moveTo>
                <a:cubicBezTo>
                  <a:pt x="7302444" y="1568388"/>
                  <a:pt x="7308278" y="1574614"/>
                  <a:pt x="7308278" y="1583176"/>
                </a:cubicBezTo>
                <a:cubicBezTo>
                  <a:pt x="7308278" y="1591738"/>
                  <a:pt x="7302444" y="1597964"/>
                  <a:pt x="7294422" y="1597964"/>
                </a:cubicBezTo>
                <a:cubicBezTo>
                  <a:pt x="7288588" y="1597964"/>
                  <a:pt x="7282025" y="1591738"/>
                  <a:pt x="7282025" y="1583176"/>
                </a:cubicBezTo>
                <a:cubicBezTo>
                  <a:pt x="7282025" y="1574614"/>
                  <a:pt x="7288588" y="1568388"/>
                  <a:pt x="7294422" y="1568388"/>
                </a:cubicBezTo>
                <a:close/>
                <a:moveTo>
                  <a:pt x="7223591" y="1568388"/>
                </a:moveTo>
                <a:cubicBezTo>
                  <a:pt x="7231613" y="1568388"/>
                  <a:pt x="7237447" y="1574614"/>
                  <a:pt x="7237447" y="1583176"/>
                </a:cubicBezTo>
                <a:cubicBezTo>
                  <a:pt x="7237447" y="1591738"/>
                  <a:pt x="7231613" y="1597964"/>
                  <a:pt x="7223591" y="1597964"/>
                </a:cubicBezTo>
                <a:cubicBezTo>
                  <a:pt x="7217757" y="1597964"/>
                  <a:pt x="7211194" y="1591738"/>
                  <a:pt x="7211194" y="1583176"/>
                </a:cubicBezTo>
                <a:cubicBezTo>
                  <a:pt x="7211194" y="1574614"/>
                  <a:pt x="7217757" y="1568388"/>
                  <a:pt x="7223591" y="1568388"/>
                </a:cubicBezTo>
                <a:close/>
                <a:moveTo>
                  <a:pt x="7152761" y="1568388"/>
                </a:moveTo>
                <a:cubicBezTo>
                  <a:pt x="7160783" y="1568388"/>
                  <a:pt x="7166617" y="1572763"/>
                  <a:pt x="7166617" y="1580785"/>
                </a:cubicBezTo>
                <a:cubicBezTo>
                  <a:pt x="7166617" y="1588807"/>
                  <a:pt x="7160783" y="1594641"/>
                  <a:pt x="7152761" y="1594641"/>
                </a:cubicBezTo>
                <a:cubicBezTo>
                  <a:pt x="7144739" y="1594641"/>
                  <a:pt x="7140364" y="1588807"/>
                  <a:pt x="7140364" y="1580785"/>
                </a:cubicBezTo>
                <a:cubicBezTo>
                  <a:pt x="7140364" y="1572763"/>
                  <a:pt x="7144739" y="1568388"/>
                  <a:pt x="7152761" y="1568388"/>
                </a:cubicBezTo>
                <a:close/>
                <a:moveTo>
                  <a:pt x="7084322" y="1568388"/>
                </a:moveTo>
                <a:cubicBezTo>
                  <a:pt x="7092106" y="1568388"/>
                  <a:pt x="7099111" y="1572763"/>
                  <a:pt x="7099111" y="1580785"/>
                </a:cubicBezTo>
                <a:cubicBezTo>
                  <a:pt x="7099111" y="1588807"/>
                  <a:pt x="7092106" y="1594641"/>
                  <a:pt x="7084322" y="1594641"/>
                </a:cubicBezTo>
                <a:cubicBezTo>
                  <a:pt x="7075760" y="1594641"/>
                  <a:pt x="7069533" y="1588807"/>
                  <a:pt x="7069533" y="1580785"/>
                </a:cubicBezTo>
                <a:cubicBezTo>
                  <a:pt x="7069533" y="1572763"/>
                  <a:pt x="7075760" y="1568388"/>
                  <a:pt x="7084322" y="1568388"/>
                </a:cubicBezTo>
                <a:close/>
                <a:moveTo>
                  <a:pt x="7440913" y="1494185"/>
                </a:moveTo>
                <a:cubicBezTo>
                  <a:pt x="7446747" y="1494185"/>
                  <a:pt x="7453310" y="1500411"/>
                  <a:pt x="7453310" y="1508973"/>
                </a:cubicBezTo>
                <a:cubicBezTo>
                  <a:pt x="7453310" y="1516756"/>
                  <a:pt x="7446747" y="1523761"/>
                  <a:pt x="7440913" y="1523761"/>
                </a:cubicBezTo>
                <a:cubicBezTo>
                  <a:pt x="7432891" y="1523761"/>
                  <a:pt x="7427057" y="1516756"/>
                  <a:pt x="7427057" y="1508973"/>
                </a:cubicBezTo>
                <a:cubicBezTo>
                  <a:pt x="7427057" y="1500411"/>
                  <a:pt x="7432891" y="1494185"/>
                  <a:pt x="7440913" y="1494185"/>
                </a:cubicBezTo>
                <a:close/>
                <a:moveTo>
                  <a:pt x="7370084" y="1494185"/>
                </a:moveTo>
                <a:cubicBezTo>
                  <a:pt x="7376647" y="1494185"/>
                  <a:pt x="7382481" y="1500411"/>
                  <a:pt x="7382481" y="1508973"/>
                </a:cubicBezTo>
                <a:cubicBezTo>
                  <a:pt x="7382481" y="1516756"/>
                  <a:pt x="7376647" y="1523761"/>
                  <a:pt x="7370084" y="1523761"/>
                </a:cubicBezTo>
                <a:cubicBezTo>
                  <a:pt x="7362791" y="1523761"/>
                  <a:pt x="7356228" y="1516756"/>
                  <a:pt x="7356228" y="1508973"/>
                </a:cubicBezTo>
                <a:cubicBezTo>
                  <a:pt x="7356228" y="1500411"/>
                  <a:pt x="7362791" y="1494185"/>
                  <a:pt x="7370084" y="1494185"/>
                </a:cubicBezTo>
                <a:close/>
                <a:moveTo>
                  <a:pt x="7294422" y="1494185"/>
                </a:moveTo>
                <a:cubicBezTo>
                  <a:pt x="7302444" y="1494185"/>
                  <a:pt x="7308278" y="1500411"/>
                  <a:pt x="7308278" y="1508973"/>
                </a:cubicBezTo>
                <a:cubicBezTo>
                  <a:pt x="7308278" y="1516756"/>
                  <a:pt x="7302444" y="1523761"/>
                  <a:pt x="7294422" y="1523761"/>
                </a:cubicBezTo>
                <a:cubicBezTo>
                  <a:pt x="7288588" y="1523761"/>
                  <a:pt x="7282025" y="1516756"/>
                  <a:pt x="7282025" y="1508973"/>
                </a:cubicBezTo>
                <a:cubicBezTo>
                  <a:pt x="7282025" y="1500411"/>
                  <a:pt x="7288588" y="1494185"/>
                  <a:pt x="7294422" y="1494185"/>
                </a:cubicBezTo>
                <a:close/>
                <a:moveTo>
                  <a:pt x="7223591" y="1494185"/>
                </a:moveTo>
                <a:cubicBezTo>
                  <a:pt x="7231613" y="1494185"/>
                  <a:pt x="7237447" y="1500411"/>
                  <a:pt x="7237447" y="1508973"/>
                </a:cubicBezTo>
                <a:cubicBezTo>
                  <a:pt x="7237447" y="1516756"/>
                  <a:pt x="7231613" y="1523761"/>
                  <a:pt x="7223591" y="1523761"/>
                </a:cubicBezTo>
                <a:cubicBezTo>
                  <a:pt x="7217757" y="1523761"/>
                  <a:pt x="7211194" y="1516756"/>
                  <a:pt x="7211194" y="1508973"/>
                </a:cubicBezTo>
                <a:cubicBezTo>
                  <a:pt x="7211194" y="1500411"/>
                  <a:pt x="7217757" y="1494185"/>
                  <a:pt x="7223591" y="1494185"/>
                </a:cubicBezTo>
                <a:close/>
                <a:moveTo>
                  <a:pt x="7152761" y="1494185"/>
                </a:moveTo>
                <a:cubicBezTo>
                  <a:pt x="7160783" y="1494185"/>
                  <a:pt x="7166617" y="1500411"/>
                  <a:pt x="7166617" y="1508973"/>
                </a:cubicBezTo>
                <a:cubicBezTo>
                  <a:pt x="7166617" y="1516756"/>
                  <a:pt x="7160783" y="1523761"/>
                  <a:pt x="7152761" y="1523761"/>
                </a:cubicBezTo>
                <a:cubicBezTo>
                  <a:pt x="7144739" y="1523761"/>
                  <a:pt x="7140364" y="1516756"/>
                  <a:pt x="7140364" y="1508973"/>
                </a:cubicBezTo>
                <a:cubicBezTo>
                  <a:pt x="7140364" y="1500411"/>
                  <a:pt x="7144739" y="1494185"/>
                  <a:pt x="7152761" y="1494185"/>
                </a:cubicBezTo>
                <a:close/>
                <a:moveTo>
                  <a:pt x="7084322" y="1494185"/>
                </a:moveTo>
                <a:cubicBezTo>
                  <a:pt x="7092106" y="1494185"/>
                  <a:pt x="7099111" y="1500411"/>
                  <a:pt x="7099111" y="1508973"/>
                </a:cubicBezTo>
                <a:cubicBezTo>
                  <a:pt x="7099111" y="1516756"/>
                  <a:pt x="7092106" y="1523761"/>
                  <a:pt x="7084322" y="1523761"/>
                </a:cubicBezTo>
                <a:cubicBezTo>
                  <a:pt x="7075760" y="1523761"/>
                  <a:pt x="7069533" y="1516756"/>
                  <a:pt x="7069533" y="1508973"/>
                </a:cubicBezTo>
                <a:cubicBezTo>
                  <a:pt x="7069533" y="1500411"/>
                  <a:pt x="7075760" y="1494185"/>
                  <a:pt x="7084322" y="1494185"/>
                </a:cubicBezTo>
                <a:close/>
                <a:moveTo>
                  <a:pt x="7013492" y="1494185"/>
                </a:moveTo>
                <a:cubicBezTo>
                  <a:pt x="7021275" y="1494185"/>
                  <a:pt x="7028280" y="1500411"/>
                  <a:pt x="7028280" y="1508973"/>
                </a:cubicBezTo>
                <a:cubicBezTo>
                  <a:pt x="7028280" y="1516756"/>
                  <a:pt x="7021275" y="1523761"/>
                  <a:pt x="7013492" y="1523761"/>
                </a:cubicBezTo>
                <a:cubicBezTo>
                  <a:pt x="7004930" y="1523761"/>
                  <a:pt x="6998704" y="1516756"/>
                  <a:pt x="6998704" y="1508973"/>
                </a:cubicBezTo>
                <a:cubicBezTo>
                  <a:pt x="6998704" y="1500411"/>
                  <a:pt x="7004930" y="1494185"/>
                  <a:pt x="7013492" y="1494185"/>
                </a:cubicBezTo>
                <a:close/>
                <a:moveTo>
                  <a:pt x="6939085" y="1494185"/>
                </a:moveTo>
                <a:cubicBezTo>
                  <a:pt x="6946378" y="1494185"/>
                  <a:pt x="6950753" y="1500411"/>
                  <a:pt x="6950753" y="1508973"/>
                </a:cubicBezTo>
                <a:cubicBezTo>
                  <a:pt x="6950753" y="1516756"/>
                  <a:pt x="6946378" y="1523761"/>
                  <a:pt x="6939085" y="1523761"/>
                </a:cubicBezTo>
                <a:cubicBezTo>
                  <a:pt x="6931063" y="1523761"/>
                  <a:pt x="6924500" y="1516756"/>
                  <a:pt x="6924500" y="1508973"/>
                </a:cubicBezTo>
                <a:cubicBezTo>
                  <a:pt x="6924500" y="1500411"/>
                  <a:pt x="6931063" y="1494185"/>
                  <a:pt x="6939085" y="1494185"/>
                </a:cubicBezTo>
                <a:close/>
                <a:moveTo>
                  <a:pt x="83229" y="1426727"/>
                </a:moveTo>
                <a:cubicBezTo>
                  <a:pt x="90521" y="1426727"/>
                  <a:pt x="97085" y="1431102"/>
                  <a:pt x="97085" y="1439124"/>
                </a:cubicBezTo>
                <a:cubicBezTo>
                  <a:pt x="97085" y="1446417"/>
                  <a:pt x="90521" y="1452980"/>
                  <a:pt x="83229" y="1452980"/>
                </a:cubicBezTo>
                <a:cubicBezTo>
                  <a:pt x="76665" y="1452980"/>
                  <a:pt x="70831" y="1446417"/>
                  <a:pt x="70831" y="1439124"/>
                </a:cubicBezTo>
                <a:cubicBezTo>
                  <a:pt x="70831" y="1432561"/>
                  <a:pt x="76665" y="1426727"/>
                  <a:pt x="83229" y="1426727"/>
                </a:cubicBezTo>
                <a:close/>
                <a:moveTo>
                  <a:pt x="11993" y="1426727"/>
                </a:moveTo>
                <a:cubicBezTo>
                  <a:pt x="20237" y="1426727"/>
                  <a:pt x="26234" y="1432561"/>
                  <a:pt x="26234" y="1439124"/>
                </a:cubicBezTo>
                <a:cubicBezTo>
                  <a:pt x="26234" y="1446417"/>
                  <a:pt x="20237" y="1452980"/>
                  <a:pt x="11993" y="1452980"/>
                </a:cubicBezTo>
                <a:cubicBezTo>
                  <a:pt x="5996" y="1452980"/>
                  <a:pt x="0" y="1446417"/>
                  <a:pt x="0" y="1439124"/>
                </a:cubicBezTo>
                <a:cubicBezTo>
                  <a:pt x="0" y="1432561"/>
                  <a:pt x="5996" y="1426727"/>
                  <a:pt x="11993" y="1426727"/>
                </a:cubicBezTo>
                <a:close/>
                <a:moveTo>
                  <a:pt x="7370084" y="1423353"/>
                </a:moveTo>
                <a:cubicBezTo>
                  <a:pt x="7376647" y="1423353"/>
                  <a:pt x="7382481" y="1429580"/>
                  <a:pt x="7382481" y="1438142"/>
                </a:cubicBezTo>
                <a:cubicBezTo>
                  <a:pt x="7382481" y="1445926"/>
                  <a:pt x="7376647" y="1452931"/>
                  <a:pt x="7370084" y="1452931"/>
                </a:cubicBezTo>
                <a:cubicBezTo>
                  <a:pt x="7362791" y="1452931"/>
                  <a:pt x="7356228" y="1445926"/>
                  <a:pt x="7356228" y="1438142"/>
                </a:cubicBezTo>
                <a:cubicBezTo>
                  <a:pt x="7356228" y="1429580"/>
                  <a:pt x="7362791" y="1423353"/>
                  <a:pt x="7370084" y="1423353"/>
                </a:cubicBezTo>
                <a:close/>
                <a:moveTo>
                  <a:pt x="7294422" y="1423353"/>
                </a:moveTo>
                <a:cubicBezTo>
                  <a:pt x="7302444" y="1423353"/>
                  <a:pt x="7308278" y="1429580"/>
                  <a:pt x="7308278" y="1438142"/>
                </a:cubicBezTo>
                <a:cubicBezTo>
                  <a:pt x="7308278" y="1445926"/>
                  <a:pt x="7302444" y="1452931"/>
                  <a:pt x="7294422" y="1452931"/>
                </a:cubicBezTo>
                <a:cubicBezTo>
                  <a:pt x="7288588" y="1452931"/>
                  <a:pt x="7282025" y="1445926"/>
                  <a:pt x="7282025" y="1438142"/>
                </a:cubicBezTo>
                <a:cubicBezTo>
                  <a:pt x="7282025" y="1429580"/>
                  <a:pt x="7288588" y="1423353"/>
                  <a:pt x="7294422" y="1423353"/>
                </a:cubicBezTo>
                <a:close/>
                <a:moveTo>
                  <a:pt x="7223591" y="1423353"/>
                </a:moveTo>
                <a:cubicBezTo>
                  <a:pt x="7231613" y="1423353"/>
                  <a:pt x="7237447" y="1429580"/>
                  <a:pt x="7237447" y="1438142"/>
                </a:cubicBezTo>
                <a:cubicBezTo>
                  <a:pt x="7237447" y="1445926"/>
                  <a:pt x="7231613" y="1452931"/>
                  <a:pt x="7223591" y="1452931"/>
                </a:cubicBezTo>
                <a:cubicBezTo>
                  <a:pt x="7217757" y="1452931"/>
                  <a:pt x="7211194" y="1445926"/>
                  <a:pt x="7211194" y="1438142"/>
                </a:cubicBezTo>
                <a:cubicBezTo>
                  <a:pt x="7211194" y="1429580"/>
                  <a:pt x="7215569" y="1423353"/>
                  <a:pt x="7223591" y="1423353"/>
                </a:cubicBezTo>
                <a:close/>
                <a:moveTo>
                  <a:pt x="7155152" y="1423353"/>
                </a:moveTo>
                <a:cubicBezTo>
                  <a:pt x="7163714" y="1423353"/>
                  <a:pt x="7169940" y="1429580"/>
                  <a:pt x="7169940" y="1438142"/>
                </a:cubicBezTo>
                <a:cubicBezTo>
                  <a:pt x="7169940" y="1445926"/>
                  <a:pt x="7163714" y="1452931"/>
                  <a:pt x="7155152" y="1452931"/>
                </a:cubicBezTo>
                <a:cubicBezTo>
                  <a:pt x="7146590" y="1452931"/>
                  <a:pt x="7141920" y="1445926"/>
                  <a:pt x="7141920" y="1438142"/>
                </a:cubicBezTo>
                <a:cubicBezTo>
                  <a:pt x="7140364" y="1429580"/>
                  <a:pt x="7146590" y="1423353"/>
                  <a:pt x="7155152" y="1423353"/>
                </a:cubicBezTo>
                <a:close/>
                <a:moveTo>
                  <a:pt x="7084322" y="1423353"/>
                </a:moveTo>
                <a:cubicBezTo>
                  <a:pt x="7092106" y="1423353"/>
                  <a:pt x="7099111" y="1429580"/>
                  <a:pt x="7099111" y="1438142"/>
                </a:cubicBezTo>
                <a:cubicBezTo>
                  <a:pt x="7099111" y="1445926"/>
                  <a:pt x="7092106" y="1452931"/>
                  <a:pt x="7084322" y="1452931"/>
                </a:cubicBezTo>
                <a:cubicBezTo>
                  <a:pt x="7075760" y="1452931"/>
                  <a:pt x="7069533" y="1445926"/>
                  <a:pt x="7069533" y="1438142"/>
                </a:cubicBezTo>
                <a:cubicBezTo>
                  <a:pt x="7069533" y="1429580"/>
                  <a:pt x="7075760" y="1423353"/>
                  <a:pt x="7084322" y="1423353"/>
                </a:cubicBezTo>
                <a:close/>
                <a:moveTo>
                  <a:pt x="7013492" y="1423353"/>
                </a:moveTo>
                <a:cubicBezTo>
                  <a:pt x="7021275" y="1423353"/>
                  <a:pt x="7028280" y="1429580"/>
                  <a:pt x="7028280" y="1438142"/>
                </a:cubicBezTo>
                <a:cubicBezTo>
                  <a:pt x="7028280" y="1445926"/>
                  <a:pt x="7021275" y="1452931"/>
                  <a:pt x="7013492" y="1452931"/>
                </a:cubicBezTo>
                <a:cubicBezTo>
                  <a:pt x="7004930" y="1452931"/>
                  <a:pt x="6998704" y="1445926"/>
                  <a:pt x="6998704" y="1438142"/>
                </a:cubicBezTo>
                <a:cubicBezTo>
                  <a:pt x="6998704" y="1429580"/>
                  <a:pt x="7004930" y="1423353"/>
                  <a:pt x="7013492" y="1423353"/>
                </a:cubicBezTo>
                <a:close/>
                <a:moveTo>
                  <a:pt x="6939085" y="1423353"/>
                </a:moveTo>
                <a:cubicBezTo>
                  <a:pt x="6946378" y="1423353"/>
                  <a:pt x="6950753" y="1429580"/>
                  <a:pt x="6950753" y="1438142"/>
                </a:cubicBezTo>
                <a:cubicBezTo>
                  <a:pt x="6950753" y="1445926"/>
                  <a:pt x="6946378" y="1452931"/>
                  <a:pt x="6939085" y="1452931"/>
                </a:cubicBezTo>
                <a:cubicBezTo>
                  <a:pt x="6931063" y="1452931"/>
                  <a:pt x="6924500" y="1445926"/>
                  <a:pt x="6924500" y="1438142"/>
                </a:cubicBezTo>
                <a:cubicBezTo>
                  <a:pt x="6924500" y="1429580"/>
                  <a:pt x="6931063" y="1423353"/>
                  <a:pt x="6939085" y="1423353"/>
                </a:cubicBezTo>
                <a:close/>
                <a:moveTo>
                  <a:pt x="6867525" y="1423353"/>
                </a:moveTo>
                <a:cubicBezTo>
                  <a:pt x="6874088" y="1423353"/>
                  <a:pt x="6879922" y="1429580"/>
                  <a:pt x="6879922" y="1438142"/>
                </a:cubicBezTo>
                <a:cubicBezTo>
                  <a:pt x="6879922" y="1445926"/>
                  <a:pt x="6874088" y="1452931"/>
                  <a:pt x="6867525" y="1452931"/>
                </a:cubicBezTo>
                <a:cubicBezTo>
                  <a:pt x="6860232" y="1452931"/>
                  <a:pt x="6853669" y="1445926"/>
                  <a:pt x="6853669" y="1438142"/>
                </a:cubicBezTo>
                <a:cubicBezTo>
                  <a:pt x="6853669" y="1429580"/>
                  <a:pt x="6860232" y="1423353"/>
                  <a:pt x="6867525" y="1423353"/>
                </a:cubicBezTo>
                <a:close/>
                <a:moveTo>
                  <a:pt x="6796696" y="1423353"/>
                </a:moveTo>
                <a:cubicBezTo>
                  <a:pt x="6803259" y="1423353"/>
                  <a:pt x="6809093" y="1429580"/>
                  <a:pt x="6809093" y="1438142"/>
                </a:cubicBezTo>
                <a:cubicBezTo>
                  <a:pt x="6809093" y="1445926"/>
                  <a:pt x="6803259" y="1452931"/>
                  <a:pt x="6796696" y="1452931"/>
                </a:cubicBezTo>
                <a:cubicBezTo>
                  <a:pt x="6789403" y="1452931"/>
                  <a:pt x="6782840" y="1445926"/>
                  <a:pt x="6782840" y="1438142"/>
                </a:cubicBezTo>
                <a:cubicBezTo>
                  <a:pt x="6782840" y="1429580"/>
                  <a:pt x="6789403" y="1423353"/>
                  <a:pt x="6796696" y="1423353"/>
                </a:cubicBezTo>
                <a:close/>
                <a:moveTo>
                  <a:pt x="155518" y="1355896"/>
                </a:moveTo>
                <a:cubicBezTo>
                  <a:pt x="161352" y="1355896"/>
                  <a:pt x="167916" y="1360271"/>
                  <a:pt x="167916" y="1368293"/>
                </a:cubicBezTo>
                <a:cubicBezTo>
                  <a:pt x="167916" y="1375586"/>
                  <a:pt x="161352" y="1382149"/>
                  <a:pt x="155518" y="1382149"/>
                </a:cubicBezTo>
                <a:cubicBezTo>
                  <a:pt x="147496" y="1382149"/>
                  <a:pt x="141662" y="1375586"/>
                  <a:pt x="141662" y="1368293"/>
                </a:cubicBezTo>
                <a:cubicBezTo>
                  <a:pt x="141662" y="1360271"/>
                  <a:pt x="147496" y="1355896"/>
                  <a:pt x="155518" y="1355896"/>
                </a:cubicBezTo>
                <a:close/>
                <a:moveTo>
                  <a:pt x="83230" y="1355896"/>
                </a:moveTo>
                <a:cubicBezTo>
                  <a:pt x="90523" y="1355896"/>
                  <a:pt x="97086" y="1360271"/>
                  <a:pt x="97086" y="1368293"/>
                </a:cubicBezTo>
                <a:cubicBezTo>
                  <a:pt x="97086" y="1375586"/>
                  <a:pt x="90523" y="1382149"/>
                  <a:pt x="83230" y="1382149"/>
                </a:cubicBezTo>
                <a:cubicBezTo>
                  <a:pt x="76667" y="1382149"/>
                  <a:pt x="70832" y="1375586"/>
                  <a:pt x="70832" y="1368293"/>
                </a:cubicBezTo>
                <a:cubicBezTo>
                  <a:pt x="70832" y="1360271"/>
                  <a:pt x="76667" y="1355896"/>
                  <a:pt x="83230" y="1355896"/>
                </a:cubicBezTo>
                <a:close/>
                <a:moveTo>
                  <a:pt x="11994" y="1355896"/>
                </a:moveTo>
                <a:cubicBezTo>
                  <a:pt x="20239" y="1355896"/>
                  <a:pt x="26235" y="1360271"/>
                  <a:pt x="26235" y="1368293"/>
                </a:cubicBezTo>
                <a:cubicBezTo>
                  <a:pt x="26235" y="1375586"/>
                  <a:pt x="20239" y="1382149"/>
                  <a:pt x="11994" y="1382149"/>
                </a:cubicBezTo>
                <a:cubicBezTo>
                  <a:pt x="5998" y="1382149"/>
                  <a:pt x="2" y="1375586"/>
                  <a:pt x="2" y="1368293"/>
                </a:cubicBezTo>
                <a:cubicBezTo>
                  <a:pt x="2" y="1360271"/>
                  <a:pt x="5998" y="1355896"/>
                  <a:pt x="11994" y="1355896"/>
                </a:cubicBezTo>
                <a:close/>
                <a:moveTo>
                  <a:pt x="7294422" y="1352524"/>
                </a:moveTo>
                <a:cubicBezTo>
                  <a:pt x="7302444" y="1352524"/>
                  <a:pt x="7308278" y="1359087"/>
                  <a:pt x="7308278" y="1367109"/>
                </a:cubicBezTo>
                <a:cubicBezTo>
                  <a:pt x="7308278" y="1374402"/>
                  <a:pt x="7302444" y="1378777"/>
                  <a:pt x="7294422" y="1378777"/>
                </a:cubicBezTo>
                <a:cubicBezTo>
                  <a:pt x="7288588" y="1378777"/>
                  <a:pt x="7282025" y="1374402"/>
                  <a:pt x="7282025" y="1367109"/>
                </a:cubicBezTo>
                <a:cubicBezTo>
                  <a:pt x="7282025" y="1359087"/>
                  <a:pt x="7288588" y="1352524"/>
                  <a:pt x="7294422" y="1352524"/>
                </a:cubicBezTo>
                <a:close/>
                <a:moveTo>
                  <a:pt x="7223591" y="1352524"/>
                </a:moveTo>
                <a:cubicBezTo>
                  <a:pt x="7231613" y="1352524"/>
                  <a:pt x="7237447" y="1359087"/>
                  <a:pt x="7237447" y="1367109"/>
                </a:cubicBezTo>
                <a:cubicBezTo>
                  <a:pt x="7237447" y="1374402"/>
                  <a:pt x="7231613" y="1378777"/>
                  <a:pt x="7223591" y="1378777"/>
                </a:cubicBezTo>
                <a:cubicBezTo>
                  <a:pt x="7215569" y="1378777"/>
                  <a:pt x="7211194" y="1374402"/>
                  <a:pt x="7211194" y="1367109"/>
                </a:cubicBezTo>
                <a:cubicBezTo>
                  <a:pt x="7211194" y="1359087"/>
                  <a:pt x="7215569" y="1352524"/>
                  <a:pt x="7223591" y="1352524"/>
                </a:cubicBezTo>
                <a:close/>
                <a:moveTo>
                  <a:pt x="7155152" y="1352524"/>
                </a:moveTo>
                <a:cubicBezTo>
                  <a:pt x="7163714" y="1352524"/>
                  <a:pt x="7169940" y="1359087"/>
                  <a:pt x="7169940" y="1367109"/>
                </a:cubicBezTo>
                <a:cubicBezTo>
                  <a:pt x="7169940" y="1374402"/>
                  <a:pt x="7163714" y="1378777"/>
                  <a:pt x="7155152" y="1378777"/>
                </a:cubicBezTo>
                <a:cubicBezTo>
                  <a:pt x="7146590" y="1378777"/>
                  <a:pt x="7140364" y="1374402"/>
                  <a:pt x="7140364" y="1367109"/>
                </a:cubicBezTo>
                <a:cubicBezTo>
                  <a:pt x="7140364" y="1359087"/>
                  <a:pt x="7146590" y="1352524"/>
                  <a:pt x="7155152" y="1352524"/>
                </a:cubicBezTo>
                <a:close/>
                <a:moveTo>
                  <a:pt x="7084322" y="1352524"/>
                </a:moveTo>
                <a:cubicBezTo>
                  <a:pt x="7092106" y="1352524"/>
                  <a:pt x="7099111" y="1359087"/>
                  <a:pt x="7099111" y="1367109"/>
                </a:cubicBezTo>
                <a:cubicBezTo>
                  <a:pt x="7099111" y="1374402"/>
                  <a:pt x="7092106" y="1378777"/>
                  <a:pt x="7084322" y="1378777"/>
                </a:cubicBezTo>
                <a:cubicBezTo>
                  <a:pt x="7075760" y="1378777"/>
                  <a:pt x="7069533" y="1374402"/>
                  <a:pt x="7069533" y="1367109"/>
                </a:cubicBezTo>
                <a:cubicBezTo>
                  <a:pt x="7069533" y="1359087"/>
                  <a:pt x="7075760" y="1352524"/>
                  <a:pt x="7084322" y="1352524"/>
                </a:cubicBezTo>
                <a:close/>
                <a:moveTo>
                  <a:pt x="7013492" y="1352524"/>
                </a:moveTo>
                <a:cubicBezTo>
                  <a:pt x="7021275" y="1352524"/>
                  <a:pt x="7028280" y="1359087"/>
                  <a:pt x="7028280" y="1367109"/>
                </a:cubicBezTo>
                <a:cubicBezTo>
                  <a:pt x="7028280" y="1374402"/>
                  <a:pt x="7021275" y="1378777"/>
                  <a:pt x="7013492" y="1378777"/>
                </a:cubicBezTo>
                <a:cubicBezTo>
                  <a:pt x="7004930" y="1378777"/>
                  <a:pt x="6998704" y="1374402"/>
                  <a:pt x="6998704" y="1367109"/>
                </a:cubicBezTo>
                <a:cubicBezTo>
                  <a:pt x="6998704" y="1359087"/>
                  <a:pt x="7004930" y="1352524"/>
                  <a:pt x="7013492" y="1352524"/>
                </a:cubicBezTo>
                <a:close/>
                <a:moveTo>
                  <a:pt x="6939085" y="1352524"/>
                </a:moveTo>
                <a:cubicBezTo>
                  <a:pt x="6946378" y="1352524"/>
                  <a:pt x="6950753" y="1359354"/>
                  <a:pt x="6950753" y="1367701"/>
                </a:cubicBezTo>
                <a:cubicBezTo>
                  <a:pt x="6950753" y="1375290"/>
                  <a:pt x="6946378" y="1382120"/>
                  <a:pt x="6939085" y="1382120"/>
                </a:cubicBezTo>
                <a:cubicBezTo>
                  <a:pt x="6931063" y="1382120"/>
                  <a:pt x="6924500" y="1375290"/>
                  <a:pt x="6924500" y="1367701"/>
                </a:cubicBezTo>
                <a:cubicBezTo>
                  <a:pt x="6924500" y="1359354"/>
                  <a:pt x="6931063" y="1352524"/>
                  <a:pt x="6939085" y="1352524"/>
                </a:cubicBezTo>
                <a:close/>
                <a:moveTo>
                  <a:pt x="6867525" y="1352524"/>
                </a:moveTo>
                <a:cubicBezTo>
                  <a:pt x="6874088" y="1352524"/>
                  <a:pt x="6879922" y="1359354"/>
                  <a:pt x="6879922" y="1367701"/>
                </a:cubicBezTo>
                <a:cubicBezTo>
                  <a:pt x="6879922" y="1375290"/>
                  <a:pt x="6874088" y="1382120"/>
                  <a:pt x="6867525" y="1382120"/>
                </a:cubicBezTo>
                <a:cubicBezTo>
                  <a:pt x="6860232" y="1382120"/>
                  <a:pt x="6853669" y="1375290"/>
                  <a:pt x="6853669" y="1367701"/>
                </a:cubicBezTo>
                <a:cubicBezTo>
                  <a:pt x="6853669" y="1359354"/>
                  <a:pt x="6860232" y="1352524"/>
                  <a:pt x="6867525" y="1352524"/>
                </a:cubicBezTo>
                <a:close/>
                <a:moveTo>
                  <a:pt x="6796696" y="1352524"/>
                </a:moveTo>
                <a:cubicBezTo>
                  <a:pt x="6803259" y="1352524"/>
                  <a:pt x="6809093" y="1359354"/>
                  <a:pt x="6809093" y="1367701"/>
                </a:cubicBezTo>
                <a:cubicBezTo>
                  <a:pt x="6809093" y="1375290"/>
                  <a:pt x="6803259" y="1382120"/>
                  <a:pt x="6796696" y="1382120"/>
                </a:cubicBezTo>
                <a:cubicBezTo>
                  <a:pt x="6789403" y="1382120"/>
                  <a:pt x="6782840" y="1375290"/>
                  <a:pt x="6782840" y="1367701"/>
                </a:cubicBezTo>
                <a:cubicBezTo>
                  <a:pt x="6782840" y="1359354"/>
                  <a:pt x="6789403" y="1352524"/>
                  <a:pt x="6796696" y="1352524"/>
                </a:cubicBezTo>
                <a:close/>
                <a:moveTo>
                  <a:pt x="6724405" y="1352524"/>
                </a:moveTo>
                <a:cubicBezTo>
                  <a:pt x="6732427" y="1352524"/>
                  <a:pt x="6738261" y="1359354"/>
                  <a:pt x="6738261" y="1367701"/>
                </a:cubicBezTo>
                <a:cubicBezTo>
                  <a:pt x="6738261" y="1375290"/>
                  <a:pt x="6732427" y="1382120"/>
                  <a:pt x="6724405" y="1382120"/>
                </a:cubicBezTo>
                <a:cubicBezTo>
                  <a:pt x="6718571" y="1382120"/>
                  <a:pt x="6712008" y="1375290"/>
                  <a:pt x="6712008" y="1367701"/>
                </a:cubicBezTo>
                <a:cubicBezTo>
                  <a:pt x="6712008" y="1359354"/>
                  <a:pt x="6718571" y="1352524"/>
                  <a:pt x="6724405" y="1352524"/>
                </a:cubicBezTo>
                <a:close/>
                <a:moveTo>
                  <a:pt x="6653576" y="1352524"/>
                </a:moveTo>
                <a:cubicBezTo>
                  <a:pt x="6660869" y="1352524"/>
                  <a:pt x="6667432" y="1359354"/>
                  <a:pt x="6667432" y="1367701"/>
                </a:cubicBezTo>
                <a:cubicBezTo>
                  <a:pt x="6667432" y="1375290"/>
                  <a:pt x="6660869" y="1382120"/>
                  <a:pt x="6653576" y="1382120"/>
                </a:cubicBezTo>
                <a:cubicBezTo>
                  <a:pt x="6647013" y="1382120"/>
                  <a:pt x="6641179" y="1375290"/>
                  <a:pt x="6641179" y="1367701"/>
                </a:cubicBezTo>
                <a:cubicBezTo>
                  <a:pt x="6641179" y="1359354"/>
                  <a:pt x="6647013" y="1352524"/>
                  <a:pt x="6653576" y="1352524"/>
                </a:cubicBezTo>
                <a:close/>
                <a:moveTo>
                  <a:pt x="7223591" y="1281693"/>
                </a:moveTo>
                <a:cubicBezTo>
                  <a:pt x="7231613" y="1281693"/>
                  <a:pt x="7237447" y="1288256"/>
                  <a:pt x="7237447" y="1295549"/>
                </a:cubicBezTo>
                <a:cubicBezTo>
                  <a:pt x="7237447" y="1302112"/>
                  <a:pt x="7231613" y="1307946"/>
                  <a:pt x="7223591" y="1307946"/>
                </a:cubicBezTo>
                <a:cubicBezTo>
                  <a:pt x="7215569" y="1307946"/>
                  <a:pt x="7211194" y="1302112"/>
                  <a:pt x="7211194" y="1295549"/>
                </a:cubicBezTo>
                <a:cubicBezTo>
                  <a:pt x="7211194" y="1288256"/>
                  <a:pt x="7215569" y="1281693"/>
                  <a:pt x="7223591" y="1281693"/>
                </a:cubicBezTo>
                <a:close/>
                <a:moveTo>
                  <a:pt x="7155152" y="1281693"/>
                </a:moveTo>
                <a:cubicBezTo>
                  <a:pt x="7163714" y="1281693"/>
                  <a:pt x="7169940" y="1288256"/>
                  <a:pt x="7169940" y="1295549"/>
                </a:cubicBezTo>
                <a:cubicBezTo>
                  <a:pt x="7169940" y="1302112"/>
                  <a:pt x="7163714" y="1307946"/>
                  <a:pt x="7155152" y="1307946"/>
                </a:cubicBezTo>
                <a:cubicBezTo>
                  <a:pt x="7146590" y="1307946"/>
                  <a:pt x="7140364" y="1302112"/>
                  <a:pt x="7140364" y="1295549"/>
                </a:cubicBezTo>
                <a:cubicBezTo>
                  <a:pt x="7140364" y="1288256"/>
                  <a:pt x="7146590" y="1281693"/>
                  <a:pt x="7155152" y="1281693"/>
                </a:cubicBezTo>
                <a:close/>
                <a:moveTo>
                  <a:pt x="7084322" y="1281693"/>
                </a:moveTo>
                <a:cubicBezTo>
                  <a:pt x="7092106" y="1281693"/>
                  <a:pt x="7099111" y="1288256"/>
                  <a:pt x="7099111" y="1295549"/>
                </a:cubicBezTo>
                <a:cubicBezTo>
                  <a:pt x="7099111" y="1302112"/>
                  <a:pt x="7092106" y="1307946"/>
                  <a:pt x="7084322" y="1307946"/>
                </a:cubicBezTo>
                <a:cubicBezTo>
                  <a:pt x="7075760" y="1307946"/>
                  <a:pt x="7069533" y="1303571"/>
                  <a:pt x="7069533" y="1295549"/>
                </a:cubicBezTo>
                <a:cubicBezTo>
                  <a:pt x="7069533" y="1288256"/>
                  <a:pt x="7075760" y="1281693"/>
                  <a:pt x="7084322" y="1281693"/>
                </a:cubicBezTo>
                <a:close/>
                <a:moveTo>
                  <a:pt x="7013492" y="1281693"/>
                </a:moveTo>
                <a:cubicBezTo>
                  <a:pt x="7021275" y="1281693"/>
                  <a:pt x="7028280" y="1288256"/>
                  <a:pt x="7028280" y="1295549"/>
                </a:cubicBezTo>
                <a:cubicBezTo>
                  <a:pt x="7028280" y="1303571"/>
                  <a:pt x="7021275" y="1307946"/>
                  <a:pt x="7013492" y="1307946"/>
                </a:cubicBezTo>
                <a:cubicBezTo>
                  <a:pt x="7004930" y="1307946"/>
                  <a:pt x="6998704" y="1303571"/>
                  <a:pt x="6998704" y="1295549"/>
                </a:cubicBezTo>
                <a:cubicBezTo>
                  <a:pt x="6998704" y="1288256"/>
                  <a:pt x="7004930" y="1281693"/>
                  <a:pt x="7013492" y="1281693"/>
                </a:cubicBezTo>
                <a:close/>
                <a:moveTo>
                  <a:pt x="6939085" y="1281693"/>
                </a:moveTo>
                <a:cubicBezTo>
                  <a:pt x="6946378" y="1281693"/>
                  <a:pt x="6950753" y="1288256"/>
                  <a:pt x="6950753" y="1295549"/>
                </a:cubicBezTo>
                <a:cubicBezTo>
                  <a:pt x="6950753" y="1303571"/>
                  <a:pt x="6946378" y="1307946"/>
                  <a:pt x="6939085" y="1307946"/>
                </a:cubicBezTo>
                <a:cubicBezTo>
                  <a:pt x="6931063" y="1307946"/>
                  <a:pt x="6924500" y="1303571"/>
                  <a:pt x="6924500" y="1295549"/>
                </a:cubicBezTo>
                <a:cubicBezTo>
                  <a:pt x="6924500" y="1288256"/>
                  <a:pt x="6931063" y="1281693"/>
                  <a:pt x="6939085" y="1281693"/>
                </a:cubicBezTo>
                <a:close/>
                <a:moveTo>
                  <a:pt x="6867525" y="1281693"/>
                </a:moveTo>
                <a:cubicBezTo>
                  <a:pt x="6874088" y="1281693"/>
                  <a:pt x="6879922" y="1288256"/>
                  <a:pt x="6879922" y="1295549"/>
                </a:cubicBezTo>
                <a:cubicBezTo>
                  <a:pt x="6879922" y="1303571"/>
                  <a:pt x="6874088" y="1307946"/>
                  <a:pt x="6867525" y="1307946"/>
                </a:cubicBezTo>
                <a:cubicBezTo>
                  <a:pt x="6860232" y="1307946"/>
                  <a:pt x="6853669" y="1303571"/>
                  <a:pt x="6853669" y="1295549"/>
                </a:cubicBezTo>
                <a:cubicBezTo>
                  <a:pt x="6853669" y="1288256"/>
                  <a:pt x="6860232" y="1281693"/>
                  <a:pt x="6867525" y="1281693"/>
                </a:cubicBezTo>
                <a:close/>
                <a:moveTo>
                  <a:pt x="6796696" y="1281693"/>
                </a:moveTo>
                <a:cubicBezTo>
                  <a:pt x="6803259" y="1281693"/>
                  <a:pt x="6809093" y="1288256"/>
                  <a:pt x="6809093" y="1295549"/>
                </a:cubicBezTo>
                <a:cubicBezTo>
                  <a:pt x="6809093" y="1303571"/>
                  <a:pt x="6803259" y="1307946"/>
                  <a:pt x="6796696" y="1307946"/>
                </a:cubicBezTo>
                <a:cubicBezTo>
                  <a:pt x="6789403" y="1307946"/>
                  <a:pt x="6782840" y="1303571"/>
                  <a:pt x="6782840" y="1295549"/>
                </a:cubicBezTo>
                <a:cubicBezTo>
                  <a:pt x="6782840" y="1288256"/>
                  <a:pt x="6789403" y="1281693"/>
                  <a:pt x="6796696" y="1281693"/>
                </a:cubicBezTo>
                <a:close/>
                <a:moveTo>
                  <a:pt x="6724405" y="1281693"/>
                </a:moveTo>
                <a:cubicBezTo>
                  <a:pt x="6732427" y="1281693"/>
                  <a:pt x="6738261" y="1288256"/>
                  <a:pt x="6738261" y="1295549"/>
                </a:cubicBezTo>
                <a:cubicBezTo>
                  <a:pt x="6738261" y="1303571"/>
                  <a:pt x="6732427" y="1307946"/>
                  <a:pt x="6724405" y="1307946"/>
                </a:cubicBezTo>
                <a:cubicBezTo>
                  <a:pt x="6718571" y="1307946"/>
                  <a:pt x="6712008" y="1303571"/>
                  <a:pt x="6712008" y="1295549"/>
                </a:cubicBezTo>
                <a:cubicBezTo>
                  <a:pt x="6712008" y="1288256"/>
                  <a:pt x="6718571" y="1281693"/>
                  <a:pt x="6724405" y="1281693"/>
                </a:cubicBezTo>
                <a:close/>
                <a:moveTo>
                  <a:pt x="6653576" y="1281693"/>
                </a:moveTo>
                <a:cubicBezTo>
                  <a:pt x="6660869" y="1281693"/>
                  <a:pt x="6667432" y="1288256"/>
                  <a:pt x="6667432" y="1295549"/>
                </a:cubicBezTo>
                <a:cubicBezTo>
                  <a:pt x="6667432" y="1303571"/>
                  <a:pt x="6660869" y="1307946"/>
                  <a:pt x="6653576" y="1307946"/>
                </a:cubicBezTo>
                <a:cubicBezTo>
                  <a:pt x="6647013" y="1307946"/>
                  <a:pt x="6641179" y="1303571"/>
                  <a:pt x="6641179" y="1295549"/>
                </a:cubicBezTo>
                <a:cubicBezTo>
                  <a:pt x="6641179" y="1288256"/>
                  <a:pt x="6647013" y="1281693"/>
                  <a:pt x="6653576" y="1281693"/>
                </a:cubicBezTo>
                <a:close/>
                <a:moveTo>
                  <a:pt x="6582745" y="1281693"/>
                </a:moveTo>
                <a:cubicBezTo>
                  <a:pt x="6590038" y="1281693"/>
                  <a:pt x="6596601" y="1288256"/>
                  <a:pt x="6596601" y="1295549"/>
                </a:cubicBezTo>
                <a:cubicBezTo>
                  <a:pt x="6596601" y="1303571"/>
                  <a:pt x="6590038" y="1307946"/>
                  <a:pt x="6582745" y="1307946"/>
                </a:cubicBezTo>
                <a:cubicBezTo>
                  <a:pt x="6574723" y="1307946"/>
                  <a:pt x="6570348" y="1303571"/>
                  <a:pt x="6570348" y="1295549"/>
                </a:cubicBezTo>
                <a:cubicBezTo>
                  <a:pt x="6570348" y="1288256"/>
                  <a:pt x="6574723" y="1281693"/>
                  <a:pt x="6582745" y="1281693"/>
                </a:cubicBezTo>
                <a:close/>
                <a:moveTo>
                  <a:pt x="6510933" y="1281693"/>
                </a:moveTo>
                <a:cubicBezTo>
                  <a:pt x="6518717" y="1281693"/>
                  <a:pt x="6525722" y="1288256"/>
                  <a:pt x="6525722" y="1295549"/>
                </a:cubicBezTo>
                <a:cubicBezTo>
                  <a:pt x="6525722" y="1303571"/>
                  <a:pt x="6518717" y="1307946"/>
                  <a:pt x="6510933" y="1307946"/>
                </a:cubicBezTo>
                <a:cubicBezTo>
                  <a:pt x="6502371" y="1307946"/>
                  <a:pt x="6496144" y="1303571"/>
                  <a:pt x="6496144" y="1295549"/>
                </a:cubicBezTo>
                <a:cubicBezTo>
                  <a:pt x="6496144" y="1288256"/>
                  <a:pt x="6502371" y="1281693"/>
                  <a:pt x="6510933" y="1281693"/>
                </a:cubicBezTo>
                <a:close/>
                <a:moveTo>
                  <a:pt x="6440492" y="1281693"/>
                </a:moveTo>
                <a:cubicBezTo>
                  <a:pt x="6448081" y="1281693"/>
                  <a:pt x="6454911" y="1288256"/>
                  <a:pt x="6454911" y="1295549"/>
                </a:cubicBezTo>
                <a:cubicBezTo>
                  <a:pt x="6454911" y="1303571"/>
                  <a:pt x="6448081" y="1307946"/>
                  <a:pt x="6440492" y="1307946"/>
                </a:cubicBezTo>
                <a:cubicBezTo>
                  <a:pt x="6432145" y="1307946"/>
                  <a:pt x="6425315" y="1303571"/>
                  <a:pt x="6425315" y="1295549"/>
                </a:cubicBezTo>
                <a:cubicBezTo>
                  <a:pt x="6425315" y="1288256"/>
                  <a:pt x="6432145" y="1281693"/>
                  <a:pt x="6440492" y="1281693"/>
                </a:cubicBezTo>
                <a:close/>
                <a:moveTo>
                  <a:pt x="6369273" y="1281693"/>
                </a:moveTo>
                <a:cubicBezTo>
                  <a:pt x="6377835" y="1281693"/>
                  <a:pt x="6384062" y="1288698"/>
                  <a:pt x="6384062" y="1296482"/>
                </a:cubicBezTo>
                <a:cubicBezTo>
                  <a:pt x="6384062" y="1305044"/>
                  <a:pt x="6377835" y="1311271"/>
                  <a:pt x="6369273" y="1311271"/>
                </a:cubicBezTo>
                <a:cubicBezTo>
                  <a:pt x="6361489" y="1311271"/>
                  <a:pt x="6354484" y="1305044"/>
                  <a:pt x="6354484" y="1296482"/>
                </a:cubicBezTo>
                <a:cubicBezTo>
                  <a:pt x="6354484" y="1288698"/>
                  <a:pt x="6361489" y="1281693"/>
                  <a:pt x="6369273" y="1281693"/>
                </a:cubicBezTo>
                <a:close/>
                <a:moveTo>
                  <a:pt x="5799257" y="1281693"/>
                </a:moveTo>
                <a:cubicBezTo>
                  <a:pt x="5807819" y="1281693"/>
                  <a:pt x="5814045" y="1288698"/>
                  <a:pt x="5814045" y="1296482"/>
                </a:cubicBezTo>
                <a:cubicBezTo>
                  <a:pt x="5814045" y="1305044"/>
                  <a:pt x="5807819" y="1311271"/>
                  <a:pt x="5799257" y="1311271"/>
                </a:cubicBezTo>
                <a:cubicBezTo>
                  <a:pt x="5791474" y="1311271"/>
                  <a:pt x="5784469" y="1305044"/>
                  <a:pt x="5784469" y="1296482"/>
                </a:cubicBezTo>
                <a:cubicBezTo>
                  <a:pt x="5784469" y="1288698"/>
                  <a:pt x="5791474" y="1281693"/>
                  <a:pt x="5799257" y="1281693"/>
                </a:cubicBezTo>
                <a:close/>
                <a:moveTo>
                  <a:pt x="5724122" y="1281693"/>
                </a:moveTo>
                <a:cubicBezTo>
                  <a:pt x="5732144" y="1281693"/>
                  <a:pt x="5736519" y="1288698"/>
                  <a:pt x="5736519" y="1296482"/>
                </a:cubicBezTo>
                <a:cubicBezTo>
                  <a:pt x="5736519" y="1305044"/>
                  <a:pt x="5732144" y="1311271"/>
                  <a:pt x="5724122" y="1311271"/>
                </a:cubicBezTo>
                <a:cubicBezTo>
                  <a:pt x="5716100" y="1311271"/>
                  <a:pt x="5710266" y="1305044"/>
                  <a:pt x="5710266" y="1296482"/>
                </a:cubicBezTo>
                <a:cubicBezTo>
                  <a:pt x="5710266" y="1288698"/>
                  <a:pt x="5716100" y="1281693"/>
                  <a:pt x="5724122" y="1281693"/>
                </a:cubicBezTo>
                <a:close/>
                <a:moveTo>
                  <a:pt x="5653291" y="1281693"/>
                </a:moveTo>
                <a:cubicBezTo>
                  <a:pt x="5659125" y="1281693"/>
                  <a:pt x="5665688" y="1288698"/>
                  <a:pt x="5665688" y="1296482"/>
                </a:cubicBezTo>
                <a:cubicBezTo>
                  <a:pt x="5665688" y="1305044"/>
                  <a:pt x="5659125" y="1311271"/>
                  <a:pt x="5653291" y="1311271"/>
                </a:cubicBezTo>
                <a:cubicBezTo>
                  <a:pt x="5645269" y="1311271"/>
                  <a:pt x="5639435" y="1305044"/>
                  <a:pt x="5639435" y="1296482"/>
                </a:cubicBezTo>
                <a:cubicBezTo>
                  <a:pt x="5639435" y="1288698"/>
                  <a:pt x="5645269" y="1281693"/>
                  <a:pt x="5653291" y="1281693"/>
                </a:cubicBezTo>
                <a:close/>
                <a:moveTo>
                  <a:pt x="5582461" y="1281693"/>
                </a:moveTo>
                <a:cubicBezTo>
                  <a:pt x="5588295" y="1281693"/>
                  <a:pt x="5594858" y="1288698"/>
                  <a:pt x="5594858" y="1296482"/>
                </a:cubicBezTo>
                <a:cubicBezTo>
                  <a:pt x="5594858" y="1305044"/>
                  <a:pt x="5588295" y="1311271"/>
                  <a:pt x="5582461" y="1311271"/>
                </a:cubicBezTo>
                <a:cubicBezTo>
                  <a:pt x="5574439" y="1311271"/>
                  <a:pt x="5568605" y="1305044"/>
                  <a:pt x="5568605" y="1296482"/>
                </a:cubicBezTo>
                <a:cubicBezTo>
                  <a:pt x="5568605" y="1288698"/>
                  <a:pt x="5574439" y="1281693"/>
                  <a:pt x="5582461" y="1281693"/>
                </a:cubicBezTo>
                <a:close/>
                <a:moveTo>
                  <a:pt x="5510171" y="1281693"/>
                </a:moveTo>
                <a:cubicBezTo>
                  <a:pt x="5517464" y="1281693"/>
                  <a:pt x="5524027" y="1288698"/>
                  <a:pt x="5524027" y="1296482"/>
                </a:cubicBezTo>
                <a:cubicBezTo>
                  <a:pt x="5524027" y="1305044"/>
                  <a:pt x="5517464" y="1311271"/>
                  <a:pt x="5510171" y="1311271"/>
                </a:cubicBezTo>
                <a:cubicBezTo>
                  <a:pt x="5503608" y="1311271"/>
                  <a:pt x="5497774" y="1305044"/>
                  <a:pt x="5497774" y="1296482"/>
                </a:cubicBezTo>
                <a:cubicBezTo>
                  <a:pt x="5497774" y="1288698"/>
                  <a:pt x="5503608" y="1281693"/>
                  <a:pt x="5510171" y="1281693"/>
                </a:cubicBezTo>
                <a:close/>
                <a:moveTo>
                  <a:pt x="5438937" y="1281693"/>
                </a:moveTo>
                <a:cubicBezTo>
                  <a:pt x="5447182" y="1281693"/>
                  <a:pt x="5453178" y="1288698"/>
                  <a:pt x="5453178" y="1296482"/>
                </a:cubicBezTo>
                <a:cubicBezTo>
                  <a:pt x="5453178" y="1305044"/>
                  <a:pt x="5447182" y="1311271"/>
                  <a:pt x="5438937" y="1311271"/>
                </a:cubicBezTo>
                <a:cubicBezTo>
                  <a:pt x="5432941" y="1311271"/>
                  <a:pt x="5426945" y="1305044"/>
                  <a:pt x="5426945" y="1296482"/>
                </a:cubicBezTo>
                <a:cubicBezTo>
                  <a:pt x="5426945" y="1288698"/>
                  <a:pt x="5432941" y="1281693"/>
                  <a:pt x="5438937" y="1281693"/>
                </a:cubicBezTo>
                <a:close/>
                <a:moveTo>
                  <a:pt x="5368510" y="1281693"/>
                </a:moveTo>
                <a:cubicBezTo>
                  <a:pt x="5376532" y="1281693"/>
                  <a:pt x="5382366" y="1288698"/>
                  <a:pt x="5382366" y="1296482"/>
                </a:cubicBezTo>
                <a:cubicBezTo>
                  <a:pt x="5382366" y="1305044"/>
                  <a:pt x="5376532" y="1311271"/>
                  <a:pt x="5368510" y="1311271"/>
                </a:cubicBezTo>
                <a:cubicBezTo>
                  <a:pt x="5361218" y="1311271"/>
                  <a:pt x="5356113" y="1305044"/>
                  <a:pt x="5356113" y="1296482"/>
                </a:cubicBezTo>
                <a:cubicBezTo>
                  <a:pt x="5356113" y="1288698"/>
                  <a:pt x="5361218" y="1281693"/>
                  <a:pt x="5368510" y="1281693"/>
                </a:cubicBezTo>
                <a:close/>
                <a:moveTo>
                  <a:pt x="5296699" y="1281693"/>
                </a:moveTo>
                <a:cubicBezTo>
                  <a:pt x="5305261" y="1281693"/>
                  <a:pt x="5311488" y="1288698"/>
                  <a:pt x="5311488" y="1296482"/>
                </a:cubicBezTo>
                <a:cubicBezTo>
                  <a:pt x="5311488" y="1305044"/>
                  <a:pt x="5305261" y="1311271"/>
                  <a:pt x="5296699" y="1311271"/>
                </a:cubicBezTo>
                <a:cubicBezTo>
                  <a:pt x="5288915" y="1311271"/>
                  <a:pt x="5281910" y="1305044"/>
                  <a:pt x="5281910" y="1296482"/>
                </a:cubicBezTo>
                <a:cubicBezTo>
                  <a:pt x="5281910" y="1288698"/>
                  <a:pt x="5288915" y="1281693"/>
                  <a:pt x="5296699" y="1281693"/>
                </a:cubicBezTo>
                <a:close/>
                <a:moveTo>
                  <a:pt x="5225869" y="1281693"/>
                </a:moveTo>
                <a:cubicBezTo>
                  <a:pt x="5234431" y="1281693"/>
                  <a:pt x="5240657" y="1288698"/>
                  <a:pt x="5240657" y="1296482"/>
                </a:cubicBezTo>
                <a:cubicBezTo>
                  <a:pt x="5240657" y="1305044"/>
                  <a:pt x="5234431" y="1311271"/>
                  <a:pt x="5225869" y="1311271"/>
                </a:cubicBezTo>
                <a:cubicBezTo>
                  <a:pt x="5217307" y="1311271"/>
                  <a:pt x="5211081" y="1305044"/>
                  <a:pt x="5211081" y="1296482"/>
                </a:cubicBezTo>
                <a:cubicBezTo>
                  <a:pt x="5211081" y="1288698"/>
                  <a:pt x="5217307" y="1281693"/>
                  <a:pt x="5225869" y="1281693"/>
                </a:cubicBezTo>
                <a:close/>
                <a:moveTo>
                  <a:pt x="5154105" y="1281693"/>
                </a:moveTo>
                <a:cubicBezTo>
                  <a:pt x="5162127" y="1281693"/>
                  <a:pt x="5166502" y="1288698"/>
                  <a:pt x="5166502" y="1296482"/>
                </a:cubicBezTo>
                <a:cubicBezTo>
                  <a:pt x="5166502" y="1305044"/>
                  <a:pt x="5162127" y="1311271"/>
                  <a:pt x="5154105" y="1311271"/>
                </a:cubicBezTo>
                <a:cubicBezTo>
                  <a:pt x="5146083" y="1311271"/>
                  <a:pt x="5140249" y="1305044"/>
                  <a:pt x="5140249" y="1296482"/>
                </a:cubicBezTo>
                <a:cubicBezTo>
                  <a:pt x="5140249" y="1288698"/>
                  <a:pt x="5146083" y="1281693"/>
                  <a:pt x="5154105" y="1281693"/>
                </a:cubicBezTo>
                <a:close/>
                <a:moveTo>
                  <a:pt x="5083276" y="1281693"/>
                </a:moveTo>
                <a:cubicBezTo>
                  <a:pt x="5089110" y="1281693"/>
                  <a:pt x="5095673" y="1288698"/>
                  <a:pt x="5095673" y="1296482"/>
                </a:cubicBezTo>
                <a:cubicBezTo>
                  <a:pt x="5095673" y="1305044"/>
                  <a:pt x="5089110" y="1311271"/>
                  <a:pt x="5083276" y="1311271"/>
                </a:cubicBezTo>
                <a:cubicBezTo>
                  <a:pt x="5075254" y="1311271"/>
                  <a:pt x="5069420" y="1305044"/>
                  <a:pt x="5069420" y="1296482"/>
                </a:cubicBezTo>
                <a:cubicBezTo>
                  <a:pt x="5069420" y="1288698"/>
                  <a:pt x="5075254" y="1281693"/>
                  <a:pt x="5083276" y="1281693"/>
                </a:cubicBezTo>
                <a:close/>
                <a:moveTo>
                  <a:pt x="5012445" y="1281693"/>
                </a:moveTo>
                <a:cubicBezTo>
                  <a:pt x="5018279" y="1281693"/>
                  <a:pt x="5024842" y="1288698"/>
                  <a:pt x="5024842" y="1296482"/>
                </a:cubicBezTo>
                <a:cubicBezTo>
                  <a:pt x="5024842" y="1305044"/>
                  <a:pt x="5018279" y="1311271"/>
                  <a:pt x="5012445" y="1311271"/>
                </a:cubicBezTo>
                <a:cubicBezTo>
                  <a:pt x="5004423" y="1311271"/>
                  <a:pt x="4998589" y="1305044"/>
                  <a:pt x="4998589" y="1296482"/>
                </a:cubicBezTo>
                <a:cubicBezTo>
                  <a:pt x="4998589" y="1288698"/>
                  <a:pt x="5004423" y="1281693"/>
                  <a:pt x="5012445" y="1281693"/>
                </a:cubicBezTo>
                <a:close/>
                <a:moveTo>
                  <a:pt x="4940157" y="1281693"/>
                </a:moveTo>
                <a:cubicBezTo>
                  <a:pt x="4948179" y="1281693"/>
                  <a:pt x="4954013" y="1288698"/>
                  <a:pt x="4954013" y="1296482"/>
                </a:cubicBezTo>
                <a:cubicBezTo>
                  <a:pt x="4954013" y="1305044"/>
                  <a:pt x="4948179" y="1311271"/>
                  <a:pt x="4940157" y="1311271"/>
                </a:cubicBezTo>
                <a:cubicBezTo>
                  <a:pt x="4934323" y="1311271"/>
                  <a:pt x="4927760" y="1305044"/>
                  <a:pt x="4927760" y="1296482"/>
                </a:cubicBezTo>
                <a:cubicBezTo>
                  <a:pt x="4927760" y="1288698"/>
                  <a:pt x="4934323" y="1281693"/>
                  <a:pt x="4940157" y="1281693"/>
                </a:cubicBezTo>
                <a:close/>
                <a:moveTo>
                  <a:pt x="4865953" y="1281693"/>
                </a:moveTo>
                <a:cubicBezTo>
                  <a:pt x="4873975" y="1281693"/>
                  <a:pt x="4879809" y="1288698"/>
                  <a:pt x="4879809" y="1296482"/>
                </a:cubicBezTo>
                <a:cubicBezTo>
                  <a:pt x="4879809" y="1305044"/>
                  <a:pt x="4873975" y="1311271"/>
                  <a:pt x="4865953" y="1311271"/>
                </a:cubicBezTo>
                <a:cubicBezTo>
                  <a:pt x="4860119" y="1311271"/>
                  <a:pt x="4853556" y="1305044"/>
                  <a:pt x="4853556" y="1296482"/>
                </a:cubicBezTo>
                <a:cubicBezTo>
                  <a:pt x="4853556" y="1288698"/>
                  <a:pt x="4860119" y="1281693"/>
                  <a:pt x="4865953" y="1281693"/>
                </a:cubicBezTo>
                <a:close/>
                <a:moveTo>
                  <a:pt x="4795122" y="1281693"/>
                </a:moveTo>
                <a:cubicBezTo>
                  <a:pt x="4803144" y="1281693"/>
                  <a:pt x="4808978" y="1288698"/>
                  <a:pt x="4808978" y="1296482"/>
                </a:cubicBezTo>
                <a:cubicBezTo>
                  <a:pt x="4808978" y="1305044"/>
                  <a:pt x="4803144" y="1311271"/>
                  <a:pt x="4795122" y="1311271"/>
                </a:cubicBezTo>
                <a:cubicBezTo>
                  <a:pt x="4787830" y="1311271"/>
                  <a:pt x="4782725" y="1305044"/>
                  <a:pt x="4782725" y="1296482"/>
                </a:cubicBezTo>
                <a:cubicBezTo>
                  <a:pt x="4782725" y="1288698"/>
                  <a:pt x="4787830" y="1281693"/>
                  <a:pt x="4795122" y="1281693"/>
                </a:cubicBezTo>
                <a:close/>
                <a:moveTo>
                  <a:pt x="4726684" y="1281693"/>
                </a:moveTo>
                <a:cubicBezTo>
                  <a:pt x="4735246" y="1281693"/>
                  <a:pt x="4741472" y="1288698"/>
                  <a:pt x="4741472" y="1296482"/>
                </a:cubicBezTo>
                <a:cubicBezTo>
                  <a:pt x="4741472" y="1305044"/>
                  <a:pt x="4735246" y="1311271"/>
                  <a:pt x="4726684" y="1311271"/>
                </a:cubicBezTo>
                <a:cubicBezTo>
                  <a:pt x="4718122" y="1311271"/>
                  <a:pt x="4711896" y="1305044"/>
                  <a:pt x="4711896" y="1296482"/>
                </a:cubicBezTo>
                <a:cubicBezTo>
                  <a:pt x="4711896" y="1288698"/>
                  <a:pt x="4718122" y="1281693"/>
                  <a:pt x="4726684" y="1281693"/>
                </a:cubicBezTo>
                <a:close/>
                <a:moveTo>
                  <a:pt x="4655853" y="1281693"/>
                </a:moveTo>
                <a:cubicBezTo>
                  <a:pt x="4663637" y="1281693"/>
                  <a:pt x="4670642" y="1286798"/>
                  <a:pt x="4670642" y="1294090"/>
                </a:cubicBezTo>
                <a:cubicBezTo>
                  <a:pt x="4670642" y="1302112"/>
                  <a:pt x="4663637" y="1307946"/>
                  <a:pt x="4655853" y="1307946"/>
                </a:cubicBezTo>
                <a:cubicBezTo>
                  <a:pt x="4647291" y="1307946"/>
                  <a:pt x="4641064" y="1302112"/>
                  <a:pt x="4641064" y="1294090"/>
                </a:cubicBezTo>
                <a:cubicBezTo>
                  <a:pt x="4641064" y="1286798"/>
                  <a:pt x="4647291" y="1281693"/>
                  <a:pt x="4655853" y="1281693"/>
                </a:cubicBezTo>
                <a:close/>
                <a:moveTo>
                  <a:pt x="4585023" y="1281693"/>
                </a:moveTo>
                <a:cubicBezTo>
                  <a:pt x="4592806" y="1281693"/>
                  <a:pt x="4599811" y="1286798"/>
                  <a:pt x="4599811" y="1294090"/>
                </a:cubicBezTo>
                <a:cubicBezTo>
                  <a:pt x="4599811" y="1302112"/>
                  <a:pt x="4592806" y="1307946"/>
                  <a:pt x="4585023" y="1307946"/>
                </a:cubicBezTo>
                <a:cubicBezTo>
                  <a:pt x="4576461" y="1307946"/>
                  <a:pt x="4570235" y="1302112"/>
                  <a:pt x="4570235" y="1294090"/>
                </a:cubicBezTo>
                <a:cubicBezTo>
                  <a:pt x="4570235" y="1286798"/>
                  <a:pt x="4576461" y="1281693"/>
                  <a:pt x="4585023" y="1281693"/>
                </a:cubicBezTo>
                <a:close/>
                <a:moveTo>
                  <a:pt x="226355" y="1281693"/>
                </a:moveTo>
                <a:cubicBezTo>
                  <a:pt x="232189" y="1281693"/>
                  <a:pt x="238753" y="1288523"/>
                  <a:pt x="238753" y="1296871"/>
                </a:cubicBezTo>
                <a:cubicBezTo>
                  <a:pt x="238753" y="1304461"/>
                  <a:pt x="232189" y="1311291"/>
                  <a:pt x="226355" y="1311291"/>
                </a:cubicBezTo>
                <a:cubicBezTo>
                  <a:pt x="218333" y="1311291"/>
                  <a:pt x="212499" y="1304461"/>
                  <a:pt x="212499" y="1296871"/>
                </a:cubicBezTo>
                <a:cubicBezTo>
                  <a:pt x="212499" y="1288523"/>
                  <a:pt x="218333" y="1281693"/>
                  <a:pt x="226355" y="1281693"/>
                </a:cubicBezTo>
                <a:close/>
                <a:moveTo>
                  <a:pt x="155522" y="1281693"/>
                </a:moveTo>
                <a:cubicBezTo>
                  <a:pt x="161356" y="1281693"/>
                  <a:pt x="167919" y="1288523"/>
                  <a:pt x="167919" y="1296871"/>
                </a:cubicBezTo>
                <a:cubicBezTo>
                  <a:pt x="167919" y="1304461"/>
                  <a:pt x="161356" y="1311291"/>
                  <a:pt x="155522" y="1311291"/>
                </a:cubicBezTo>
                <a:cubicBezTo>
                  <a:pt x="147500" y="1311291"/>
                  <a:pt x="141666" y="1304461"/>
                  <a:pt x="141666" y="1296871"/>
                </a:cubicBezTo>
                <a:cubicBezTo>
                  <a:pt x="141666" y="1288523"/>
                  <a:pt x="147500" y="1281693"/>
                  <a:pt x="155522" y="1281693"/>
                </a:cubicBezTo>
                <a:close/>
                <a:moveTo>
                  <a:pt x="83234" y="1281693"/>
                </a:moveTo>
                <a:cubicBezTo>
                  <a:pt x="90526" y="1281693"/>
                  <a:pt x="97090" y="1288523"/>
                  <a:pt x="97090" y="1296871"/>
                </a:cubicBezTo>
                <a:cubicBezTo>
                  <a:pt x="97090" y="1304461"/>
                  <a:pt x="90526" y="1311291"/>
                  <a:pt x="83234" y="1311291"/>
                </a:cubicBezTo>
                <a:cubicBezTo>
                  <a:pt x="76670" y="1311291"/>
                  <a:pt x="70836" y="1304461"/>
                  <a:pt x="70836" y="1296871"/>
                </a:cubicBezTo>
                <a:cubicBezTo>
                  <a:pt x="70836" y="1288523"/>
                  <a:pt x="76670" y="1281693"/>
                  <a:pt x="83234" y="1281693"/>
                </a:cubicBezTo>
                <a:close/>
                <a:moveTo>
                  <a:pt x="11998" y="1281693"/>
                </a:moveTo>
                <a:cubicBezTo>
                  <a:pt x="20243" y="1281693"/>
                  <a:pt x="26239" y="1288523"/>
                  <a:pt x="26239" y="1296871"/>
                </a:cubicBezTo>
                <a:cubicBezTo>
                  <a:pt x="26239" y="1304461"/>
                  <a:pt x="20243" y="1311291"/>
                  <a:pt x="11998" y="1311291"/>
                </a:cubicBezTo>
                <a:cubicBezTo>
                  <a:pt x="6002" y="1311291"/>
                  <a:pt x="5" y="1304461"/>
                  <a:pt x="5" y="1296871"/>
                </a:cubicBezTo>
                <a:cubicBezTo>
                  <a:pt x="5" y="1288523"/>
                  <a:pt x="4503" y="1281693"/>
                  <a:pt x="11998" y="1281693"/>
                </a:cubicBezTo>
                <a:close/>
                <a:moveTo>
                  <a:pt x="7084322" y="1210863"/>
                </a:moveTo>
                <a:cubicBezTo>
                  <a:pt x="7092106" y="1210863"/>
                  <a:pt x="7099111" y="1217426"/>
                  <a:pt x="7099111" y="1224719"/>
                </a:cubicBezTo>
                <a:cubicBezTo>
                  <a:pt x="7099111" y="1231282"/>
                  <a:pt x="7092106" y="1237116"/>
                  <a:pt x="7084322" y="1237116"/>
                </a:cubicBezTo>
                <a:cubicBezTo>
                  <a:pt x="7075760" y="1237116"/>
                  <a:pt x="7069533" y="1231282"/>
                  <a:pt x="7069533" y="1224719"/>
                </a:cubicBezTo>
                <a:cubicBezTo>
                  <a:pt x="7069533" y="1217426"/>
                  <a:pt x="7075760" y="1210863"/>
                  <a:pt x="7084322" y="1210863"/>
                </a:cubicBezTo>
                <a:close/>
                <a:moveTo>
                  <a:pt x="7013492" y="1210863"/>
                </a:moveTo>
                <a:cubicBezTo>
                  <a:pt x="7021275" y="1210863"/>
                  <a:pt x="7028280" y="1217426"/>
                  <a:pt x="7028280" y="1224719"/>
                </a:cubicBezTo>
                <a:cubicBezTo>
                  <a:pt x="7028280" y="1231282"/>
                  <a:pt x="7021275" y="1237116"/>
                  <a:pt x="7013492" y="1237116"/>
                </a:cubicBezTo>
                <a:cubicBezTo>
                  <a:pt x="7004930" y="1237116"/>
                  <a:pt x="6998704" y="1231282"/>
                  <a:pt x="6998704" y="1224719"/>
                </a:cubicBezTo>
                <a:cubicBezTo>
                  <a:pt x="6998704" y="1217426"/>
                  <a:pt x="7004930" y="1210863"/>
                  <a:pt x="7013492" y="1210863"/>
                </a:cubicBezTo>
                <a:close/>
                <a:moveTo>
                  <a:pt x="6939085" y="1210863"/>
                </a:moveTo>
                <a:cubicBezTo>
                  <a:pt x="6946378" y="1210863"/>
                  <a:pt x="6950753" y="1217426"/>
                  <a:pt x="6950753" y="1224719"/>
                </a:cubicBezTo>
                <a:cubicBezTo>
                  <a:pt x="6950753" y="1231282"/>
                  <a:pt x="6946378" y="1237116"/>
                  <a:pt x="6939085" y="1237116"/>
                </a:cubicBezTo>
                <a:cubicBezTo>
                  <a:pt x="6931063" y="1237116"/>
                  <a:pt x="6924500" y="1231282"/>
                  <a:pt x="6924500" y="1224719"/>
                </a:cubicBezTo>
                <a:cubicBezTo>
                  <a:pt x="6924500" y="1217426"/>
                  <a:pt x="6931063" y="1210863"/>
                  <a:pt x="6939085" y="1210863"/>
                </a:cubicBezTo>
                <a:close/>
                <a:moveTo>
                  <a:pt x="6867525" y="1210863"/>
                </a:moveTo>
                <a:cubicBezTo>
                  <a:pt x="6874088" y="1210863"/>
                  <a:pt x="6879922" y="1217426"/>
                  <a:pt x="6879922" y="1224719"/>
                </a:cubicBezTo>
                <a:cubicBezTo>
                  <a:pt x="6879922" y="1231282"/>
                  <a:pt x="6874088" y="1237116"/>
                  <a:pt x="6867525" y="1237116"/>
                </a:cubicBezTo>
                <a:cubicBezTo>
                  <a:pt x="6860232" y="1237116"/>
                  <a:pt x="6853669" y="1231282"/>
                  <a:pt x="6853669" y="1224719"/>
                </a:cubicBezTo>
                <a:cubicBezTo>
                  <a:pt x="6853669" y="1217426"/>
                  <a:pt x="6860232" y="1210863"/>
                  <a:pt x="6867525" y="1210863"/>
                </a:cubicBezTo>
                <a:close/>
                <a:moveTo>
                  <a:pt x="6796696" y="1210863"/>
                </a:moveTo>
                <a:cubicBezTo>
                  <a:pt x="6803259" y="1210863"/>
                  <a:pt x="6809093" y="1217426"/>
                  <a:pt x="6809093" y="1224719"/>
                </a:cubicBezTo>
                <a:cubicBezTo>
                  <a:pt x="6809093" y="1231282"/>
                  <a:pt x="6803259" y="1237116"/>
                  <a:pt x="6796696" y="1237116"/>
                </a:cubicBezTo>
                <a:cubicBezTo>
                  <a:pt x="6789403" y="1237116"/>
                  <a:pt x="6782840" y="1231282"/>
                  <a:pt x="6782840" y="1224719"/>
                </a:cubicBezTo>
                <a:cubicBezTo>
                  <a:pt x="6782840" y="1217426"/>
                  <a:pt x="6789403" y="1210863"/>
                  <a:pt x="6796696" y="1210863"/>
                </a:cubicBezTo>
                <a:close/>
                <a:moveTo>
                  <a:pt x="6724405" y="1210863"/>
                </a:moveTo>
                <a:cubicBezTo>
                  <a:pt x="6732427" y="1210863"/>
                  <a:pt x="6738261" y="1217426"/>
                  <a:pt x="6738261" y="1224719"/>
                </a:cubicBezTo>
                <a:cubicBezTo>
                  <a:pt x="6738261" y="1231282"/>
                  <a:pt x="6732427" y="1237116"/>
                  <a:pt x="6724405" y="1237116"/>
                </a:cubicBezTo>
                <a:cubicBezTo>
                  <a:pt x="6718571" y="1237116"/>
                  <a:pt x="6712008" y="1231282"/>
                  <a:pt x="6712008" y="1224719"/>
                </a:cubicBezTo>
                <a:cubicBezTo>
                  <a:pt x="6712008" y="1217426"/>
                  <a:pt x="6718571" y="1210863"/>
                  <a:pt x="6724405" y="1210863"/>
                </a:cubicBezTo>
                <a:close/>
                <a:moveTo>
                  <a:pt x="6653576" y="1210863"/>
                </a:moveTo>
                <a:cubicBezTo>
                  <a:pt x="6660869" y="1210863"/>
                  <a:pt x="6667432" y="1217426"/>
                  <a:pt x="6667432" y="1224719"/>
                </a:cubicBezTo>
                <a:cubicBezTo>
                  <a:pt x="6667432" y="1231282"/>
                  <a:pt x="6660869" y="1237116"/>
                  <a:pt x="6653576" y="1237116"/>
                </a:cubicBezTo>
                <a:cubicBezTo>
                  <a:pt x="6647013" y="1237116"/>
                  <a:pt x="6641179" y="1231282"/>
                  <a:pt x="6641179" y="1224719"/>
                </a:cubicBezTo>
                <a:cubicBezTo>
                  <a:pt x="6641179" y="1217426"/>
                  <a:pt x="6647013" y="1210863"/>
                  <a:pt x="6653576" y="1210863"/>
                </a:cubicBezTo>
                <a:close/>
                <a:moveTo>
                  <a:pt x="6582745" y="1210863"/>
                </a:moveTo>
                <a:cubicBezTo>
                  <a:pt x="6590038" y="1210863"/>
                  <a:pt x="6596601" y="1217426"/>
                  <a:pt x="6596601" y="1224719"/>
                </a:cubicBezTo>
                <a:cubicBezTo>
                  <a:pt x="6596601" y="1231282"/>
                  <a:pt x="6590038" y="1237116"/>
                  <a:pt x="6582745" y="1237116"/>
                </a:cubicBezTo>
                <a:cubicBezTo>
                  <a:pt x="6574723" y="1237116"/>
                  <a:pt x="6570348" y="1231282"/>
                  <a:pt x="6570348" y="1224719"/>
                </a:cubicBezTo>
                <a:cubicBezTo>
                  <a:pt x="6570348" y="1217426"/>
                  <a:pt x="6574723" y="1210863"/>
                  <a:pt x="6582745" y="1210863"/>
                </a:cubicBezTo>
                <a:close/>
                <a:moveTo>
                  <a:pt x="6510933" y="1210863"/>
                </a:moveTo>
                <a:cubicBezTo>
                  <a:pt x="6518717" y="1210863"/>
                  <a:pt x="6525722" y="1217426"/>
                  <a:pt x="6525722" y="1224719"/>
                </a:cubicBezTo>
                <a:cubicBezTo>
                  <a:pt x="6525722" y="1231282"/>
                  <a:pt x="6518717" y="1237116"/>
                  <a:pt x="6510933" y="1237116"/>
                </a:cubicBezTo>
                <a:cubicBezTo>
                  <a:pt x="6502371" y="1237116"/>
                  <a:pt x="6496144" y="1231282"/>
                  <a:pt x="6496144" y="1224719"/>
                </a:cubicBezTo>
                <a:cubicBezTo>
                  <a:pt x="6496144" y="1217426"/>
                  <a:pt x="6502371" y="1210863"/>
                  <a:pt x="6510933" y="1210863"/>
                </a:cubicBezTo>
                <a:close/>
                <a:moveTo>
                  <a:pt x="6440492" y="1210863"/>
                </a:moveTo>
                <a:cubicBezTo>
                  <a:pt x="6448081" y="1210863"/>
                  <a:pt x="6454911" y="1217426"/>
                  <a:pt x="6454911" y="1224719"/>
                </a:cubicBezTo>
                <a:cubicBezTo>
                  <a:pt x="6454911" y="1231282"/>
                  <a:pt x="6448081" y="1237116"/>
                  <a:pt x="6440492" y="1237116"/>
                </a:cubicBezTo>
                <a:cubicBezTo>
                  <a:pt x="6432145" y="1237116"/>
                  <a:pt x="6425315" y="1232741"/>
                  <a:pt x="6425315" y="1224719"/>
                </a:cubicBezTo>
                <a:cubicBezTo>
                  <a:pt x="6425315" y="1217426"/>
                  <a:pt x="6432145" y="1210863"/>
                  <a:pt x="6440492" y="1210863"/>
                </a:cubicBezTo>
                <a:close/>
                <a:moveTo>
                  <a:pt x="6368340" y="1210863"/>
                </a:moveTo>
                <a:cubicBezTo>
                  <a:pt x="6376362" y="1210863"/>
                  <a:pt x="6380737" y="1217426"/>
                  <a:pt x="6380737" y="1224719"/>
                </a:cubicBezTo>
                <a:cubicBezTo>
                  <a:pt x="6380737" y="1232741"/>
                  <a:pt x="6376362" y="1237116"/>
                  <a:pt x="6368340" y="1237116"/>
                </a:cubicBezTo>
                <a:cubicBezTo>
                  <a:pt x="6361047" y="1237116"/>
                  <a:pt x="6354484" y="1232741"/>
                  <a:pt x="6354484" y="1224719"/>
                </a:cubicBezTo>
                <a:cubicBezTo>
                  <a:pt x="6354484" y="1217426"/>
                  <a:pt x="6361047" y="1210863"/>
                  <a:pt x="6368340" y="1210863"/>
                </a:cubicBezTo>
                <a:close/>
                <a:moveTo>
                  <a:pt x="6297511" y="1210863"/>
                </a:moveTo>
                <a:cubicBezTo>
                  <a:pt x="6304074" y="1210863"/>
                  <a:pt x="6309908" y="1217426"/>
                  <a:pt x="6309908" y="1224719"/>
                </a:cubicBezTo>
                <a:cubicBezTo>
                  <a:pt x="6309908" y="1232741"/>
                  <a:pt x="6304074" y="1237116"/>
                  <a:pt x="6297511" y="1237116"/>
                </a:cubicBezTo>
                <a:cubicBezTo>
                  <a:pt x="6290218" y="1237116"/>
                  <a:pt x="6283655" y="1232741"/>
                  <a:pt x="6283655" y="1224719"/>
                </a:cubicBezTo>
                <a:cubicBezTo>
                  <a:pt x="6283655" y="1217426"/>
                  <a:pt x="6290218" y="1210863"/>
                  <a:pt x="6297511" y="1210863"/>
                </a:cubicBezTo>
                <a:close/>
                <a:moveTo>
                  <a:pt x="6226679" y="1210863"/>
                </a:moveTo>
                <a:cubicBezTo>
                  <a:pt x="6233242" y="1210863"/>
                  <a:pt x="6239076" y="1217426"/>
                  <a:pt x="6239076" y="1224719"/>
                </a:cubicBezTo>
                <a:cubicBezTo>
                  <a:pt x="6239076" y="1232741"/>
                  <a:pt x="6233242" y="1237116"/>
                  <a:pt x="6226679" y="1237116"/>
                </a:cubicBezTo>
                <a:cubicBezTo>
                  <a:pt x="6219386" y="1237116"/>
                  <a:pt x="6212823" y="1232741"/>
                  <a:pt x="6212823" y="1224719"/>
                </a:cubicBezTo>
                <a:cubicBezTo>
                  <a:pt x="6212823" y="1217426"/>
                  <a:pt x="6219386" y="1210863"/>
                  <a:pt x="6226679" y="1210863"/>
                </a:cubicBezTo>
                <a:close/>
                <a:moveTo>
                  <a:pt x="6154391" y="1210863"/>
                </a:moveTo>
                <a:cubicBezTo>
                  <a:pt x="6161684" y="1210863"/>
                  <a:pt x="6168247" y="1217426"/>
                  <a:pt x="6168247" y="1224719"/>
                </a:cubicBezTo>
                <a:cubicBezTo>
                  <a:pt x="6168247" y="1232741"/>
                  <a:pt x="6161684" y="1237116"/>
                  <a:pt x="6154391" y="1237116"/>
                </a:cubicBezTo>
                <a:cubicBezTo>
                  <a:pt x="6147828" y="1237116"/>
                  <a:pt x="6141994" y="1232741"/>
                  <a:pt x="6141994" y="1224719"/>
                </a:cubicBezTo>
                <a:cubicBezTo>
                  <a:pt x="6141994" y="1217426"/>
                  <a:pt x="6147828" y="1210863"/>
                  <a:pt x="6154391" y="1210863"/>
                </a:cubicBezTo>
                <a:close/>
                <a:moveTo>
                  <a:pt x="6083559" y="1210863"/>
                </a:moveTo>
                <a:cubicBezTo>
                  <a:pt x="6090852" y="1210863"/>
                  <a:pt x="6097415" y="1217426"/>
                  <a:pt x="6097415" y="1224719"/>
                </a:cubicBezTo>
                <a:cubicBezTo>
                  <a:pt x="6097415" y="1232741"/>
                  <a:pt x="6090852" y="1237116"/>
                  <a:pt x="6083559" y="1237116"/>
                </a:cubicBezTo>
                <a:cubicBezTo>
                  <a:pt x="6076996" y="1237116"/>
                  <a:pt x="6071162" y="1232741"/>
                  <a:pt x="6071162" y="1224719"/>
                </a:cubicBezTo>
                <a:cubicBezTo>
                  <a:pt x="6071162" y="1217426"/>
                  <a:pt x="6076996" y="1210863"/>
                  <a:pt x="6083559" y="1210863"/>
                </a:cubicBezTo>
                <a:close/>
                <a:moveTo>
                  <a:pt x="6009356" y="1210863"/>
                </a:moveTo>
                <a:cubicBezTo>
                  <a:pt x="6016649" y="1210863"/>
                  <a:pt x="6023212" y="1217426"/>
                  <a:pt x="6023212" y="1224719"/>
                </a:cubicBezTo>
                <a:cubicBezTo>
                  <a:pt x="6023212" y="1232741"/>
                  <a:pt x="6016649" y="1237116"/>
                  <a:pt x="6009356" y="1237116"/>
                </a:cubicBezTo>
                <a:cubicBezTo>
                  <a:pt x="6001334" y="1237116"/>
                  <a:pt x="5996959" y="1232741"/>
                  <a:pt x="5996959" y="1224719"/>
                </a:cubicBezTo>
                <a:cubicBezTo>
                  <a:pt x="5996959" y="1217426"/>
                  <a:pt x="6001334" y="1210863"/>
                  <a:pt x="6009356" y="1210863"/>
                </a:cubicBezTo>
                <a:close/>
                <a:moveTo>
                  <a:pt x="5940548" y="1210863"/>
                </a:moveTo>
                <a:cubicBezTo>
                  <a:pt x="5948896" y="1210863"/>
                  <a:pt x="5955726" y="1217426"/>
                  <a:pt x="5955726" y="1224719"/>
                </a:cubicBezTo>
                <a:cubicBezTo>
                  <a:pt x="5955726" y="1232741"/>
                  <a:pt x="5948896" y="1237116"/>
                  <a:pt x="5940548" y="1237116"/>
                </a:cubicBezTo>
                <a:cubicBezTo>
                  <a:pt x="5932960" y="1237116"/>
                  <a:pt x="5926130" y="1232741"/>
                  <a:pt x="5926130" y="1224719"/>
                </a:cubicBezTo>
                <a:cubicBezTo>
                  <a:pt x="5926130" y="1217426"/>
                  <a:pt x="5932960" y="1210863"/>
                  <a:pt x="5940548" y="1210863"/>
                </a:cubicBezTo>
                <a:close/>
                <a:moveTo>
                  <a:pt x="5870088" y="1210863"/>
                </a:moveTo>
                <a:cubicBezTo>
                  <a:pt x="5878650" y="1210863"/>
                  <a:pt x="5884877" y="1217426"/>
                  <a:pt x="5884877" y="1224719"/>
                </a:cubicBezTo>
                <a:cubicBezTo>
                  <a:pt x="5884877" y="1232741"/>
                  <a:pt x="5878650" y="1237116"/>
                  <a:pt x="5870088" y="1237116"/>
                </a:cubicBezTo>
                <a:cubicBezTo>
                  <a:pt x="5862304" y="1237116"/>
                  <a:pt x="5855299" y="1232741"/>
                  <a:pt x="5855299" y="1224719"/>
                </a:cubicBezTo>
                <a:cubicBezTo>
                  <a:pt x="5855299" y="1217426"/>
                  <a:pt x="5862304" y="1210863"/>
                  <a:pt x="5870088" y="1210863"/>
                </a:cubicBezTo>
                <a:close/>
                <a:moveTo>
                  <a:pt x="5799257" y="1210863"/>
                </a:moveTo>
                <a:cubicBezTo>
                  <a:pt x="5807819" y="1210863"/>
                  <a:pt x="5814045" y="1217426"/>
                  <a:pt x="5814045" y="1224719"/>
                </a:cubicBezTo>
                <a:cubicBezTo>
                  <a:pt x="5814045" y="1232741"/>
                  <a:pt x="5807819" y="1237116"/>
                  <a:pt x="5799257" y="1237116"/>
                </a:cubicBezTo>
                <a:cubicBezTo>
                  <a:pt x="5791474" y="1237116"/>
                  <a:pt x="5784469" y="1232741"/>
                  <a:pt x="5784469" y="1224719"/>
                </a:cubicBezTo>
                <a:cubicBezTo>
                  <a:pt x="5784469" y="1217426"/>
                  <a:pt x="5791474" y="1210863"/>
                  <a:pt x="5799257" y="1210863"/>
                </a:cubicBezTo>
                <a:close/>
                <a:moveTo>
                  <a:pt x="5724122" y="1210863"/>
                </a:moveTo>
                <a:cubicBezTo>
                  <a:pt x="5732144" y="1210863"/>
                  <a:pt x="5736519" y="1217868"/>
                  <a:pt x="5736519" y="1225651"/>
                </a:cubicBezTo>
                <a:cubicBezTo>
                  <a:pt x="5736519" y="1234213"/>
                  <a:pt x="5732144" y="1240439"/>
                  <a:pt x="5724122" y="1240439"/>
                </a:cubicBezTo>
                <a:cubicBezTo>
                  <a:pt x="5716100" y="1240439"/>
                  <a:pt x="5710266" y="1234213"/>
                  <a:pt x="5710266" y="1225651"/>
                </a:cubicBezTo>
                <a:cubicBezTo>
                  <a:pt x="5710266" y="1217868"/>
                  <a:pt x="5716100" y="1210863"/>
                  <a:pt x="5724122" y="1210863"/>
                </a:cubicBezTo>
                <a:close/>
                <a:moveTo>
                  <a:pt x="5653291" y="1210863"/>
                </a:moveTo>
                <a:cubicBezTo>
                  <a:pt x="5659125" y="1210863"/>
                  <a:pt x="5665688" y="1217868"/>
                  <a:pt x="5665688" y="1225651"/>
                </a:cubicBezTo>
                <a:cubicBezTo>
                  <a:pt x="5665688" y="1234213"/>
                  <a:pt x="5659125" y="1240439"/>
                  <a:pt x="5653291" y="1240439"/>
                </a:cubicBezTo>
                <a:cubicBezTo>
                  <a:pt x="5645269" y="1240439"/>
                  <a:pt x="5639435" y="1234213"/>
                  <a:pt x="5639435" y="1225651"/>
                </a:cubicBezTo>
                <a:cubicBezTo>
                  <a:pt x="5639435" y="1217868"/>
                  <a:pt x="5645269" y="1210863"/>
                  <a:pt x="5653291" y="1210863"/>
                </a:cubicBezTo>
                <a:close/>
                <a:moveTo>
                  <a:pt x="5582461" y="1210863"/>
                </a:moveTo>
                <a:cubicBezTo>
                  <a:pt x="5588295" y="1210863"/>
                  <a:pt x="5594858" y="1217868"/>
                  <a:pt x="5594858" y="1225651"/>
                </a:cubicBezTo>
                <a:cubicBezTo>
                  <a:pt x="5594858" y="1234213"/>
                  <a:pt x="5588295" y="1240439"/>
                  <a:pt x="5582461" y="1240439"/>
                </a:cubicBezTo>
                <a:cubicBezTo>
                  <a:pt x="5574439" y="1240439"/>
                  <a:pt x="5568605" y="1234213"/>
                  <a:pt x="5568605" y="1225651"/>
                </a:cubicBezTo>
                <a:cubicBezTo>
                  <a:pt x="5568605" y="1217868"/>
                  <a:pt x="5574439" y="1210863"/>
                  <a:pt x="5582461" y="1210863"/>
                </a:cubicBezTo>
                <a:close/>
                <a:moveTo>
                  <a:pt x="5510171" y="1210863"/>
                </a:moveTo>
                <a:cubicBezTo>
                  <a:pt x="5517464" y="1210863"/>
                  <a:pt x="5524027" y="1217868"/>
                  <a:pt x="5524027" y="1225651"/>
                </a:cubicBezTo>
                <a:cubicBezTo>
                  <a:pt x="5524027" y="1234213"/>
                  <a:pt x="5517464" y="1240439"/>
                  <a:pt x="5510171" y="1240439"/>
                </a:cubicBezTo>
                <a:cubicBezTo>
                  <a:pt x="5503608" y="1240439"/>
                  <a:pt x="5497774" y="1234213"/>
                  <a:pt x="5497774" y="1225651"/>
                </a:cubicBezTo>
                <a:cubicBezTo>
                  <a:pt x="5497774" y="1217868"/>
                  <a:pt x="5503608" y="1210863"/>
                  <a:pt x="5510171" y="1210863"/>
                </a:cubicBezTo>
                <a:close/>
                <a:moveTo>
                  <a:pt x="5438937" y="1210863"/>
                </a:moveTo>
                <a:cubicBezTo>
                  <a:pt x="5447182" y="1210863"/>
                  <a:pt x="5453178" y="1217868"/>
                  <a:pt x="5453178" y="1225651"/>
                </a:cubicBezTo>
                <a:cubicBezTo>
                  <a:pt x="5453178" y="1234213"/>
                  <a:pt x="5447182" y="1240439"/>
                  <a:pt x="5438937" y="1240439"/>
                </a:cubicBezTo>
                <a:cubicBezTo>
                  <a:pt x="5431442" y="1240439"/>
                  <a:pt x="5426945" y="1234213"/>
                  <a:pt x="5426945" y="1225651"/>
                </a:cubicBezTo>
                <a:cubicBezTo>
                  <a:pt x="5426945" y="1217868"/>
                  <a:pt x="5431442" y="1210863"/>
                  <a:pt x="5438937" y="1210863"/>
                </a:cubicBezTo>
                <a:close/>
                <a:moveTo>
                  <a:pt x="5367530" y="1210863"/>
                </a:moveTo>
                <a:cubicBezTo>
                  <a:pt x="5376092" y="1210863"/>
                  <a:pt x="5382318" y="1217868"/>
                  <a:pt x="5382318" y="1225651"/>
                </a:cubicBezTo>
                <a:cubicBezTo>
                  <a:pt x="5382318" y="1234213"/>
                  <a:pt x="5376092" y="1240439"/>
                  <a:pt x="5367530" y="1240439"/>
                </a:cubicBezTo>
                <a:cubicBezTo>
                  <a:pt x="5359747" y="1240439"/>
                  <a:pt x="5352742" y="1234213"/>
                  <a:pt x="5352742" y="1225651"/>
                </a:cubicBezTo>
                <a:cubicBezTo>
                  <a:pt x="5352742" y="1217868"/>
                  <a:pt x="5359747" y="1210863"/>
                  <a:pt x="5367530" y="1210863"/>
                </a:cubicBezTo>
                <a:close/>
                <a:moveTo>
                  <a:pt x="5296699" y="1210863"/>
                </a:moveTo>
                <a:cubicBezTo>
                  <a:pt x="5305261" y="1210863"/>
                  <a:pt x="5311488" y="1217868"/>
                  <a:pt x="5311488" y="1225651"/>
                </a:cubicBezTo>
                <a:cubicBezTo>
                  <a:pt x="5311488" y="1234213"/>
                  <a:pt x="5305261" y="1240439"/>
                  <a:pt x="5296699" y="1240439"/>
                </a:cubicBezTo>
                <a:cubicBezTo>
                  <a:pt x="5288915" y="1240439"/>
                  <a:pt x="5281910" y="1234213"/>
                  <a:pt x="5281910" y="1225651"/>
                </a:cubicBezTo>
                <a:cubicBezTo>
                  <a:pt x="5281910" y="1217868"/>
                  <a:pt x="5288915" y="1210863"/>
                  <a:pt x="5296699" y="1210863"/>
                </a:cubicBezTo>
                <a:close/>
                <a:moveTo>
                  <a:pt x="5225869" y="1210863"/>
                </a:moveTo>
                <a:cubicBezTo>
                  <a:pt x="5234431" y="1210863"/>
                  <a:pt x="5240657" y="1217868"/>
                  <a:pt x="5240657" y="1225651"/>
                </a:cubicBezTo>
                <a:cubicBezTo>
                  <a:pt x="5240657" y="1234213"/>
                  <a:pt x="5234431" y="1240439"/>
                  <a:pt x="5225869" y="1240439"/>
                </a:cubicBezTo>
                <a:cubicBezTo>
                  <a:pt x="5217307" y="1240439"/>
                  <a:pt x="5211081" y="1234213"/>
                  <a:pt x="5211081" y="1225651"/>
                </a:cubicBezTo>
                <a:cubicBezTo>
                  <a:pt x="5211081" y="1217868"/>
                  <a:pt x="5217307" y="1210863"/>
                  <a:pt x="5225869" y="1210863"/>
                </a:cubicBezTo>
                <a:close/>
                <a:moveTo>
                  <a:pt x="5154105" y="1210863"/>
                </a:moveTo>
                <a:cubicBezTo>
                  <a:pt x="5162127" y="1210863"/>
                  <a:pt x="5166502" y="1217868"/>
                  <a:pt x="5166502" y="1225651"/>
                </a:cubicBezTo>
                <a:cubicBezTo>
                  <a:pt x="5166502" y="1234213"/>
                  <a:pt x="5162127" y="1240439"/>
                  <a:pt x="5154105" y="1240439"/>
                </a:cubicBezTo>
                <a:cubicBezTo>
                  <a:pt x="5146083" y="1240439"/>
                  <a:pt x="5140249" y="1234213"/>
                  <a:pt x="5140249" y="1225651"/>
                </a:cubicBezTo>
                <a:cubicBezTo>
                  <a:pt x="5140249" y="1217868"/>
                  <a:pt x="5146083" y="1210863"/>
                  <a:pt x="5154105" y="1210863"/>
                </a:cubicBezTo>
                <a:close/>
                <a:moveTo>
                  <a:pt x="5083276" y="1210863"/>
                </a:moveTo>
                <a:cubicBezTo>
                  <a:pt x="5089110" y="1210863"/>
                  <a:pt x="5095673" y="1217868"/>
                  <a:pt x="5095673" y="1225651"/>
                </a:cubicBezTo>
                <a:cubicBezTo>
                  <a:pt x="5095673" y="1234213"/>
                  <a:pt x="5089110" y="1240439"/>
                  <a:pt x="5083276" y="1240439"/>
                </a:cubicBezTo>
                <a:cubicBezTo>
                  <a:pt x="5075254" y="1240439"/>
                  <a:pt x="5069420" y="1234213"/>
                  <a:pt x="5069420" y="1225651"/>
                </a:cubicBezTo>
                <a:cubicBezTo>
                  <a:pt x="5069420" y="1217868"/>
                  <a:pt x="5075254" y="1210863"/>
                  <a:pt x="5083276" y="1210863"/>
                </a:cubicBezTo>
                <a:close/>
                <a:moveTo>
                  <a:pt x="5012445" y="1210863"/>
                </a:moveTo>
                <a:cubicBezTo>
                  <a:pt x="5018279" y="1210863"/>
                  <a:pt x="5024842" y="1217868"/>
                  <a:pt x="5024842" y="1225651"/>
                </a:cubicBezTo>
                <a:cubicBezTo>
                  <a:pt x="5024842" y="1234213"/>
                  <a:pt x="5018279" y="1240439"/>
                  <a:pt x="5012445" y="1240439"/>
                </a:cubicBezTo>
                <a:cubicBezTo>
                  <a:pt x="5004423" y="1240439"/>
                  <a:pt x="4998589" y="1234213"/>
                  <a:pt x="4998589" y="1225651"/>
                </a:cubicBezTo>
                <a:cubicBezTo>
                  <a:pt x="4998589" y="1217868"/>
                  <a:pt x="5004423" y="1210863"/>
                  <a:pt x="5012445" y="1210863"/>
                </a:cubicBezTo>
                <a:close/>
                <a:moveTo>
                  <a:pt x="4940157" y="1210863"/>
                </a:moveTo>
                <a:cubicBezTo>
                  <a:pt x="4948179" y="1210863"/>
                  <a:pt x="4954013" y="1217868"/>
                  <a:pt x="4954013" y="1225651"/>
                </a:cubicBezTo>
                <a:cubicBezTo>
                  <a:pt x="4954013" y="1234213"/>
                  <a:pt x="4948179" y="1240439"/>
                  <a:pt x="4940157" y="1240439"/>
                </a:cubicBezTo>
                <a:cubicBezTo>
                  <a:pt x="4934323" y="1240439"/>
                  <a:pt x="4927760" y="1234213"/>
                  <a:pt x="4927760" y="1225651"/>
                </a:cubicBezTo>
                <a:cubicBezTo>
                  <a:pt x="4927760" y="1217868"/>
                  <a:pt x="4934323" y="1210863"/>
                  <a:pt x="4940157" y="1210863"/>
                </a:cubicBezTo>
                <a:close/>
                <a:moveTo>
                  <a:pt x="4865953" y="1210863"/>
                </a:moveTo>
                <a:cubicBezTo>
                  <a:pt x="4873975" y="1210863"/>
                  <a:pt x="4879809" y="1217868"/>
                  <a:pt x="4879809" y="1225651"/>
                </a:cubicBezTo>
                <a:cubicBezTo>
                  <a:pt x="4879809" y="1234213"/>
                  <a:pt x="4873975" y="1240439"/>
                  <a:pt x="4865953" y="1240439"/>
                </a:cubicBezTo>
                <a:cubicBezTo>
                  <a:pt x="4860119" y="1240439"/>
                  <a:pt x="4853556" y="1234213"/>
                  <a:pt x="4853556" y="1225651"/>
                </a:cubicBezTo>
                <a:cubicBezTo>
                  <a:pt x="4853556" y="1217868"/>
                  <a:pt x="4860119" y="1210863"/>
                  <a:pt x="4865953" y="1210863"/>
                </a:cubicBezTo>
                <a:close/>
                <a:moveTo>
                  <a:pt x="4795122" y="1210863"/>
                </a:moveTo>
                <a:cubicBezTo>
                  <a:pt x="4803144" y="1210863"/>
                  <a:pt x="4808978" y="1217868"/>
                  <a:pt x="4808978" y="1225651"/>
                </a:cubicBezTo>
                <a:cubicBezTo>
                  <a:pt x="4808978" y="1234213"/>
                  <a:pt x="4803144" y="1240439"/>
                  <a:pt x="4795122" y="1240439"/>
                </a:cubicBezTo>
                <a:cubicBezTo>
                  <a:pt x="4787830" y="1240439"/>
                  <a:pt x="4782725" y="1234213"/>
                  <a:pt x="4782725" y="1225651"/>
                </a:cubicBezTo>
                <a:cubicBezTo>
                  <a:pt x="4782725" y="1217868"/>
                  <a:pt x="4787830" y="1210863"/>
                  <a:pt x="4795122" y="1210863"/>
                </a:cubicBezTo>
                <a:close/>
                <a:moveTo>
                  <a:pt x="4726684" y="1210863"/>
                </a:moveTo>
                <a:cubicBezTo>
                  <a:pt x="4735246" y="1210863"/>
                  <a:pt x="4741472" y="1217868"/>
                  <a:pt x="4741472" y="1225651"/>
                </a:cubicBezTo>
                <a:cubicBezTo>
                  <a:pt x="4741472" y="1234213"/>
                  <a:pt x="4735246" y="1240439"/>
                  <a:pt x="4726684" y="1240439"/>
                </a:cubicBezTo>
                <a:cubicBezTo>
                  <a:pt x="4718122" y="1240439"/>
                  <a:pt x="4711896" y="1234213"/>
                  <a:pt x="4711896" y="1225651"/>
                </a:cubicBezTo>
                <a:cubicBezTo>
                  <a:pt x="4711896" y="1217868"/>
                  <a:pt x="4718122" y="1210863"/>
                  <a:pt x="4726684" y="1210863"/>
                </a:cubicBezTo>
                <a:close/>
                <a:moveTo>
                  <a:pt x="4655853" y="1210863"/>
                </a:moveTo>
                <a:cubicBezTo>
                  <a:pt x="4663637" y="1210863"/>
                  <a:pt x="4670642" y="1217868"/>
                  <a:pt x="4670642" y="1225651"/>
                </a:cubicBezTo>
                <a:cubicBezTo>
                  <a:pt x="4670642" y="1234213"/>
                  <a:pt x="4663637" y="1240439"/>
                  <a:pt x="4655853" y="1240439"/>
                </a:cubicBezTo>
                <a:cubicBezTo>
                  <a:pt x="4647291" y="1240439"/>
                  <a:pt x="4641064" y="1234213"/>
                  <a:pt x="4641064" y="1225651"/>
                </a:cubicBezTo>
                <a:cubicBezTo>
                  <a:pt x="4641064" y="1217868"/>
                  <a:pt x="4647291" y="1210863"/>
                  <a:pt x="4655853" y="1210863"/>
                </a:cubicBezTo>
                <a:close/>
                <a:moveTo>
                  <a:pt x="4585023" y="1210863"/>
                </a:moveTo>
                <a:cubicBezTo>
                  <a:pt x="4592806" y="1210863"/>
                  <a:pt x="4599811" y="1217868"/>
                  <a:pt x="4599811" y="1225651"/>
                </a:cubicBezTo>
                <a:cubicBezTo>
                  <a:pt x="4599811" y="1234213"/>
                  <a:pt x="4592806" y="1240439"/>
                  <a:pt x="4585023" y="1240439"/>
                </a:cubicBezTo>
                <a:cubicBezTo>
                  <a:pt x="4576461" y="1240439"/>
                  <a:pt x="4570235" y="1234213"/>
                  <a:pt x="4570235" y="1225651"/>
                </a:cubicBezTo>
                <a:cubicBezTo>
                  <a:pt x="4570235" y="1217868"/>
                  <a:pt x="4576461" y="1210863"/>
                  <a:pt x="4585023" y="1210863"/>
                </a:cubicBezTo>
                <a:close/>
                <a:moveTo>
                  <a:pt x="4513260" y="1210863"/>
                </a:moveTo>
                <a:cubicBezTo>
                  <a:pt x="4520553" y="1210863"/>
                  <a:pt x="4525657" y="1217868"/>
                  <a:pt x="4525657" y="1225651"/>
                </a:cubicBezTo>
                <a:cubicBezTo>
                  <a:pt x="4525657" y="1234213"/>
                  <a:pt x="4520553" y="1240439"/>
                  <a:pt x="4513260" y="1240439"/>
                </a:cubicBezTo>
                <a:cubicBezTo>
                  <a:pt x="4505238" y="1240439"/>
                  <a:pt x="4499404" y="1234213"/>
                  <a:pt x="4499404" y="1225651"/>
                </a:cubicBezTo>
                <a:cubicBezTo>
                  <a:pt x="4499404" y="1217868"/>
                  <a:pt x="4505238" y="1210863"/>
                  <a:pt x="4513260" y="1210863"/>
                </a:cubicBezTo>
                <a:close/>
                <a:moveTo>
                  <a:pt x="4439056" y="1210863"/>
                </a:moveTo>
                <a:cubicBezTo>
                  <a:pt x="4445619" y="1210863"/>
                  <a:pt x="4451453" y="1217868"/>
                  <a:pt x="4451453" y="1225651"/>
                </a:cubicBezTo>
                <a:cubicBezTo>
                  <a:pt x="4451453" y="1234213"/>
                  <a:pt x="4445619" y="1240439"/>
                  <a:pt x="4439056" y="1240439"/>
                </a:cubicBezTo>
                <a:cubicBezTo>
                  <a:pt x="4431763" y="1240439"/>
                  <a:pt x="4425200" y="1234213"/>
                  <a:pt x="4425200" y="1225651"/>
                </a:cubicBezTo>
                <a:cubicBezTo>
                  <a:pt x="4425200" y="1217868"/>
                  <a:pt x="4431763" y="1210863"/>
                  <a:pt x="4439056" y="1210863"/>
                </a:cubicBezTo>
                <a:close/>
                <a:moveTo>
                  <a:pt x="4366768" y="1210863"/>
                </a:moveTo>
                <a:cubicBezTo>
                  <a:pt x="4374790" y="1210863"/>
                  <a:pt x="4380624" y="1217868"/>
                  <a:pt x="4380624" y="1225651"/>
                </a:cubicBezTo>
                <a:cubicBezTo>
                  <a:pt x="4380624" y="1234213"/>
                  <a:pt x="4374790" y="1240439"/>
                  <a:pt x="4366768" y="1240439"/>
                </a:cubicBezTo>
                <a:cubicBezTo>
                  <a:pt x="4360934" y="1240439"/>
                  <a:pt x="4354371" y="1234213"/>
                  <a:pt x="4354371" y="1225651"/>
                </a:cubicBezTo>
                <a:cubicBezTo>
                  <a:pt x="4354371" y="1217868"/>
                  <a:pt x="4360934" y="1210863"/>
                  <a:pt x="4366768" y="1210863"/>
                </a:cubicBezTo>
                <a:close/>
                <a:moveTo>
                  <a:pt x="4295937" y="1210863"/>
                </a:moveTo>
                <a:cubicBezTo>
                  <a:pt x="4303959" y="1210863"/>
                  <a:pt x="4309793" y="1217868"/>
                  <a:pt x="4309793" y="1225651"/>
                </a:cubicBezTo>
                <a:cubicBezTo>
                  <a:pt x="4309793" y="1234213"/>
                  <a:pt x="4303959" y="1240439"/>
                  <a:pt x="4295937" y="1240439"/>
                </a:cubicBezTo>
                <a:cubicBezTo>
                  <a:pt x="4290103" y="1240439"/>
                  <a:pt x="4283540" y="1234213"/>
                  <a:pt x="4283540" y="1225651"/>
                </a:cubicBezTo>
                <a:cubicBezTo>
                  <a:pt x="4283540" y="1217868"/>
                  <a:pt x="4290103" y="1210863"/>
                  <a:pt x="4295937" y="1210863"/>
                </a:cubicBezTo>
                <a:close/>
                <a:moveTo>
                  <a:pt x="368953" y="1210863"/>
                </a:moveTo>
                <a:cubicBezTo>
                  <a:pt x="377515" y="1210863"/>
                  <a:pt x="383742" y="1217868"/>
                  <a:pt x="383742" y="1225651"/>
                </a:cubicBezTo>
                <a:cubicBezTo>
                  <a:pt x="383742" y="1234213"/>
                  <a:pt x="377515" y="1240439"/>
                  <a:pt x="368953" y="1240439"/>
                </a:cubicBezTo>
                <a:cubicBezTo>
                  <a:pt x="361170" y="1240439"/>
                  <a:pt x="354165" y="1234213"/>
                  <a:pt x="354165" y="1225651"/>
                </a:cubicBezTo>
                <a:cubicBezTo>
                  <a:pt x="354165" y="1217868"/>
                  <a:pt x="361170" y="1210863"/>
                  <a:pt x="368953" y="1210863"/>
                </a:cubicBezTo>
                <a:close/>
                <a:moveTo>
                  <a:pt x="297189" y="1210863"/>
                </a:moveTo>
                <a:cubicBezTo>
                  <a:pt x="305211" y="1210863"/>
                  <a:pt x="309586" y="1217868"/>
                  <a:pt x="309586" y="1225651"/>
                </a:cubicBezTo>
                <a:cubicBezTo>
                  <a:pt x="309586" y="1234213"/>
                  <a:pt x="305211" y="1240439"/>
                  <a:pt x="297189" y="1240439"/>
                </a:cubicBezTo>
                <a:cubicBezTo>
                  <a:pt x="289897" y="1240439"/>
                  <a:pt x="283334" y="1234213"/>
                  <a:pt x="283334" y="1225651"/>
                </a:cubicBezTo>
                <a:cubicBezTo>
                  <a:pt x="283334" y="1217868"/>
                  <a:pt x="289897" y="1210863"/>
                  <a:pt x="297189" y="1210863"/>
                </a:cubicBezTo>
                <a:close/>
                <a:moveTo>
                  <a:pt x="226361" y="1210863"/>
                </a:moveTo>
                <a:cubicBezTo>
                  <a:pt x="232195" y="1210863"/>
                  <a:pt x="238759" y="1217868"/>
                  <a:pt x="238759" y="1225651"/>
                </a:cubicBezTo>
                <a:cubicBezTo>
                  <a:pt x="238759" y="1234213"/>
                  <a:pt x="232195" y="1240439"/>
                  <a:pt x="226361" y="1240439"/>
                </a:cubicBezTo>
                <a:cubicBezTo>
                  <a:pt x="218338" y="1240439"/>
                  <a:pt x="212504" y="1234213"/>
                  <a:pt x="212504" y="1225651"/>
                </a:cubicBezTo>
                <a:cubicBezTo>
                  <a:pt x="212504" y="1217868"/>
                  <a:pt x="218338" y="1210863"/>
                  <a:pt x="226361" y="1210863"/>
                </a:cubicBezTo>
                <a:close/>
                <a:moveTo>
                  <a:pt x="155527" y="1210863"/>
                </a:moveTo>
                <a:cubicBezTo>
                  <a:pt x="161361" y="1210863"/>
                  <a:pt x="167924" y="1217868"/>
                  <a:pt x="167924" y="1225651"/>
                </a:cubicBezTo>
                <a:cubicBezTo>
                  <a:pt x="167924" y="1234213"/>
                  <a:pt x="161361" y="1240439"/>
                  <a:pt x="155527" y="1240439"/>
                </a:cubicBezTo>
                <a:cubicBezTo>
                  <a:pt x="147505" y="1240439"/>
                  <a:pt x="141671" y="1234213"/>
                  <a:pt x="141671" y="1225651"/>
                </a:cubicBezTo>
                <a:cubicBezTo>
                  <a:pt x="141671" y="1217868"/>
                  <a:pt x="147505" y="1210863"/>
                  <a:pt x="155527" y="1210863"/>
                </a:cubicBezTo>
                <a:close/>
                <a:moveTo>
                  <a:pt x="83239" y="1210863"/>
                </a:moveTo>
                <a:cubicBezTo>
                  <a:pt x="90531" y="1210863"/>
                  <a:pt x="97095" y="1217868"/>
                  <a:pt x="97095" y="1225651"/>
                </a:cubicBezTo>
                <a:cubicBezTo>
                  <a:pt x="97095" y="1234213"/>
                  <a:pt x="90531" y="1240439"/>
                  <a:pt x="83239" y="1240439"/>
                </a:cubicBezTo>
                <a:cubicBezTo>
                  <a:pt x="76675" y="1240439"/>
                  <a:pt x="70841" y="1234213"/>
                  <a:pt x="70841" y="1225651"/>
                </a:cubicBezTo>
                <a:cubicBezTo>
                  <a:pt x="70841" y="1217868"/>
                  <a:pt x="76675" y="1210863"/>
                  <a:pt x="83239" y="1210863"/>
                </a:cubicBezTo>
                <a:close/>
                <a:moveTo>
                  <a:pt x="12003" y="1210863"/>
                </a:moveTo>
                <a:cubicBezTo>
                  <a:pt x="20248" y="1210863"/>
                  <a:pt x="26244" y="1217868"/>
                  <a:pt x="26244" y="1225651"/>
                </a:cubicBezTo>
                <a:cubicBezTo>
                  <a:pt x="26244" y="1234213"/>
                  <a:pt x="20248" y="1240439"/>
                  <a:pt x="12003" y="1240439"/>
                </a:cubicBezTo>
                <a:cubicBezTo>
                  <a:pt x="4508" y="1240439"/>
                  <a:pt x="10" y="1234213"/>
                  <a:pt x="10" y="1225651"/>
                </a:cubicBezTo>
                <a:cubicBezTo>
                  <a:pt x="10" y="1217868"/>
                  <a:pt x="4508" y="1210863"/>
                  <a:pt x="12003" y="1210863"/>
                </a:cubicBezTo>
                <a:close/>
                <a:moveTo>
                  <a:pt x="7013492" y="1140032"/>
                </a:moveTo>
                <a:cubicBezTo>
                  <a:pt x="7021275" y="1140032"/>
                  <a:pt x="7028280" y="1146595"/>
                  <a:pt x="7028280" y="1152429"/>
                </a:cubicBezTo>
                <a:cubicBezTo>
                  <a:pt x="7028280" y="1160451"/>
                  <a:pt x="7021275" y="1166286"/>
                  <a:pt x="7013492" y="1166286"/>
                </a:cubicBezTo>
                <a:cubicBezTo>
                  <a:pt x="7004930" y="1166286"/>
                  <a:pt x="6998704" y="1160451"/>
                  <a:pt x="6998704" y="1152429"/>
                </a:cubicBezTo>
                <a:cubicBezTo>
                  <a:pt x="6998704" y="1146595"/>
                  <a:pt x="7004930" y="1140032"/>
                  <a:pt x="7013492" y="1140032"/>
                </a:cubicBezTo>
                <a:close/>
                <a:moveTo>
                  <a:pt x="6939085" y="1140032"/>
                </a:moveTo>
                <a:cubicBezTo>
                  <a:pt x="6946378" y="1140032"/>
                  <a:pt x="6950753" y="1146595"/>
                  <a:pt x="6950753" y="1152429"/>
                </a:cubicBezTo>
                <a:cubicBezTo>
                  <a:pt x="6950753" y="1160451"/>
                  <a:pt x="6946378" y="1166286"/>
                  <a:pt x="6939085" y="1166286"/>
                </a:cubicBezTo>
                <a:cubicBezTo>
                  <a:pt x="6931063" y="1166286"/>
                  <a:pt x="6924500" y="1160451"/>
                  <a:pt x="6924500" y="1152429"/>
                </a:cubicBezTo>
                <a:cubicBezTo>
                  <a:pt x="6924500" y="1146595"/>
                  <a:pt x="6931063" y="1140032"/>
                  <a:pt x="6939085" y="1140032"/>
                </a:cubicBezTo>
                <a:close/>
                <a:moveTo>
                  <a:pt x="6867525" y="1140032"/>
                </a:moveTo>
                <a:cubicBezTo>
                  <a:pt x="6874088" y="1140032"/>
                  <a:pt x="6879922" y="1146595"/>
                  <a:pt x="6879922" y="1153888"/>
                </a:cubicBezTo>
                <a:cubicBezTo>
                  <a:pt x="6879922" y="1160451"/>
                  <a:pt x="6874088" y="1166286"/>
                  <a:pt x="6867525" y="1166286"/>
                </a:cubicBezTo>
                <a:cubicBezTo>
                  <a:pt x="6860232" y="1166286"/>
                  <a:pt x="6853669" y="1160451"/>
                  <a:pt x="6853669" y="1153888"/>
                </a:cubicBezTo>
                <a:cubicBezTo>
                  <a:pt x="6853669" y="1146595"/>
                  <a:pt x="6860232" y="1140032"/>
                  <a:pt x="6867525" y="1140032"/>
                </a:cubicBezTo>
                <a:close/>
                <a:moveTo>
                  <a:pt x="6796696" y="1140032"/>
                </a:moveTo>
                <a:cubicBezTo>
                  <a:pt x="6803259" y="1140032"/>
                  <a:pt x="6809093" y="1146595"/>
                  <a:pt x="6809093" y="1153888"/>
                </a:cubicBezTo>
                <a:cubicBezTo>
                  <a:pt x="6809093" y="1160451"/>
                  <a:pt x="6803259" y="1166286"/>
                  <a:pt x="6796696" y="1166286"/>
                </a:cubicBezTo>
                <a:cubicBezTo>
                  <a:pt x="6789403" y="1166286"/>
                  <a:pt x="6782840" y="1160451"/>
                  <a:pt x="6782840" y="1153888"/>
                </a:cubicBezTo>
                <a:cubicBezTo>
                  <a:pt x="6782840" y="1146595"/>
                  <a:pt x="6789403" y="1140032"/>
                  <a:pt x="6796696" y="1140032"/>
                </a:cubicBezTo>
                <a:close/>
                <a:moveTo>
                  <a:pt x="6724405" y="1140032"/>
                </a:moveTo>
                <a:cubicBezTo>
                  <a:pt x="6732427" y="1140032"/>
                  <a:pt x="6738261" y="1146595"/>
                  <a:pt x="6738261" y="1153888"/>
                </a:cubicBezTo>
                <a:cubicBezTo>
                  <a:pt x="6738261" y="1160451"/>
                  <a:pt x="6732427" y="1166286"/>
                  <a:pt x="6724405" y="1166286"/>
                </a:cubicBezTo>
                <a:cubicBezTo>
                  <a:pt x="6718571" y="1166286"/>
                  <a:pt x="6712008" y="1160451"/>
                  <a:pt x="6712008" y="1153888"/>
                </a:cubicBezTo>
                <a:cubicBezTo>
                  <a:pt x="6712008" y="1146595"/>
                  <a:pt x="6718571" y="1140032"/>
                  <a:pt x="6724405" y="1140032"/>
                </a:cubicBezTo>
                <a:close/>
                <a:moveTo>
                  <a:pt x="6653576" y="1140032"/>
                </a:moveTo>
                <a:cubicBezTo>
                  <a:pt x="6660869" y="1140032"/>
                  <a:pt x="6667432" y="1146595"/>
                  <a:pt x="6667432" y="1153888"/>
                </a:cubicBezTo>
                <a:cubicBezTo>
                  <a:pt x="6667432" y="1160451"/>
                  <a:pt x="6660869" y="1166286"/>
                  <a:pt x="6653576" y="1166286"/>
                </a:cubicBezTo>
                <a:cubicBezTo>
                  <a:pt x="6645554" y="1166286"/>
                  <a:pt x="6641179" y="1160451"/>
                  <a:pt x="6641179" y="1153888"/>
                </a:cubicBezTo>
                <a:cubicBezTo>
                  <a:pt x="6641179" y="1146595"/>
                  <a:pt x="6645554" y="1140032"/>
                  <a:pt x="6653576" y="1140032"/>
                </a:cubicBezTo>
                <a:close/>
                <a:moveTo>
                  <a:pt x="6581764" y="1140032"/>
                </a:moveTo>
                <a:cubicBezTo>
                  <a:pt x="6589547" y="1140032"/>
                  <a:pt x="6596552" y="1146595"/>
                  <a:pt x="6596552" y="1153888"/>
                </a:cubicBezTo>
                <a:cubicBezTo>
                  <a:pt x="6596552" y="1160451"/>
                  <a:pt x="6589547" y="1166286"/>
                  <a:pt x="6581764" y="1166286"/>
                </a:cubicBezTo>
                <a:cubicBezTo>
                  <a:pt x="6573202" y="1166286"/>
                  <a:pt x="6566976" y="1160451"/>
                  <a:pt x="6566976" y="1153888"/>
                </a:cubicBezTo>
                <a:cubicBezTo>
                  <a:pt x="6566976" y="1146595"/>
                  <a:pt x="6573202" y="1140032"/>
                  <a:pt x="6581764" y="1140032"/>
                </a:cubicBezTo>
                <a:close/>
                <a:moveTo>
                  <a:pt x="6510933" y="1140032"/>
                </a:moveTo>
                <a:cubicBezTo>
                  <a:pt x="6518717" y="1140032"/>
                  <a:pt x="6525722" y="1146595"/>
                  <a:pt x="6525722" y="1153888"/>
                </a:cubicBezTo>
                <a:cubicBezTo>
                  <a:pt x="6525722" y="1160451"/>
                  <a:pt x="6518717" y="1166286"/>
                  <a:pt x="6510933" y="1166286"/>
                </a:cubicBezTo>
                <a:cubicBezTo>
                  <a:pt x="6502371" y="1166286"/>
                  <a:pt x="6496144" y="1160451"/>
                  <a:pt x="6496144" y="1153888"/>
                </a:cubicBezTo>
                <a:cubicBezTo>
                  <a:pt x="6496144" y="1146595"/>
                  <a:pt x="6502371" y="1140032"/>
                  <a:pt x="6510933" y="1140032"/>
                </a:cubicBezTo>
                <a:close/>
                <a:moveTo>
                  <a:pt x="6440492" y="1140032"/>
                </a:moveTo>
                <a:cubicBezTo>
                  <a:pt x="6448081" y="1140032"/>
                  <a:pt x="6454911" y="1146595"/>
                  <a:pt x="6454911" y="1153888"/>
                </a:cubicBezTo>
                <a:cubicBezTo>
                  <a:pt x="6454911" y="1160451"/>
                  <a:pt x="6448081" y="1166286"/>
                  <a:pt x="6440492" y="1166286"/>
                </a:cubicBezTo>
                <a:cubicBezTo>
                  <a:pt x="6432145" y="1166286"/>
                  <a:pt x="6425315" y="1160451"/>
                  <a:pt x="6425315" y="1153888"/>
                </a:cubicBezTo>
                <a:cubicBezTo>
                  <a:pt x="6425315" y="1146595"/>
                  <a:pt x="6432145" y="1140032"/>
                  <a:pt x="6440492" y="1140032"/>
                </a:cubicBezTo>
                <a:close/>
                <a:moveTo>
                  <a:pt x="6368340" y="1140032"/>
                </a:moveTo>
                <a:cubicBezTo>
                  <a:pt x="6376362" y="1140032"/>
                  <a:pt x="6380737" y="1146595"/>
                  <a:pt x="6380737" y="1153888"/>
                </a:cubicBezTo>
                <a:cubicBezTo>
                  <a:pt x="6380737" y="1160451"/>
                  <a:pt x="6376362" y="1166286"/>
                  <a:pt x="6368340" y="1166286"/>
                </a:cubicBezTo>
                <a:cubicBezTo>
                  <a:pt x="6361047" y="1166286"/>
                  <a:pt x="6354484" y="1160451"/>
                  <a:pt x="6354484" y="1153888"/>
                </a:cubicBezTo>
                <a:cubicBezTo>
                  <a:pt x="6354484" y="1146595"/>
                  <a:pt x="6361047" y="1140032"/>
                  <a:pt x="6368340" y="1140032"/>
                </a:cubicBezTo>
                <a:close/>
                <a:moveTo>
                  <a:pt x="6297511" y="1140032"/>
                </a:moveTo>
                <a:cubicBezTo>
                  <a:pt x="6304074" y="1140032"/>
                  <a:pt x="6309908" y="1146595"/>
                  <a:pt x="6309908" y="1153888"/>
                </a:cubicBezTo>
                <a:cubicBezTo>
                  <a:pt x="6309908" y="1160451"/>
                  <a:pt x="6304074" y="1166286"/>
                  <a:pt x="6297511" y="1166286"/>
                </a:cubicBezTo>
                <a:cubicBezTo>
                  <a:pt x="6290218" y="1166286"/>
                  <a:pt x="6283655" y="1160451"/>
                  <a:pt x="6283655" y="1153888"/>
                </a:cubicBezTo>
                <a:cubicBezTo>
                  <a:pt x="6283655" y="1146595"/>
                  <a:pt x="6290218" y="1140032"/>
                  <a:pt x="6297511" y="1140032"/>
                </a:cubicBezTo>
                <a:close/>
                <a:moveTo>
                  <a:pt x="6226679" y="1140032"/>
                </a:moveTo>
                <a:cubicBezTo>
                  <a:pt x="6233242" y="1140032"/>
                  <a:pt x="6239076" y="1146595"/>
                  <a:pt x="6239076" y="1153888"/>
                </a:cubicBezTo>
                <a:cubicBezTo>
                  <a:pt x="6239076" y="1160451"/>
                  <a:pt x="6233242" y="1166286"/>
                  <a:pt x="6226679" y="1166286"/>
                </a:cubicBezTo>
                <a:cubicBezTo>
                  <a:pt x="6219386" y="1166286"/>
                  <a:pt x="6212823" y="1160451"/>
                  <a:pt x="6212823" y="1153888"/>
                </a:cubicBezTo>
                <a:cubicBezTo>
                  <a:pt x="6212823" y="1146595"/>
                  <a:pt x="6219386" y="1140032"/>
                  <a:pt x="6226679" y="1140032"/>
                </a:cubicBezTo>
                <a:close/>
                <a:moveTo>
                  <a:pt x="6154391" y="1140032"/>
                </a:moveTo>
                <a:cubicBezTo>
                  <a:pt x="6161684" y="1140032"/>
                  <a:pt x="6168247" y="1146595"/>
                  <a:pt x="6168247" y="1153888"/>
                </a:cubicBezTo>
                <a:cubicBezTo>
                  <a:pt x="6168247" y="1160451"/>
                  <a:pt x="6161684" y="1166286"/>
                  <a:pt x="6154391" y="1166286"/>
                </a:cubicBezTo>
                <a:cubicBezTo>
                  <a:pt x="6147828" y="1166286"/>
                  <a:pt x="6141994" y="1160451"/>
                  <a:pt x="6141994" y="1153888"/>
                </a:cubicBezTo>
                <a:cubicBezTo>
                  <a:pt x="6141994" y="1146595"/>
                  <a:pt x="6147828" y="1140032"/>
                  <a:pt x="6154391" y="1140032"/>
                </a:cubicBezTo>
                <a:close/>
                <a:moveTo>
                  <a:pt x="6083559" y="1140032"/>
                </a:moveTo>
                <a:cubicBezTo>
                  <a:pt x="6090852" y="1140032"/>
                  <a:pt x="6097415" y="1146595"/>
                  <a:pt x="6097415" y="1153888"/>
                </a:cubicBezTo>
                <a:cubicBezTo>
                  <a:pt x="6097415" y="1160451"/>
                  <a:pt x="6090852" y="1166286"/>
                  <a:pt x="6083559" y="1166286"/>
                </a:cubicBezTo>
                <a:cubicBezTo>
                  <a:pt x="6076996" y="1166286"/>
                  <a:pt x="6071162" y="1160451"/>
                  <a:pt x="6071162" y="1153888"/>
                </a:cubicBezTo>
                <a:cubicBezTo>
                  <a:pt x="6071162" y="1146595"/>
                  <a:pt x="6076996" y="1140032"/>
                  <a:pt x="6083559" y="1140032"/>
                </a:cubicBezTo>
                <a:close/>
                <a:moveTo>
                  <a:pt x="6009356" y="1140032"/>
                </a:moveTo>
                <a:cubicBezTo>
                  <a:pt x="6016649" y="1140032"/>
                  <a:pt x="6023212" y="1146595"/>
                  <a:pt x="6023212" y="1153888"/>
                </a:cubicBezTo>
                <a:cubicBezTo>
                  <a:pt x="6023212" y="1160451"/>
                  <a:pt x="6016649" y="1166286"/>
                  <a:pt x="6009356" y="1166286"/>
                </a:cubicBezTo>
                <a:cubicBezTo>
                  <a:pt x="6001334" y="1166286"/>
                  <a:pt x="5996959" y="1160451"/>
                  <a:pt x="5996959" y="1153888"/>
                </a:cubicBezTo>
                <a:cubicBezTo>
                  <a:pt x="5996959" y="1146595"/>
                  <a:pt x="6001334" y="1140032"/>
                  <a:pt x="6009356" y="1140032"/>
                </a:cubicBezTo>
                <a:close/>
                <a:moveTo>
                  <a:pt x="5940548" y="1140032"/>
                </a:moveTo>
                <a:cubicBezTo>
                  <a:pt x="5948896" y="1140032"/>
                  <a:pt x="5955726" y="1146595"/>
                  <a:pt x="5955726" y="1153888"/>
                </a:cubicBezTo>
                <a:cubicBezTo>
                  <a:pt x="5955726" y="1160451"/>
                  <a:pt x="5948896" y="1166286"/>
                  <a:pt x="5940548" y="1166286"/>
                </a:cubicBezTo>
                <a:cubicBezTo>
                  <a:pt x="5932960" y="1166286"/>
                  <a:pt x="5926130" y="1160451"/>
                  <a:pt x="5926130" y="1153888"/>
                </a:cubicBezTo>
                <a:cubicBezTo>
                  <a:pt x="5926130" y="1146595"/>
                  <a:pt x="5932960" y="1140032"/>
                  <a:pt x="5940548" y="1140032"/>
                </a:cubicBezTo>
                <a:close/>
                <a:moveTo>
                  <a:pt x="5870088" y="1140032"/>
                </a:moveTo>
                <a:cubicBezTo>
                  <a:pt x="5878650" y="1140032"/>
                  <a:pt x="5884877" y="1146595"/>
                  <a:pt x="5884877" y="1153888"/>
                </a:cubicBezTo>
                <a:cubicBezTo>
                  <a:pt x="5884877" y="1160451"/>
                  <a:pt x="5878650" y="1166286"/>
                  <a:pt x="5870088" y="1166286"/>
                </a:cubicBezTo>
                <a:cubicBezTo>
                  <a:pt x="5862304" y="1166286"/>
                  <a:pt x="5855299" y="1161910"/>
                  <a:pt x="5855299" y="1153888"/>
                </a:cubicBezTo>
                <a:cubicBezTo>
                  <a:pt x="5855299" y="1146595"/>
                  <a:pt x="5862304" y="1140032"/>
                  <a:pt x="5870088" y="1140032"/>
                </a:cubicBezTo>
                <a:close/>
                <a:moveTo>
                  <a:pt x="5799257" y="1140032"/>
                </a:moveTo>
                <a:cubicBezTo>
                  <a:pt x="5807819" y="1140032"/>
                  <a:pt x="5814045" y="1146595"/>
                  <a:pt x="5814045" y="1153888"/>
                </a:cubicBezTo>
                <a:cubicBezTo>
                  <a:pt x="5814045" y="1161910"/>
                  <a:pt x="5807819" y="1166286"/>
                  <a:pt x="5799257" y="1166286"/>
                </a:cubicBezTo>
                <a:cubicBezTo>
                  <a:pt x="5791474" y="1166286"/>
                  <a:pt x="5784469" y="1161910"/>
                  <a:pt x="5784469" y="1153888"/>
                </a:cubicBezTo>
                <a:cubicBezTo>
                  <a:pt x="5784469" y="1146595"/>
                  <a:pt x="5791474" y="1140032"/>
                  <a:pt x="5799257" y="1140032"/>
                </a:cubicBezTo>
                <a:close/>
                <a:moveTo>
                  <a:pt x="5724122" y="1140032"/>
                </a:moveTo>
                <a:cubicBezTo>
                  <a:pt x="5732144" y="1140032"/>
                  <a:pt x="5736519" y="1146595"/>
                  <a:pt x="5736519" y="1153888"/>
                </a:cubicBezTo>
                <a:cubicBezTo>
                  <a:pt x="5736519" y="1161910"/>
                  <a:pt x="5732144" y="1166286"/>
                  <a:pt x="5724122" y="1166286"/>
                </a:cubicBezTo>
                <a:cubicBezTo>
                  <a:pt x="5716100" y="1166286"/>
                  <a:pt x="5710266" y="1161910"/>
                  <a:pt x="5710266" y="1153888"/>
                </a:cubicBezTo>
                <a:cubicBezTo>
                  <a:pt x="5710266" y="1146595"/>
                  <a:pt x="5716100" y="1140032"/>
                  <a:pt x="5724122" y="1140032"/>
                </a:cubicBezTo>
                <a:close/>
                <a:moveTo>
                  <a:pt x="5653291" y="1140032"/>
                </a:moveTo>
                <a:cubicBezTo>
                  <a:pt x="5659125" y="1140032"/>
                  <a:pt x="5665688" y="1146595"/>
                  <a:pt x="5665688" y="1153888"/>
                </a:cubicBezTo>
                <a:cubicBezTo>
                  <a:pt x="5665688" y="1161910"/>
                  <a:pt x="5659125" y="1166286"/>
                  <a:pt x="5653291" y="1166286"/>
                </a:cubicBezTo>
                <a:cubicBezTo>
                  <a:pt x="5645269" y="1166286"/>
                  <a:pt x="5639435" y="1161910"/>
                  <a:pt x="5639435" y="1153888"/>
                </a:cubicBezTo>
                <a:cubicBezTo>
                  <a:pt x="5639435" y="1146595"/>
                  <a:pt x="5645269" y="1140032"/>
                  <a:pt x="5653291" y="1140032"/>
                </a:cubicBezTo>
                <a:close/>
                <a:moveTo>
                  <a:pt x="5581002" y="1140032"/>
                </a:moveTo>
                <a:cubicBezTo>
                  <a:pt x="5588295" y="1140032"/>
                  <a:pt x="5594858" y="1146595"/>
                  <a:pt x="5594858" y="1153888"/>
                </a:cubicBezTo>
                <a:cubicBezTo>
                  <a:pt x="5594858" y="1161910"/>
                  <a:pt x="5588295" y="1166286"/>
                  <a:pt x="5581002" y="1166286"/>
                </a:cubicBezTo>
                <a:cubicBezTo>
                  <a:pt x="5574439" y="1166286"/>
                  <a:pt x="5568605" y="1161910"/>
                  <a:pt x="5568605" y="1153888"/>
                </a:cubicBezTo>
                <a:cubicBezTo>
                  <a:pt x="5568605" y="1146595"/>
                  <a:pt x="5574439" y="1140032"/>
                  <a:pt x="5581002" y="1140032"/>
                </a:cubicBezTo>
                <a:close/>
                <a:moveTo>
                  <a:pt x="5510171" y="1140032"/>
                </a:moveTo>
                <a:cubicBezTo>
                  <a:pt x="5517464" y="1140032"/>
                  <a:pt x="5524027" y="1146595"/>
                  <a:pt x="5524027" y="1153888"/>
                </a:cubicBezTo>
                <a:cubicBezTo>
                  <a:pt x="5524027" y="1161910"/>
                  <a:pt x="5517464" y="1166286"/>
                  <a:pt x="5510171" y="1166286"/>
                </a:cubicBezTo>
                <a:cubicBezTo>
                  <a:pt x="5503608" y="1166286"/>
                  <a:pt x="5497774" y="1161910"/>
                  <a:pt x="5497774" y="1153888"/>
                </a:cubicBezTo>
                <a:cubicBezTo>
                  <a:pt x="5497774" y="1146595"/>
                  <a:pt x="5503608" y="1140032"/>
                  <a:pt x="5510171" y="1140032"/>
                </a:cubicBezTo>
                <a:close/>
                <a:moveTo>
                  <a:pt x="5438937" y="1140032"/>
                </a:moveTo>
                <a:cubicBezTo>
                  <a:pt x="5447182" y="1140032"/>
                  <a:pt x="5453178" y="1146595"/>
                  <a:pt x="5453178" y="1153888"/>
                </a:cubicBezTo>
                <a:cubicBezTo>
                  <a:pt x="5453178" y="1161910"/>
                  <a:pt x="5447182" y="1166286"/>
                  <a:pt x="5438937" y="1166286"/>
                </a:cubicBezTo>
                <a:cubicBezTo>
                  <a:pt x="5431442" y="1166286"/>
                  <a:pt x="5426945" y="1161910"/>
                  <a:pt x="5426945" y="1153888"/>
                </a:cubicBezTo>
                <a:cubicBezTo>
                  <a:pt x="5426945" y="1146595"/>
                  <a:pt x="5431442" y="1140032"/>
                  <a:pt x="5438937" y="1140032"/>
                </a:cubicBezTo>
                <a:close/>
                <a:moveTo>
                  <a:pt x="5367530" y="1140032"/>
                </a:moveTo>
                <a:cubicBezTo>
                  <a:pt x="5376092" y="1140032"/>
                  <a:pt x="5382318" y="1146595"/>
                  <a:pt x="5382318" y="1153888"/>
                </a:cubicBezTo>
                <a:cubicBezTo>
                  <a:pt x="5382318" y="1161910"/>
                  <a:pt x="5376092" y="1166286"/>
                  <a:pt x="5367530" y="1166286"/>
                </a:cubicBezTo>
                <a:cubicBezTo>
                  <a:pt x="5359747" y="1166286"/>
                  <a:pt x="5352742" y="1161910"/>
                  <a:pt x="5352742" y="1153888"/>
                </a:cubicBezTo>
                <a:cubicBezTo>
                  <a:pt x="5352742" y="1146595"/>
                  <a:pt x="5359747" y="1140032"/>
                  <a:pt x="5367530" y="1140032"/>
                </a:cubicBezTo>
                <a:close/>
                <a:moveTo>
                  <a:pt x="5296699" y="1140032"/>
                </a:moveTo>
                <a:cubicBezTo>
                  <a:pt x="5305261" y="1140032"/>
                  <a:pt x="5311488" y="1146595"/>
                  <a:pt x="5311488" y="1153888"/>
                </a:cubicBezTo>
                <a:cubicBezTo>
                  <a:pt x="5311488" y="1161910"/>
                  <a:pt x="5305261" y="1166286"/>
                  <a:pt x="5296699" y="1166286"/>
                </a:cubicBezTo>
                <a:cubicBezTo>
                  <a:pt x="5288915" y="1166286"/>
                  <a:pt x="5281910" y="1161910"/>
                  <a:pt x="5281910" y="1153888"/>
                </a:cubicBezTo>
                <a:cubicBezTo>
                  <a:pt x="5281910" y="1146595"/>
                  <a:pt x="5288915" y="1140032"/>
                  <a:pt x="5296699" y="1140032"/>
                </a:cubicBezTo>
                <a:close/>
                <a:moveTo>
                  <a:pt x="5225869" y="1140032"/>
                </a:moveTo>
                <a:cubicBezTo>
                  <a:pt x="5234431" y="1140032"/>
                  <a:pt x="5240657" y="1146595"/>
                  <a:pt x="5240657" y="1153888"/>
                </a:cubicBezTo>
                <a:cubicBezTo>
                  <a:pt x="5240657" y="1161910"/>
                  <a:pt x="5234431" y="1166286"/>
                  <a:pt x="5225869" y="1166286"/>
                </a:cubicBezTo>
                <a:cubicBezTo>
                  <a:pt x="5217307" y="1166286"/>
                  <a:pt x="5211081" y="1161910"/>
                  <a:pt x="5211081" y="1153888"/>
                </a:cubicBezTo>
                <a:cubicBezTo>
                  <a:pt x="5211081" y="1146595"/>
                  <a:pt x="5217307" y="1140032"/>
                  <a:pt x="5225869" y="1140032"/>
                </a:cubicBezTo>
                <a:close/>
                <a:moveTo>
                  <a:pt x="5154105" y="1140032"/>
                </a:moveTo>
                <a:cubicBezTo>
                  <a:pt x="5162127" y="1140032"/>
                  <a:pt x="5166502" y="1147037"/>
                  <a:pt x="5166502" y="1154821"/>
                </a:cubicBezTo>
                <a:cubicBezTo>
                  <a:pt x="5166502" y="1163383"/>
                  <a:pt x="5162127" y="1169610"/>
                  <a:pt x="5154105" y="1169610"/>
                </a:cubicBezTo>
                <a:cubicBezTo>
                  <a:pt x="5146083" y="1169610"/>
                  <a:pt x="5140249" y="1163383"/>
                  <a:pt x="5140249" y="1154821"/>
                </a:cubicBezTo>
                <a:cubicBezTo>
                  <a:pt x="5140249" y="1147037"/>
                  <a:pt x="5146083" y="1140032"/>
                  <a:pt x="5154105" y="1140032"/>
                </a:cubicBezTo>
                <a:close/>
                <a:moveTo>
                  <a:pt x="5083276" y="1140032"/>
                </a:moveTo>
                <a:cubicBezTo>
                  <a:pt x="5089110" y="1140032"/>
                  <a:pt x="5095673" y="1147037"/>
                  <a:pt x="5095673" y="1154821"/>
                </a:cubicBezTo>
                <a:cubicBezTo>
                  <a:pt x="5095673" y="1163383"/>
                  <a:pt x="5089110" y="1169610"/>
                  <a:pt x="5083276" y="1169610"/>
                </a:cubicBezTo>
                <a:cubicBezTo>
                  <a:pt x="5075254" y="1169610"/>
                  <a:pt x="5069420" y="1163383"/>
                  <a:pt x="5069420" y="1154821"/>
                </a:cubicBezTo>
                <a:cubicBezTo>
                  <a:pt x="5069420" y="1147037"/>
                  <a:pt x="5075254" y="1140032"/>
                  <a:pt x="5083276" y="1140032"/>
                </a:cubicBezTo>
                <a:close/>
                <a:moveTo>
                  <a:pt x="5012445" y="1140032"/>
                </a:moveTo>
                <a:cubicBezTo>
                  <a:pt x="5018279" y="1140032"/>
                  <a:pt x="5024842" y="1147037"/>
                  <a:pt x="5024842" y="1154821"/>
                </a:cubicBezTo>
                <a:cubicBezTo>
                  <a:pt x="5024842" y="1163383"/>
                  <a:pt x="5018279" y="1169610"/>
                  <a:pt x="5012445" y="1169610"/>
                </a:cubicBezTo>
                <a:cubicBezTo>
                  <a:pt x="5004423" y="1169610"/>
                  <a:pt x="4998589" y="1163383"/>
                  <a:pt x="4998589" y="1154821"/>
                </a:cubicBezTo>
                <a:cubicBezTo>
                  <a:pt x="4998589" y="1147037"/>
                  <a:pt x="5004423" y="1140032"/>
                  <a:pt x="5012445" y="1140032"/>
                </a:cubicBezTo>
                <a:close/>
                <a:moveTo>
                  <a:pt x="4940157" y="1140032"/>
                </a:moveTo>
                <a:cubicBezTo>
                  <a:pt x="4948179" y="1140032"/>
                  <a:pt x="4954013" y="1147037"/>
                  <a:pt x="4954013" y="1154821"/>
                </a:cubicBezTo>
                <a:cubicBezTo>
                  <a:pt x="4954013" y="1163383"/>
                  <a:pt x="4948179" y="1169610"/>
                  <a:pt x="4940157" y="1169610"/>
                </a:cubicBezTo>
                <a:cubicBezTo>
                  <a:pt x="4934323" y="1169610"/>
                  <a:pt x="4927760" y="1163383"/>
                  <a:pt x="4927760" y="1154821"/>
                </a:cubicBezTo>
                <a:cubicBezTo>
                  <a:pt x="4927760" y="1147037"/>
                  <a:pt x="4934323" y="1140032"/>
                  <a:pt x="4940157" y="1140032"/>
                </a:cubicBezTo>
                <a:close/>
                <a:moveTo>
                  <a:pt x="4865953" y="1140032"/>
                </a:moveTo>
                <a:cubicBezTo>
                  <a:pt x="4873975" y="1140032"/>
                  <a:pt x="4879809" y="1147037"/>
                  <a:pt x="4879809" y="1154821"/>
                </a:cubicBezTo>
                <a:cubicBezTo>
                  <a:pt x="4879809" y="1163383"/>
                  <a:pt x="4873975" y="1169610"/>
                  <a:pt x="4865953" y="1169610"/>
                </a:cubicBezTo>
                <a:cubicBezTo>
                  <a:pt x="4860119" y="1169610"/>
                  <a:pt x="4853556" y="1163383"/>
                  <a:pt x="4853556" y="1154821"/>
                </a:cubicBezTo>
                <a:cubicBezTo>
                  <a:pt x="4853556" y="1147037"/>
                  <a:pt x="4860119" y="1140032"/>
                  <a:pt x="4865953" y="1140032"/>
                </a:cubicBezTo>
                <a:close/>
                <a:moveTo>
                  <a:pt x="4795122" y="1140032"/>
                </a:moveTo>
                <a:cubicBezTo>
                  <a:pt x="4803144" y="1140032"/>
                  <a:pt x="4808978" y="1147037"/>
                  <a:pt x="4808978" y="1154821"/>
                </a:cubicBezTo>
                <a:cubicBezTo>
                  <a:pt x="4808978" y="1163383"/>
                  <a:pt x="4803144" y="1169610"/>
                  <a:pt x="4795122" y="1169610"/>
                </a:cubicBezTo>
                <a:cubicBezTo>
                  <a:pt x="4787830" y="1169610"/>
                  <a:pt x="4782725" y="1163383"/>
                  <a:pt x="4782725" y="1154821"/>
                </a:cubicBezTo>
                <a:cubicBezTo>
                  <a:pt x="4782725" y="1147037"/>
                  <a:pt x="4787830" y="1140032"/>
                  <a:pt x="4795122" y="1140032"/>
                </a:cubicBezTo>
                <a:close/>
                <a:moveTo>
                  <a:pt x="4726684" y="1140032"/>
                </a:moveTo>
                <a:cubicBezTo>
                  <a:pt x="4735246" y="1140032"/>
                  <a:pt x="4741472" y="1147037"/>
                  <a:pt x="4741472" y="1154821"/>
                </a:cubicBezTo>
                <a:cubicBezTo>
                  <a:pt x="4741472" y="1163383"/>
                  <a:pt x="4735246" y="1169610"/>
                  <a:pt x="4726684" y="1169610"/>
                </a:cubicBezTo>
                <a:cubicBezTo>
                  <a:pt x="4718122" y="1169610"/>
                  <a:pt x="4711896" y="1163383"/>
                  <a:pt x="4711896" y="1154821"/>
                </a:cubicBezTo>
                <a:cubicBezTo>
                  <a:pt x="4711896" y="1147037"/>
                  <a:pt x="4718122" y="1140032"/>
                  <a:pt x="4726684" y="1140032"/>
                </a:cubicBezTo>
                <a:close/>
                <a:moveTo>
                  <a:pt x="4655853" y="1140032"/>
                </a:moveTo>
                <a:cubicBezTo>
                  <a:pt x="4663637" y="1140032"/>
                  <a:pt x="4670642" y="1147037"/>
                  <a:pt x="4670642" y="1154821"/>
                </a:cubicBezTo>
                <a:cubicBezTo>
                  <a:pt x="4670642" y="1163383"/>
                  <a:pt x="4663637" y="1169610"/>
                  <a:pt x="4655853" y="1169610"/>
                </a:cubicBezTo>
                <a:cubicBezTo>
                  <a:pt x="4647291" y="1169610"/>
                  <a:pt x="4641064" y="1163383"/>
                  <a:pt x="4641064" y="1154821"/>
                </a:cubicBezTo>
                <a:cubicBezTo>
                  <a:pt x="4641064" y="1147037"/>
                  <a:pt x="4647291" y="1140032"/>
                  <a:pt x="4655853" y="1140032"/>
                </a:cubicBezTo>
                <a:close/>
                <a:moveTo>
                  <a:pt x="4585023" y="1140032"/>
                </a:moveTo>
                <a:cubicBezTo>
                  <a:pt x="4592806" y="1140032"/>
                  <a:pt x="4599811" y="1147037"/>
                  <a:pt x="4599811" y="1154821"/>
                </a:cubicBezTo>
                <a:cubicBezTo>
                  <a:pt x="4599811" y="1163383"/>
                  <a:pt x="4592806" y="1169610"/>
                  <a:pt x="4585023" y="1169610"/>
                </a:cubicBezTo>
                <a:cubicBezTo>
                  <a:pt x="4576461" y="1169610"/>
                  <a:pt x="4570235" y="1163383"/>
                  <a:pt x="4570235" y="1154821"/>
                </a:cubicBezTo>
                <a:cubicBezTo>
                  <a:pt x="4570235" y="1147037"/>
                  <a:pt x="4576461" y="1140032"/>
                  <a:pt x="4585023" y="1140032"/>
                </a:cubicBezTo>
                <a:close/>
                <a:moveTo>
                  <a:pt x="4513260" y="1140032"/>
                </a:moveTo>
                <a:cubicBezTo>
                  <a:pt x="4520553" y="1140032"/>
                  <a:pt x="4525657" y="1147037"/>
                  <a:pt x="4525657" y="1154821"/>
                </a:cubicBezTo>
                <a:cubicBezTo>
                  <a:pt x="4525657" y="1163383"/>
                  <a:pt x="4520553" y="1169610"/>
                  <a:pt x="4513260" y="1169610"/>
                </a:cubicBezTo>
                <a:cubicBezTo>
                  <a:pt x="4505238" y="1169610"/>
                  <a:pt x="4499404" y="1163383"/>
                  <a:pt x="4499404" y="1154821"/>
                </a:cubicBezTo>
                <a:cubicBezTo>
                  <a:pt x="4499404" y="1147037"/>
                  <a:pt x="4505238" y="1140032"/>
                  <a:pt x="4513260" y="1140032"/>
                </a:cubicBezTo>
                <a:close/>
                <a:moveTo>
                  <a:pt x="4439056" y="1140032"/>
                </a:moveTo>
                <a:cubicBezTo>
                  <a:pt x="4445619" y="1140032"/>
                  <a:pt x="4451453" y="1147037"/>
                  <a:pt x="4451453" y="1154821"/>
                </a:cubicBezTo>
                <a:cubicBezTo>
                  <a:pt x="4451453" y="1163383"/>
                  <a:pt x="4445619" y="1169610"/>
                  <a:pt x="4439056" y="1169610"/>
                </a:cubicBezTo>
                <a:cubicBezTo>
                  <a:pt x="4431763" y="1169610"/>
                  <a:pt x="4425200" y="1163383"/>
                  <a:pt x="4425200" y="1154821"/>
                </a:cubicBezTo>
                <a:cubicBezTo>
                  <a:pt x="4425200" y="1147037"/>
                  <a:pt x="4431763" y="1140032"/>
                  <a:pt x="4439056" y="1140032"/>
                </a:cubicBezTo>
                <a:close/>
                <a:moveTo>
                  <a:pt x="4366768" y="1140032"/>
                </a:moveTo>
                <a:cubicBezTo>
                  <a:pt x="4374790" y="1140032"/>
                  <a:pt x="4380624" y="1147037"/>
                  <a:pt x="4380624" y="1154821"/>
                </a:cubicBezTo>
                <a:cubicBezTo>
                  <a:pt x="4380624" y="1163383"/>
                  <a:pt x="4374790" y="1169610"/>
                  <a:pt x="4366768" y="1169610"/>
                </a:cubicBezTo>
                <a:cubicBezTo>
                  <a:pt x="4360934" y="1169610"/>
                  <a:pt x="4354371" y="1163383"/>
                  <a:pt x="4354371" y="1154821"/>
                </a:cubicBezTo>
                <a:cubicBezTo>
                  <a:pt x="4354371" y="1147037"/>
                  <a:pt x="4360934" y="1140032"/>
                  <a:pt x="4366768" y="1140032"/>
                </a:cubicBezTo>
                <a:close/>
                <a:moveTo>
                  <a:pt x="4295937" y="1140032"/>
                </a:moveTo>
                <a:cubicBezTo>
                  <a:pt x="4303959" y="1140032"/>
                  <a:pt x="4309793" y="1147037"/>
                  <a:pt x="4309793" y="1154821"/>
                </a:cubicBezTo>
                <a:cubicBezTo>
                  <a:pt x="4309793" y="1163383"/>
                  <a:pt x="4303959" y="1169610"/>
                  <a:pt x="4295937" y="1169610"/>
                </a:cubicBezTo>
                <a:cubicBezTo>
                  <a:pt x="4290103" y="1169610"/>
                  <a:pt x="4283540" y="1163383"/>
                  <a:pt x="4283540" y="1154821"/>
                </a:cubicBezTo>
                <a:cubicBezTo>
                  <a:pt x="4283540" y="1147037"/>
                  <a:pt x="4290103" y="1140032"/>
                  <a:pt x="4295937" y="1140032"/>
                </a:cubicBezTo>
                <a:close/>
                <a:moveTo>
                  <a:pt x="4225107" y="1140032"/>
                </a:moveTo>
                <a:cubicBezTo>
                  <a:pt x="4233129" y="1140032"/>
                  <a:pt x="4238963" y="1147037"/>
                  <a:pt x="4238963" y="1154821"/>
                </a:cubicBezTo>
                <a:cubicBezTo>
                  <a:pt x="4238963" y="1163383"/>
                  <a:pt x="4233129" y="1169610"/>
                  <a:pt x="4225107" y="1169610"/>
                </a:cubicBezTo>
                <a:cubicBezTo>
                  <a:pt x="4217085" y="1169610"/>
                  <a:pt x="4212710" y="1163383"/>
                  <a:pt x="4212710" y="1154821"/>
                </a:cubicBezTo>
                <a:cubicBezTo>
                  <a:pt x="4212710" y="1147037"/>
                  <a:pt x="4217085" y="1140032"/>
                  <a:pt x="4225107" y="1140032"/>
                </a:cubicBezTo>
                <a:close/>
                <a:moveTo>
                  <a:pt x="4153295" y="1140032"/>
                </a:moveTo>
                <a:cubicBezTo>
                  <a:pt x="4161078" y="1140032"/>
                  <a:pt x="4168083" y="1147037"/>
                  <a:pt x="4168083" y="1154821"/>
                </a:cubicBezTo>
                <a:cubicBezTo>
                  <a:pt x="4168083" y="1163383"/>
                  <a:pt x="4161078" y="1169610"/>
                  <a:pt x="4153295" y="1169610"/>
                </a:cubicBezTo>
                <a:cubicBezTo>
                  <a:pt x="4144733" y="1169610"/>
                  <a:pt x="4138507" y="1163383"/>
                  <a:pt x="4138507" y="1154821"/>
                </a:cubicBezTo>
                <a:cubicBezTo>
                  <a:pt x="4138507" y="1147037"/>
                  <a:pt x="4144733" y="1140032"/>
                  <a:pt x="4153295" y="1140032"/>
                </a:cubicBezTo>
                <a:close/>
                <a:moveTo>
                  <a:pt x="4082465" y="1140032"/>
                </a:moveTo>
                <a:cubicBezTo>
                  <a:pt x="4090249" y="1140032"/>
                  <a:pt x="4097254" y="1147037"/>
                  <a:pt x="4097254" y="1154821"/>
                </a:cubicBezTo>
                <a:cubicBezTo>
                  <a:pt x="4097254" y="1163383"/>
                  <a:pt x="4090249" y="1169610"/>
                  <a:pt x="4082465" y="1169610"/>
                </a:cubicBezTo>
                <a:cubicBezTo>
                  <a:pt x="4073903" y="1169610"/>
                  <a:pt x="4067676" y="1163383"/>
                  <a:pt x="4067676" y="1154821"/>
                </a:cubicBezTo>
                <a:cubicBezTo>
                  <a:pt x="4067676" y="1147037"/>
                  <a:pt x="4073903" y="1140032"/>
                  <a:pt x="4082465" y="1140032"/>
                </a:cubicBezTo>
                <a:close/>
                <a:moveTo>
                  <a:pt x="439789" y="1140032"/>
                </a:moveTo>
                <a:cubicBezTo>
                  <a:pt x="448351" y="1140032"/>
                  <a:pt x="454579" y="1146595"/>
                  <a:pt x="454579" y="1153888"/>
                </a:cubicBezTo>
                <a:cubicBezTo>
                  <a:pt x="454579" y="1161910"/>
                  <a:pt x="448351" y="1166286"/>
                  <a:pt x="439789" y="1166286"/>
                </a:cubicBezTo>
                <a:cubicBezTo>
                  <a:pt x="432006" y="1166286"/>
                  <a:pt x="425001" y="1161910"/>
                  <a:pt x="425001" y="1153888"/>
                </a:cubicBezTo>
                <a:cubicBezTo>
                  <a:pt x="425001" y="1146595"/>
                  <a:pt x="432006" y="1140032"/>
                  <a:pt x="439789" y="1140032"/>
                </a:cubicBezTo>
                <a:close/>
                <a:moveTo>
                  <a:pt x="368960" y="1140032"/>
                </a:moveTo>
                <a:cubicBezTo>
                  <a:pt x="377521" y="1140032"/>
                  <a:pt x="383747" y="1146595"/>
                  <a:pt x="383747" y="1153888"/>
                </a:cubicBezTo>
                <a:cubicBezTo>
                  <a:pt x="383747" y="1161910"/>
                  <a:pt x="377521" y="1166286"/>
                  <a:pt x="368960" y="1166286"/>
                </a:cubicBezTo>
                <a:cubicBezTo>
                  <a:pt x="361176" y="1166286"/>
                  <a:pt x="354172" y="1161910"/>
                  <a:pt x="354172" y="1153888"/>
                </a:cubicBezTo>
                <a:cubicBezTo>
                  <a:pt x="354172" y="1146595"/>
                  <a:pt x="361176" y="1140032"/>
                  <a:pt x="368960" y="1140032"/>
                </a:cubicBezTo>
                <a:close/>
                <a:moveTo>
                  <a:pt x="297194" y="1140032"/>
                </a:moveTo>
                <a:cubicBezTo>
                  <a:pt x="305217" y="1140032"/>
                  <a:pt x="309592" y="1146595"/>
                  <a:pt x="309592" y="1153888"/>
                </a:cubicBezTo>
                <a:cubicBezTo>
                  <a:pt x="309592" y="1161910"/>
                  <a:pt x="305217" y="1166286"/>
                  <a:pt x="297194" y="1166286"/>
                </a:cubicBezTo>
                <a:cubicBezTo>
                  <a:pt x="289902" y="1166286"/>
                  <a:pt x="283339" y="1161910"/>
                  <a:pt x="283339" y="1153888"/>
                </a:cubicBezTo>
                <a:cubicBezTo>
                  <a:pt x="283339" y="1146595"/>
                  <a:pt x="289902" y="1140032"/>
                  <a:pt x="297194" y="1140032"/>
                </a:cubicBezTo>
                <a:close/>
                <a:moveTo>
                  <a:pt x="226366" y="1140032"/>
                </a:moveTo>
                <a:cubicBezTo>
                  <a:pt x="232201" y="1140032"/>
                  <a:pt x="238764" y="1146595"/>
                  <a:pt x="238764" y="1153888"/>
                </a:cubicBezTo>
                <a:cubicBezTo>
                  <a:pt x="238764" y="1161910"/>
                  <a:pt x="232201" y="1166286"/>
                  <a:pt x="226366" y="1166286"/>
                </a:cubicBezTo>
                <a:cubicBezTo>
                  <a:pt x="218344" y="1166286"/>
                  <a:pt x="212510" y="1161910"/>
                  <a:pt x="212510" y="1153888"/>
                </a:cubicBezTo>
                <a:cubicBezTo>
                  <a:pt x="212510" y="1146595"/>
                  <a:pt x="218344" y="1140032"/>
                  <a:pt x="226366" y="1140032"/>
                </a:cubicBezTo>
                <a:close/>
                <a:moveTo>
                  <a:pt x="155532" y="1140032"/>
                </a:moveTo>
                <a:cubicBezTo>
                  <a:pt x="161366" y="1140032"/>
                  <a:pt x="167930" y="1146595"/>
                  <a:pt x="167930" y="1153888"/>
                </a:cubicBezTo>
                <a:cubicBezTo>
                  <a:pt x="167930" y="1161910"/>
                  <a:pt x="161366" y="1166286"/>
                  <a:pt x="155532" y="1166286"/>
                </a:cubicBezTo>
                <a:cubicBezTo>
                  <a:pt x="147510" y="1166286"/>
                  <a:pt x="141676" y="1161910"/>
                  <a:pt x="141676" y="1153888"/>
                </a:cubicBezTo>
                <a:cubicBezTo>
                  <a:pt x="141676" y="1146595"/>
                  <a:pt x="147510" y="1140032"/>
                  <a:pt x="155532" y="1140032"/>
                </a:cubicBezTo>
                <a:close/>
                <a:moveTo>
                  <a:pt x="83244" y="1140032"/>
                </a:moveTo>
                <a:cubicBezTo>
                  <a:pt x="90536" y="1140032"/>
                  <a:pt x="97100" y="1146595"/>
                  <a:pt x="97100" y="1153888"/>
                </a:cubicBezTo>
                <a:cubicBezTo>
                  <a:pt x="97100" y="1161910"/>
                  <a:pt x="90536" y="1166286"/>
                  <a:pt x="83244" y="1166286"/>
                </a:cubicBezTo>
                <a:cubicBezTo>
                  <a:pt x="76680" y="1166286"/>
                  <a:pt x="70846" y="1161910"/>
                  <a:pt x="70846" y="1153888"/>
                </a:cubicBezTo>
                <a:cubicBezTo>
                  <a:pt x="70846" y="1146595"/>
                  <a:pt x="76680" y="1140032"/>
                  <a:pt x="83244" y="1140032"/>
                </a:cubicBezTo>
                <a:close/>
                <a:moveTo>
                  <a:pt x="12008" y="1140032"/>
                </a:moveTo>
                <a:cubicBezTo>
                  <a:pt x="20253" y="1140032"/>
                  <a:pt x="26249" y="1146595"/>
                  <a:pt x="26249" y="1153888"/>
                </a:cubicBezTo>
                <a:cubicBezTo>
                  <a:pt x="26249" y="1161910"/>
                  <a:pt x="20253" y="1166286"/>
                  <a:pt x="12008" y="1166286"/>
                </a:cubicBezTo>
                <a:cubicBezTo>
                  <a:pt x="4513" y="1166286"/>
                  <a:pt x="16" y="1161910"/>
                  <a:pt x="16" y="1153888"/>
                </a:cubicBezTo>
                <a:cubicBezTo>
                  <a:pt x="16" y="1146595"/>
                  <a:pt x="4513" y="1140032"/>
                  <a:pt x="12008" y="1140032"/>
                </a:cubicBezTo>
                <a:close/>
                <a:moveTo>
                  <a:pt x="6867525" y="1069203"/>
                </a:moveTo>
                <a:cubicBezTo>
                  <a:pt x="6874088" y="1069203"/>
                  <a:pt x="6879922" y="1075037"/>
                  <a:pt x="6879922" y="1081600"/>
                </a:cubicBezTo>
                <a:cubicBezTo>
                  <a:pt x="6879922" y="1088893"/>
                  <a:pt x="6874088" y="1095457"/>
                  <a:pt x="6867525" y="1095457"/>
                </a:cubicBezTo>
                <a:cubicBezTo>
                  <a:pt x="6860232" y="1095457"/>
                  <a:pt x="6853669" y="1088893"/>
                  <a:pt x="6853669" y="1081600"/>
                </a:cubicBezTo>
                <a:cubicBezTo>
                  <a:pt x="6853669" y="1075037"/>
                  <a:pt x="6860232" y="1069203"/>
                  <a:pt x="6867525" y="1069203"/>
                </a:cubicBezTo>
                <a:close/>
                <a:moveTo>
                  <a:pt x="6795237" y="1069203"/>
                </a:moveTo>
                <a:cubicBezTo>
                  <a:pt x="6803259" y="1069203"/>
                  <a:pt x="6809093" y="1075037"/>
                  <a:pt x="6809093" y="1081600"/>
                </a:cubicBezTo>
                <a:cubicBezTo>
                  <a:pt x="6809093" y="1088893"/>
                  <a:pt x="6803259" y="1095457"/>
                  <a:pt x="6796696" y="1095457"/>
                </a:cubicBezTo>
                <a:cubicBezTo>
                  <a:pt x="6789403" y="1095457"/>
                  <a:pt x="6782840" y="1088893"/>
                  <a:pt x="6782840" y="1081600"/>
                </a:cubicBezTo>
                <a:cubicBezTo>
                  <a:pt x="6782840" y="1075037"/>
                  <a:pt x="6789403" y="1069203"/>
                  <a:pt x="6795237" y="1069203"/>
                </a:cubicBezTo>
                <a:close/>
                <a:moveTo>
                  <a:pt x="6724405" y="1069203"/>
                </a:moveTo>
                <a:cubicBezTo>
                  <a:pt x="6732427" y="1069203"/>
                  <a:pt x="6738261" y="1075037"/>
                  <a:pt x="6738261" y="1081600"/>
                </a:cubicBezTo>
                <a:cubicBezTo>
                  <a:pt x="6738261" y="1088893"/>
                  <a:pt x="6732427" y="1095457"/>
                  <a:pt x="6724405" y="1095457"/>
                </a:cubicBezTo>
                <a:cubicBezTo>
                  <a:pt x="6718571" y="1095457"/>
                  <a:pt x="6712008" y="1088893"/>
                  <a:pt x="6712008" y="1081600"/>
                </a:cubicBezTo>
                <a:cubicBezTo>
                  <a:pt x="6712008" y="1075037"/>
                  <a:pt x="6718571" y="1069203"/>
                  <a:pt x="6724405" y="1069203"/>
                </a:cubicBezTo>
                <a:close/>
                <a:moveTo>
                  <a:pt x="6653576" y="1069203"/>
                </a:moveTo>
                <a:cubicBezTo>
                  <a:pt x="6660869" y="1069203"/>
                  <a:pt x="6667432" y="1075037"/>
                  <a:pt x="6667432" y="1081600"/>
                </a:cubicBezTo>
                <a:cubicBezTo>
                  <a:pt x="6667432" y="1088893"/>
                  <a:pt x="6660869" y="1095457"/>
                  <a:pt x="6653576" y="1095457"/>
                </a:cubicBezTo>
                <a:cubicBezTo>
                  <a:pt x="6645554" y="1095457"/>
                  <a:pt x="6641179" y="1088893"/>
                  <a:pt x="6641179" y="1081600"/>
                </a:cubicBezTo>
                <a:cubicBezTo>
                  <a:pt x="6641179" y="1075037"/>
                  <a:pt x="6645554" y="1069203"/>
                  <a:pt x="6653576" y="1069203"/>
                </a:cubicBezTo>
                <a:close/>
                <a:moveTo>
                  <a:pt x="6581764" y="1069203"/>
                </a:moveTo>
                <a:cubicBezTo>
                  <a:pt x="6589547" y="1069203"/>
                  <a:pt x="6596552" y="1075037"/>
                  <a:pt x="6596552" y="1081600"/>
                </a:cubicBezTo>
                <a:cubicBezTo>
                  <a:pt x="6596552" y="1088893"/>
                  <a:pt x="6589547" y="1095457"/>
                  <a:pt x="6581764" y="1095457"/>
                </a:cubicBezTo>
                <a:cubicBezTo>
                  <a:pt x="6573202" y="1095457"/>
                  <a:pt x="6566976" y="1088893"/>
                  <a:pt x="6566976" y="1081600"/>
                </a:cubicBezTo>
                <a:cubicBezTo>
                  <a:pt x="6566976" y="1075037"/>
                  <a:pt x="6573202" y="1069203"/>
                  <a:pt x="6581764" y="1069203"/>
                </a:cubicBezTo>
                <a:close/>
                <a:moveTo>
                  <a:pt x="6510933" y="1069203"/>
                </a:moveTo>
                <a:cubicBezTo>
                  <a:pt x="6518717" y="1069203"/>
                  <a:pt x="6525722" y="1075037"/>
                  <a:pt x="6525722" y="1081600"/>
                </a:cubicBezTo>
                <a:cubicBezTo>
                  <a:pt x="6525722" y="1088893"/>
                  <a:pt x="6518717" y="1095457"/>
                  <a:pt x="6510933" y="1095457"/>
                </a:cubicBezTo>
                <a:cubicBezTo>
                  <a:pt x="6502371" y="1095457"/>
                  <a:pt x="6496144" y="1088893"/>
                  <a:pt x="6496144" y="1081600"/>
                </a:cubicBezTo>
                <a:cubicBezTo>
                  <a:pt x="6496144" y="1075037"/>
                  <a:pt x="6502371" y="1069203"/>
                  <a:pt x="6510933" y="1069203"/>
                </a:cubicBezTo>
                <a:close/>
                <a:moveTo>
                  <a:pt x="6440492" y="1069203"/>
                </a:moveTo>
                <a:cubicBezTo>
                  <a:pt x="6448081" y="1069203"/>
                  <a:pt x="6454911" y="1075037"/>
                  <a:pt x="6454911" y="1081600"/>
                </a:cubicBezTo>
                <a:cubicBezTo>
                  <a:pt x="6454911" y="1088893"/>
                  <a:pt x="6448081" y="1095457"/>
                  <a:pt x="6440492" y="1095457"/>
                </a:cubicBezTo>
                <a:cubicBezTo>
                  <a:pt x="6432145" y="1095457"/>
                  <a:pt x="6425315" y="1088893"/>
                  <a:pt x="6425315" y="1081600"/>
                </a:cubicBezTo>
                <a:cubicBezTo>
                  <a:pt x="6425315" y="1075037"/>
                  <a:pt x="6432145" y="1069203"/>
                  <a:pt x="6440492" y="1069203"/>
                </a:cubicBezTo>
                <a:close/>
                <a:moveTo>
                  <a:pt x="6368340" y="1069203"/>
                </a:moveTo>
                <a:cubicBezTo>
                  <a:pt x="6376362" y="1069203"/>
                  <a:pt x="6380737" y="1075037"/>
                  <a:pt x="6380737" y="1081600"/>
                </a:cubicBezTo>
                <a:cubicBezTo>
                  <a:pt x="6380737" y="1088893"/>
                  <a:pt x="6376362" y="1095457"/>
                  <a:pt x="6368340" y="1095457"/>
                </a:cubicBezTo>
                <a:cubicBezTo>
                  <a:pt x="6361047" y="1095457"/>
                  <a:pt x="6354484" y="1088893"/>
                  <a:pt x="6354484" y="1081600"/>
                </a:cubicBezTo>
                <a:cubicBezTo>
                  <a:pt x="6354484" y="1075037"/>
                  <a:pt x="6361047" y="1069203"/>
                  <a:pt x="6368340" y="1069203"/>
                </a:cubicBezTo>
                <a:close/>
                <a:moveTo>
                  <a:pt x="6297511" y="1069203"/>
                </a:moveTo>
                <a:cubicBezTo>
                  <a:pt x="6304074" y="1069203"/>
                  <a:pt x="6309908" y="1075037"/>
                  <a:pt x="6309908" y="1081600"/>
                </a:cubicBezTo>
                <a:cubicBezTo>
                  <a:pt x="6309908" y="1088893"/>
                  <a:pt x="6304074" y="1095457"/>
                  <a:pt x="6297511" y="1095457"/>
                </a:cubicBezTo>
                <a:cubicBezTo>
                  <a:pt x="6290218" y="1095457"/>
                  <a:pt x="6283655" y="1088893"/>
                  <a:pt x="6283655" y="1081600"/>
                </a:cubicBezTo>
                <a:cubicBezTo>
                  <a:pt x="6283655" y="1075037"/>
                  <a:pt x="6290218" y="1069203"/>
                  <a:pt x="6297511" y="1069203"/>
                </a:cubicBezTo>
                <a:close/>
                <a:moveTo>
                  <a:pt x="6226679" y="1069203"/>
                </a:moveTo>
                <a:cubicBezTo>
                  <a:pt x="6233242" y="1069203"/>
                  <a:pt x="6239076" y="1075037"/>
                  <a:pt x="6239076" y="1081600"/>
                </a:cubicBezTo>
                <a:cubicBezTo>
                  <a:pt x="6239076" y="1088893"/>
                  <a:pt x="6233242" y="1095457"/>
                  <a:pt x="6226679" y="1095457"/>
                </a:cubicBezTo>
                <a:cubicBezTo>
                  <a:pt x="6219386" y="1095457"/>
                  <a:pt x="6212823" y="1088893"/>
                  <a:pt x="6212823" y="1083059"/>
                </a:cubicBezTo>
                <a:cubicBezTo>
                  <a:pt x="6212823" y="1075037"/>
                  <a:pt x="6219386" y="1069203"/>
                  <a:pt x="6226679" y="1069203"/>
                </a:cubicBezTo>
                <a:close/>
                <a:moveTo>
                  <a:pt x="6154391" y="1069203"/>
                </a:moveTo>
                <a:cubicBezTo>
                  <a:pt x="6161684" y="1069203"/>
                  <a:pt x="6168247" y="1075037"/>
                  <a:pt x="6168247" y="1083059"/>
                </a:cubicBezTo>
                <a:cubicBezTo>
                  <a:pt x="6168247" y="1088893"/>
                  <a:pt x="6161684" y="1095457"/>
                  <a:pt x="6154391" y="1095457"/>
                </a:cubicBezTo>
                <a:cubicBezTo>
                  <a:pt x="6147828" y="1095457"/>
                  <a:pt x="6141994" y="1088893"/>
                  <a:pt x="6141994" y="1083059"/>
                </a:cubicBezTo>
                <a:cubicBezTo>
                  <a:pt x="6141994" y="1075037"/>
                  <a:pt x="6147828" y="1069203"/>
                  <a:pt x="6154391" y="1069203"/>
                </a:cubicBezTo>
                <a:close/>
                <a:moveTo>
                  <a:pt x="6083559" y="1069203"/>
                </a:moveTo>
                <a:cubicBezTo>
                  <a:pt x="6090852" y="1069203"/>
                  <a:pt x="6097415" y="1075037"/>
                  <a:pt x="6097415" y="1083059"/>
                </a:cubicBezTo>
                <a:cubicBezTo>
                  <a:pt x="6097415" y="1088893"/>
                  <a:pt x="6090852" y="1095457"/>
                  <a:pt x="6083559" y="1095457"/>
                </a:cubicBezTo>
                <a:cubicBezTo>
                  <a:pt x="6076996" y="1095457"/>
                  <a:pt x="6071162" y="1088893"/>
                  <a:pt x="6071162" y="1083059"/>
                </a:cubicBezTo>
                <a:cubicBezTo>
                  <a:pt x="6071162" y="1075037"/>
                  <a:pt x="6076996" y="1069203"/>
                  <a:pt x="6083559" y="1069203"/>
                </a:cubicBezTo>
                <a:close/>
                <a:moveTo>
                  <a:pt x="6009356" y="1069203"/>
                </a:moveTo>
                <a:cubicBezTo>
                  <a:pt x="6016649" y="1069203"/>
                  <a:pt x="6023212" y="1075037"/>
                  <a:pt x="6023212" y="1083059"/>
                </a:cubicBezTo>
                <a:cubicBezTo>
                  <a:pt x="6023212" y="1088893"/>
                  <a:pt x="6016649" y="1095457"/>
                  <a:pt x="6009356" y="1095457"/>
                </a:cubicBezTo>
                <a:cubicBezTo>
                  <a:pt x="6001334" y="1095457"/>
                  <a:pt x="5996959" y="1088893"/>
                  <a:pt x="5996959" y="1083059"/>
                </a:cubicBezTo>
                <a:cubicBezTo>
                  <a:pt x="5996959" y="1075037"/>
                  <a:pt x="6001334" y="1069203"/>
                  <a:pt x="6009356" y="1069203"/>
                </a:cubicBezTo>
                <a:close/>
                <a:moveTo>
                  <a:pt x="5940548" y="1069203"/>
                </a:moveTo>
                <a:cubicBezTo>
                  <a:pt x="5948896" y="1069203"/>
                  <a:pt x="5955726" y="1075037"/>
                  <a:pt x="5955726" y="1083059"/>
                </a:cubicBezTo>
                <a:cubicBezTo>
                  <a:pt x="5955726" y="1088893"/>
                  <a:pt x="5948896" y="1095457"/>
                  <a:pt x="5940548" y="1095457"/>
                </a:cubicBezTo>
                <a:cubicBezTo>
                  <a:pt x="5932960" y="1095457"/>
                  <a:pt x="5926130" y="1088893"/>
                  <a:pt x="5926130" y="1083059"/>
                </a:cubicBezTo>
                <a:cubicBezTo>
                  <a:pt x="5926130" y="1075037"/>
                  <a:pt x="5932960" y="1069203"/>
                  <a:pt x="5940548" y="1069203"/>
                </a:cubicBezTo>
                <a:close/>
                <a:moveTo>
                  <a:pt x="5870088" y="1069203"/>
                </a:moveTo>
                <a:cubicBezTo>
                  <a:pt x="5878650" y="1069203"/>
                  <a:pt x="5884877" y="1075037"/>
                  <a:pt x="5884877" y="1083059"/>
                </a:cubicBezTo>
                <a:cubicBezTo>
                  <a:pt x="5884877" y="1088893"/>
                  <a:pt x="5878650" y="1095457"/>
                  <a:pt x="5870088" y="1095457"/>
                </a:cubicBezTo>
                <a:cubicBezTo>
                  <a:pt x="5862304" y="1095457"/>
                  <a:pt x="5855299" y="1088893"/>
                  <a:pt x="5855299" y="1083059"/>
                </a:cubicBezTo>
                <a:cubicBezTo>
                  <a:pt x="5855299" y="1075037"/>
                  <a:pt x="5862304" y="1069203"/>
                  <a:pt x="5870088" y="1069203"/>
                </a:cubicBezTo>
                <a:close/>
                <a:moveTo>
                  <a:pt x="5799257" y="1069203"/>
                </a:moveTo>
                <a:cubicBezTo>
                  <a:pt x="5807819" y="1069203"/>
                  <a:pt x="5814045" y="1075037"/>
                  <a:pt x="5814045" y="1083059"/>
                </a:cubicBezTo>
                <a:cubicBezTo>
                  <a:pt x="5814045" y="1088893"/>
                  <a:pt x="5807819" y="1095457"/>
                  <a:pt x="5799257" y="1095457"/>
                </a:cubicBezTo>
                <a:cubicBezTo>
                  <a:pt x="5791474" y="1095457"/>
                  <a:pt x="5784469" y="1088893"/>
                  <a:pt x="5784469" y="1083059"/>
                </a:cubicBezTo>
                <a:cubicBezTo>
                  <a:pt x="5784469" y="1075037"/>
                  <a:pt x="5791474" y="1069203"/>
                  <a:pt x="5799257" y="1069203"/>
                </a:cubicBezTo>
                <a:close/>
                <a:moveTo>
                  <a:pt x="5724122" y="1069203"/>
                </a:moveTo>
                <a:cubicBezTo>
                  <a:pt x="5732144" y="1069203"/>
                  <a:pt x="5736519" y="1075037"/>
                  <a:pt x="5736519" y="1083059"/>
                </a:cubicBezTo>
                <a:cubicBezTo>
                  <a:pt x="5736519" y="1088893"/>
                  <a:pt x="5732144" y="1095457"/>
                  <a:pt x="5724122" y="1095457"/>
                </a:cubicBezTo>
                <a:cubicBezTo>
                  <a:pt x="5716100" y="1095457"/>
                  <a:pt x="5710266" y="1088893"/>
                  <a:pt x="5710266" y="1083059"/>
                </a:cubicBezTo>
                <a:cubicBezTo>
                  <a:pt x="5710266" y="1075037"/>
                  <a:pt x="5716100" y="1069203"/>
                  <a:pt x="5724122" y="1069203"/>
                </a:cubicBezTo>
                <a:close/>
                <a:moveTo>
                  <a:pt x="5653291" y="1069203"/>
                </a:moveTo>
                <a:cubicBezTo>
                  <a:pt x="5659125" y="1069203"/>
                  <a:pt x="5665688" y="1075037"/>
                  <a:pt x="5665688" y="1083059"/>
                </a:cubicBezTo>
                <a:cubicBezTo>
                  <a:pt x="5665688" y="1088893"/>
                  <a:pt x="5659125" y="1095457"/>
                  <a:pt x="5653291" y="1095457"/>
                </a:cubicBezTo>
                <a:cubicBezTo>
                  <a:pt x="5645269" y="1095457"/>
                  <a:pt x="5639435" y="1088893"/>
                  <a:pt x="5639435" y="1083059"/>
                </a:cubicBezTo>
                <a:cubicBezTo>
                  <a:pt x="5639435" y="1075037"/>
                  <a:pt x="5645269" y="1069203"/>
                  <a:pt x="5653291" y="1069203"/>
                </a:cubicBezTo>
                <a:close/>
                <a:moveTo>
                  <a:pt x="5581002" y="1069203"/>
                </a:moveTo>
                <a:cubicBezTo>
                  <a:pt x="5588295" y="1069203"/>
                  <a:pt x="5594858" y="1075037"/>
                  <a:pt x="5594858" y="1083059"/>
                </a:cubicBezTo>
                <a:cubicBezTo>
                  <a:pt x="5594858" y="1088893"/>
                  <a:pt x="5588295" y="1095457"/>
                  <a:pt x="5581002" y="1095457"/>
                </a:cubicBezTo>
                <a:cubicBezTo>
                  <a:pt x="5574439" y="1095457"/>
                  <a:pt x="5568605" y="1088893"/>
                  <a:pt x="5568605" y="1083059"/>
                </a:cubicBezTo>
                <a:cubicBezTo>
                  <a:pt x="5568605" y="1075037"/>
                  <a:pt x="5574439" y="1069203"/>
                  <a:pt x="5581002" y="1069203"/>
                </a:cubicBezTo>
                <a:close/>
                <a:moveTo>
                  <a:pt x="5510171" y="1069203"/>
                </a:moveTo>
                <a:cubicBezTo>
                  <a:pt x="5517464" y="1069203"/>
                  <a:pt x="5524027" y="1075037"/>
                  <a:pt x="5524027" y="1083059"/>
                </a:cubicBezTo>
                <a:cubicBezTo>
                  <a:pt x="5524027" y="1088893"/>
                  <a:pt x="5517464" y="1095457"/>
                  <a:pt x="5510171" y="1095457"/>
                </a:cubicBezTo>
                <a:cubicBezTo>
                  <a:pt x="5503608" y="1095457"/>
                  <a:pt x="5497774" y="1088893"/>
                  <a:pt x="5497774" y="1083059"/>
                </a:cubicBezTo>
                <a:cubicBezTo>
                  <a:pt x="5497774" y="1075037"/>
                  <a:pt x="5503608" y="1069203"/>
                  <a:pt x="5510171" y="1069203"/>
                </a:cubicBezTo>
                <a:close/>
                <a:moveTo>
                  <a:pt x="5438937" y="1069203"/>
                </a:moveTo>
                <a:cubicBezTo>
                  <a:pt x="5447182" y="1069203"/>
                  <a:pt x="5453178" y="1075037"/>
                  <a:pt x="5453178" y="1083059"/>
                </a:cubicBezTo>
                <a:cubicBezTo>
                  <a:pt x="5453178" y="1088893"/>
                  <a:pt x="5447182" y="1095457"/>
                  <a:pt x="5438937" y="1095457"/>
                </a:cubicBezTo>
                <a:cubicBezTo>
                  <a:pt x="5431442" y="1095457"/>
                  <a:pt x="5426945" y="1088893"/>
                  <a:pt x="5426945" y="1083059"/>
                </a:cubicBezTo>
                <a:cubicBezTo>
                  <a:pt x="5426945" y="1075037"/>
                  <a:pt x="5431442" y="1069203"/>
                  <a:pt x="5438937" y="1069203"/>
                </a:cubicBezTo>
                <a:close/>
                <a:moveTo>
                  <a:pt x="5367530" y="1069203"/>
                </a:moveTo>
                <a:cubicBezTo>
                  <a:pt x="5376092" y="1069203"/>
                  <a:pt x="5382318" y="1075037"/>
                  <a:pt x="5382318" y="1083059"/>
                </a:cubicBezTo>
                <a:cubicBezTo>
                  <a:pt x="5382318" y="1088893"/>
                  <a:pt x="5376092" y="1095457"/>
                  <a:pt x="5367530" y="1095457"/>
                </a:cubicBezTo>
                <a:cubicBezTo>
                  <a:pt x="5359747" y="1095457"/>
                  <a:pt x="5352742" y="1088893"/>
                  <a:pt x="5352742" y="1083059"/>
                </a:cubicBezTo>
                <a:cubicBezTo>
                  <a:pt x="5352742" y="1075037"/>
                  <a:pt x="5359747" y="1069203"/>
                  <a:pt x="5367530" y="1069203"/>
                </a:cubicBezTo>
                <a:close/>
                <a:moveTo>
                  <a:pt x="5296699" y="1069203"/>
                </a:moveTo>
                <a:cubicBezTo>
                  <a:pt x="5305261" y="1069203"/>
                  <a:pt x="5311488" y="1075037"/>
                  <a:pt x="5311488" y="1083059"/>
                </a:cubicBezTo>
                <a:cubicBezTo>
                  <a:pt x="5311488" y="1088893"/>
                  <a:pt x="5305261" y="1095457"/>
                  <a:pt x="5296699" y="1095457"/>
                </a:cubicBezTo>
                <a:cubicBezTo>
                  <a:pt x="5288915" y="1095457"/>
                  <a:pt x="5281910" y="1088893"/>
                  <a:pt x="5281910" y="1083059"/>
                </a:cubicBezTo>
                <a:cubicBezTo>
                  <a:pt x="5281910" y="1075037"/>
                  <a:pt x="5288915" y="1069203"/>
                  <a:pt x="5296699" y="1069203"/>
                </a:cubicBezTo>
                <a:close/>
                <a:moveTo>
                  <a:pt x="5225869" y="1069203"/>
                </a:moveTo>
                <a:cubicBezTo>
                  <a:pt x="5234431" y="1069203"/>
                  <a:pt x="5240657" y="1075037"/>
                  <a:pt x="5240657" y="1083059"/>
                </a:cubicBezTo>
                <a:cubicBezTo>
                  <a:pt x="5240657" y="1088893"/>
                  <a:pt x="5234431" y="1095457"/>
                  <a:pt x="5225869" y="1095457"/>
                </a:cubicBezTo>
                <a:cubicBezTo>
                  <a:pt x="5217307" y="1095457"/>
                  <a:pt x="5211081" y="1088893"/>
                  <a:pt x="5211081" y="1083059"/>
                </a:cubicBezTo>
                <a:cubicBezTo>
                  <a:pt x="5211081" y="1075037"/>
                  <a:pt x="5217307" y="1069203"/>
                  <a:pt x="5225869" y="1069203"/>
                </a:cubicBezTo>
                <a:close/>
                <a:moveTo>
                  <a:pt x="5154105" y="1069203"/>
                </a:moveTo>
                <a:cubicBezTo>
                  <a:pt x="5162127" y="1069203"/>
                  <a:pt x="5166502" y="1075037"/>
                  <a:pt x="5166502" y="1083059"/>
                </a:cubicBezTo>
                <a:cubicBezTo>
                  <a:pt x="5166502" y="1091081"/>
                  <a:pt x="5162127" y="1095457"/>
                  <a:pt x="5154105" y="1095457"/>
                </a:cubicBezTo>
                <a:cubicBezTo>
                  <a:pt x="5146083" y="1095457"/>
                  <a:pt x="5140249" y="1091081"/>
                  <a:pt x="5140249" y="1083059"/>
                </a:cubicBezTo>
                <a:cubicBezTo>
                  <a:pt x="5140249" y="1075037"/>
                  <a:pt x="5146083" y="1069203"/>
                  <a:pt x="5154105" y="1069203"/>
                </a:cubicBezTo>
                <a:close/>
                <a:moveTo>
                  <a:pt x="5083276" y="1069203"/>
                </a:moveTo>
                <a:cubicBezTo>
                  <a:pt x="5089110" y="1069203"/>
                  <a:pt x="5095673" y="1075037"/>
                  <a:pt x="5095673" y="1083059"/>
                </a:cubicBezTo>
                <a:cubicBezTo>
                  <a:pt x="5095673" y="1091081"/>
                  <a:pt x="5089110" y="1095457"/>
                  <a:pt x="5083276" y="1095457"/>
                </a:cubicBezTo>
                <a:cubicBezTo>
                  <a:pt x="5075254" y="1095457"/>
                  <a:pt x="5069420" y="1091081"/>
                  <a:pt x="5069420" y="1083059"/>
                </a:cubicBezTo>
                <a:cubicBezTo>
                  <a:pt x="5069420" y="1075037"/>
                  <a:pt x="5075254" y="1069203"/>
                  <a:pt x="5083276" y="1069203"/>
                </a:cubicBezTo>
                <a:close/>
                <a:moveTo>
                  <a:pt x="5012445" y="1069203"/>
                </a:moveTo>
                <a:cubicBezTo>
                  <a:pt x="5018279" y="1069203"/>
                  <a:pt x="5024842" y="1075037"/>
                  <a:pt x="5024842" y="1083059"/>
                </a:cubicBezTo>
                <a:cubicBezTo>
                  <a:pt x="5024842" y="1091081"/>
                  <a:pt x="5018279" y="1095457"/>
                  <a:pt x="5012445" y="1095457"/>
                </a:cubicBezTo>
                <a:cubicBezTo>
                  <a:pt x="5004423" y="1095457"/>
                  <a:pt x="4998589" y="1091081"/>
                  <a:pt x="4998589" y="1083059"/>
                </a:cubicBezTo>
                <a:cubicBezTo>
                  <a:pt x="4998589" y="1075037"/>
                  <a:pt x="5004423" y="1069203"/>
                  <a:pt x="5012445" y="1069203"/>
                </a:cubicBezTo>
                <a:close/>
                <a:moveTo>
                  <a:pt x="4940157" y="1069203"/>
                </a:moveTo>
                <a:cubicBezTo>
                  <a:pt x="4948179" y="1069203"/>
                  <a:pt x="4954013" y="1075037"/>
                  <a:pt x="4954013" y="1083059"/>
                </a:cubicBezTo>
                <a:cubicBezTo>
                  <a:pt x="4954013" y="1091081"/>
                  <a:pt x="4948179" y="1095457"/>
                  <a:pt x="4940157" y="1095457"/>
                </a:cubicBezTo>
                <a:cubicBezTo>
                  <a:pt x="4934323" y="1095457"/>
                  <a:pt x="4927760" y="1091081"/>
                  <a:pt x="4927760" y="1083059"/>
                </a:cubicBezTo>
                <a:cubicBezTo>
                  <a:pt x="4927760" y="1075037"/>
                  <a:pt x="4934323" y="1069203"/>
                  <a:pt x="4940157" y="1069203"/>
                </a:cubicBezTo>
                <a:close/>
                <a:moveTo>
                  <a:pt x="4865953" y="1069203"/>
                </a:moveTo>
                <a:cubicBezTo>
                  <a:pt x="4873975" y="1069203"/>
                  <a:pt x="4879809" y="1075037"/>
                  <a:pt x="4879809" y="1083059"/>
                </a:cubicBezTo>
                <a:cubicBezTo>
                  <a:pt x="4879809" y="1091081"/>
                  <a:pt x="4873975" y="1095457"/>
                  <a:pt x="4865953" y="1095457"/>
                </a:cubicBezTo>
                <a:cubicBezTo>
                  <a:pt x="4860119" y="1095457"/>
                  <a:pt x="4853556" y="1091081"/>
                  <a:pt x="4853556" y="1083059"/>
                </a:cubicBezTo>
                <a:cubicBezTo>
                  <a:pt x="4853556" y="1075037"/>
                  <a:pt x="4860119" y="1069203"/>
                  <a:pt x="4865953" y="1069203"/>
                </a:cubicBezTo>
                <a:close/>
                <a:moveTo>
                  <a:pt x="4795122" y="1069203"/>
                </a:moveTo>
                <a:cubicBezTo>
                  <a:pt x="4803144" y="1069203"/>
                  <a:pt x="4808978" y="1075037"/>
                  <a:pt x="4808978" y="1083059"/>
                </a:cubicBezTo>
                <a:cubicBezTo>
                  <a:pt x="4808978" y="1091081"/>
                  <a:pt x="4803144" y="1095457"/>
                  <a:pt x="4795122" y="1095457"/>
                </a:cubicBezTo>
                <a:cubicBezTo>
                  <a:pt x="4787830" y="1095457"/>
                  <a:pt x="4782725" y="1091081"/>
                  <a:pt x="4782725" y="1083059"/>
                </a:cubicBezTo>
                <a:cubicBezTo>
                  <a:pt x="4782725" y="1075037"/>
                  <a:pt x="4787830" y="1069203"/>
                  <a:pt x="4795122" y="1069203"/>
                </a:cubicBezTo>
                <a:close/>
                <a:moveTo>
                  <a:pt x="4726684" y="1069203"/>
                </a:moveTo>
                <a:cubicBezTo>
                  <a:pt x="4735246" y="1069203"/>
                  <a:pt x="4741472" y="1075037"/>
                  <a:pt x="4741472" y="1083059"/>
                </a:cubicBezTo>
                <a:cubicBezTo>
                  <a:pt x="4741472" y="1091081"/>
                  <a:pt x="4735246" y="1095457"/>
                  <a:pt x="4726684" y="1095457"/>
                </a:cubicBezTo>
                <a:cubicBezTo>
                  <a:pt x="4718122" y="1095457"/>
                  <a:pt x="4711896" y="1091081"/>
                  <a:pt x="4711896" y="1083059"/>
                </a:cubicBezTo>
                <a:cubicBezTo>
                  <a:pt x="4711896" y="1075037"/>
                  <a:pt x="4718122" y="1069203"/>
                  <a:pt x="4726684" y="1069203"/>
                </a:cubicBezTo>
                <a:close/>
                <a:moveTo>
                  <a:pt x="4655853" y="1069203"/>
                </a:moveTo>
                <a:cubicBezTo>
                  <a:pt x="4663637" y="1069203"/>
                  <a:pt x="4670642" y="1075037"/>
                  <a:pt x="4670642" y="1083059"/>
                </a:cubicBezTo>
                <a:cubicBezTo>
                  <a:pt x="4670642" y="1091081"/>
                  <a:pt x="4663637" y="1095457"/>
                  <a:pt x="4655853" y="1095457"/>
                </a:cubicBezTo>
                <a:cubicBezTo>
                  <a:pt x="4647291" y="1095457"/>
                  <a:pt x="4641064" y="1091081"/>
                  <a:pt x="4641064" y="1083059"/>
                </a:cubicBezTo>
                <a:cubicBezTo>
                  <a:pt x="4641064" y="1075037"/>
                  <a:pt x="4647291" y="1069203"/>
                  <a:pt x="4655853" y="1069203"/>
                </a:cubicBezTo>
                <a:close/>
                <a:moveTo>
                  <a:pt x="4585023" y="1069203"/>
                </a:moveTo>
                <a:cubicBezTo>
                  <a:pt x="4592806" y="1069203"/>
                  <a:pt x="4599811" y="1075037"/>
                  <a:pt x="4599811" y="1083059"/>
                </a:cubicBezTo>
                <a:cubicBezTo>
                  <a:pt x="4599811" y="1091081"/>
                  <a:pt x="4592806" y="1095457"/>
                  <a:pt x="4585023" y="1095457"/>
                </a:cubicBezTo>
                <a:cubicBezTo>
                  <a:pt x="4576461" y="1095457"/>
                  <a:pt x="4570235" y="1091081"/>
                  <a:pt x="4570235" y="1083059"/>
                </a:cubicBezTo>
                <a:cubicBezTo>
                  <a:pt x="4570235" y="1075037"/>
                  <a:pt x="4576461" y="1069203"/>
                  <a:pt x="4585023" y="1069203"/>
                </a:cubicBezTo>
                <a:close/>
                <a:moveTo>
                  <a:pt x="4513260" y="1069203"/>
                </a:moveTo>
                <a:cubicBezTo>
                  <a:pt x="4519094" y="1069203"/>
                  <a:pt x="4525657" y="1075430"/>
                  <a:pt x="4525657" y="1083991"/>
                </a:cubicBezTo>
                <a:cubicBezTo>
                  <a:pt x="4525657" y="1092553"/>
                  <a:pt x="4519094" y="1098780"/>
                  <a:pt x="4513260" y="1098780"/>
                </a:cubicBezTo>
                <a:cubicBezTo>
                  <a:pt x="4505238" y="1098780"/>
                  <a:pt x="4499404" y="1092553"/>
                  <a:pt x="4499404" y="1083991"/>
                </a:cubicBezTo>
                <a:cubicBezTo>
                  <a:pt x="4499404" y="1075430"/>
                  <a:pt x="4505238" y="1069203"/>
                  <a:pt x="4513260" y="1069203"/>
                </a:cubicBezTo>
                <a:close/>
                <a:moveTo>
                  <a:pt x="4439056" y="1069203"/>
                </a:moveTo>
                <a:cubicBezTo>
                  <a:pt x="4445619" y="1069203"/>
                  <a:pt x="4451453" y="1075430"/>
                  <a:pt x="4451453" y="1083991"/>
                </a:cubicBezTo>
                <a:cubicBezTo>
                  <a:pt x="4451453" y="1092553"/>
                  <a:pt x="4445619" y="1098780"/>
                  <a:pt x="4439056" y="1098780"/>
                </a:cubicBezTo>
                <a:cubicBezTo>
                  <a:pt x="4431763" y="1098780"/>
                  <a:pt x="4425200" y="1092553"/>
                  <a:pt x="4425200" y="1083991"/>
                </a:cubicBezTo>
                <a:cubicBezTo>
                  <a:pt x="4425200" y="1075430"/>
                  <a:pt x="4431763" y="1069203"/>
                  <a:pt x="4439056" y="1069203"/>
                </a:cubicBezTo>
                <a:close/>
                <a:moveTo>
                  <a:pt x="4366768" y="1069203"/>
                </a:moveTo>
                <a:cubicBezTo>
                  <a:pt x="4374790" y="1069203"/>
                  <a:pt x="4380624" y="1075430"/>
                  <a:pt x="4380624" y="1083991"/>
                </a:cubicBezTo>
                <a:cubicBezTo>
                  <a:pt x="4380624" y="1092553"/>
                  <a:pt x="4374790" y="1098780"/>
                  <a:pt x="4366768" y="1098780"/>
                </a:cubicBezTo>
                <a:cubicBezTo>
                  <a:pt x="4360934" y="1098780"/>
                  <a:pt x="4354371" y="1092553"/>
                  <a:pt x="4354371" y="1083991"/>
                </a:cubicBezTo>
                <a:cubicBezTo>
                  <a:pt x="4354371" y="1075430"/>
                  <a:pt x="4360934" y="1069203"/>
                  <a:pt x="4366768" y="1069203"/>
                </a:cubicBezTo>
                <a:close/>
                <a:moveTo>
                  <a:pt x="4295937" y="1069203"/>
                </a:moveTo>
                <a:cubicBezTo>
                  <a:pt x="4303959" y="1069203"/>
                  <a:pt x="4309793" y="1075430"/>
                  <a:pt x="4309793" y="1083991"/>
                </a:cubicBezTo>
                <a:cubicBezTo>
                  <a:pt x="4309793" y="1092553"/>
                  <a:pt x="4303959" y="1098780"/>
                  <a:pt x="4295937" y="1098780"/>
                </a:cubicBezTo>
                <a:cubicBezTo>
                  <a:pt x="4290103" y="1098780"/>
                  <a:pt x="4283540" y="1092553"/>
                  <a:pt x="4283540" y="1083991"/>
                </a:cubicBezTo>
                <a:cubicBezTo>
                  <a:pt x="4283540" y="1075430"/>
                  <a:pt x="4290103" y="1069203"/>
                  <a:pt x="4295937" y="1069203"/>
                </a:cubicBezTo>
                <a:close/>
                <a:moveTo>
                  <a:pt x="4225107" y="1069203"/>
                </a:moveTo>
                <a:cubicBezTo>
                  <a:pt x="4233129" y="1069203"/>
                  <a:pt x="4238963" y="1075430"/>
                  <a:pt x="4238963" y="1083991"/>
                </a:cubicBezTo>
                <a:cubicBezTo>
                  <a:pt x="4238963" y="1092553"/>
                  <a:pt x="4233129" y="1098780"/>
                  <a:pt x="4225107" y="1098780"/>
                </a:cubicBezTo>
                <a:cubicBezTo>
                  <a:pt x="4217085" y="1098780"/>
                  <a:pt x="4212710" y="1092553"/>
                  <a:pt x="4212710" y="1083991"/>
                </a:cubicBezTo>
                <a:cubicBezTo>
                  <a:pt x="4212710" y="1075430"/>
                  <a:pt x="4217085" y="1069203"/>
                  <a:pt x="4225107" y="1069203"/>
                </a:cubicBezTo>
                <a:close/>
                <a:moveTo>
                  <a:pt x="4153295" y="1069203"/>
                </a:moveTo>
                <a:cubicBezTo>
                  <a:pt x="4161078" y="1069203"/>
                  <a:pt x="4168083" y="1075430"/>
                  <a:pt x="4168083" y="1083991"/>
                </a:cubicBezTo>
                <a:cubicBezTo>
                  <a:pt x="4168083" y="1092553"/>
                  <a:pt x="4161078" y="1098780"/>
                  <a:pt x="4153295" y="1098780"/>
                </a:cubicBezTo>
                <a:cubicBezTo>
                  <a:pt x="4144733" y="1098780"/>
                  <a:pt x="4138507" y="1092553"/>
                  <a:pt x="4138507" y="1083991"/>
                </a:cubicBezTo>
                <a:cubicBezTo>
                  <a:pt x="4138507" y="1075430"/>
                  <a:pt x="4144733" y="1069203"/>
                  <a:pt x="4153295" y="1069203"/>
                </a:cubicBezTo>
                <a:close/>
                <a:moveTo>
                  <a:pt x="4082465" y="1069203"/>
                </a:moveTo>
                <a:cubicBezTo>
                  <a:pt x="4090249" y="1069203"/>
                  <a:pt x="4097254" y="1075430"/>
                  <a:pt x="4097254" y="1083991"/>
                </a:cubicBezTo>
                <a:cubicBezTo>
                  <a:pt x="4097254" y="1092553"/>
                  <a:pt x="4090249" y="1098780"/>
                  <a:pt x="4082465" y="1098780"/>
                </a:cubicBezTo>
                <a:cubicBezTo>
                  <a:pt x="4073903" y="1098780"/>
                  <a:pt x="4067676" y="1092553"/>
                  <a:pt x="4067676" y="1083991"/>
                </a:cubicBezTo>
                <a:cubicBezTo>
                  <a:pt x="4067676" y="1075430"/>
                  <a:pt x="4073903" y="1069203"/>
                  <a:pt x="4082465" y="1069203"/>
                </a:cubicBezTo>
                <a:close/>
                <a:moveTo>
                  <a:pt x="4011635" y="1069203"/>
                </a:moveTo>
                <a:cubicBezTo>
                  <a:pt x="4019418" y="1069203"/>
                  <a:pt x="4026423" y="1075430"/>
                  <a:pt x="4026423" y="1083991"/>
                </a:cubicBezTo>
                <a:cubicBezTo>
                  <a:pt x="4026423" y="1092553"/>
                  <a:pt x="4019418" y="1098780"/>
                  <a:pt x="4011635" y="1098780"/>
                </a:cubicBezTo>
                <a:cubicBezTo>
                  <a:pt x="4003073" y="1098780"/>
                  <a:pt x="3996847" y="1092553"/>
                  <a:pt x="3996847" y="1083991"/>
                </a:cubicBezTo>
                <a:cubicBezTo>
                  <a:pt x="3996847" y="1075430"/>
                  <a:pt x="4003073" y="1069203"/>
                  <a:pt x="4011635" y="1069203"/>
                </a:cubicBezTo>
                <a:close/>
                <a:moveTo>
                  <a:pt x="3939871" y="1069203"/>
                </a:moveTo>
                <a:cubicBezTo>
                  <a:pt x="3947893" y="1069203"/>
                  <a:pt x="3952268" y="1075430"/>
                  <a:pt x="3952268" y="1083991"/>
                </a:cubicBezTo>
                <a:cubicBezTo>
                  <a:pt x="3952268" y="1092553"/>
                  <a:pt x="3947893" y="1098780"/>
                  <a:pt x="3939871" y="1098780"/>
                </a:cubicBezTo>
                <a:cubicBezTo>
                  <a:pt x="3932578" y="1098780"/>
                  <a:pt x="3926015" y="1092553"/>
                  <a:pt x="3926015" y="1083991"/>
                </a:cubicBezTo>
                <a:cubicBezTo>
                  <a:pt x="3926015" y="1075430"/>
                  <a:pt x="3932578" y="1069203"/>
                  <a:pt x="3939871" y="1069203"/>
                </a:cubicBezTo>
                <a:close/>
                <a:moveTo>
                  <a:pt x="582439" y="1069203"/>
                </a:moveTo>
                <a:cubicBezTo>
                  <a:pt x="589732" y="1069203"/>
                  <a:pt x="596295" y="1075766"/>
                  <a:pt x="596295" y="1083059"/>
                </a:cubicBezTo>
                <a:cubicBezTo>
                  <a:pt x="596295" y="1089622"/>
                  <a:pt x="589732" y="1095457"/>
                  <a:pt x="582439" y="1095457"/>
                </a:cubicBezTo>
                <a:cubicBezTo>
                  <a:pt x="574416" y="1095457"/>
                  <a:pt x="570041" y="1089622"/>
                  <a:pt x="570041" y="1083059"/>
                </a:cubicBezTo>
                <a:cubicBezTo>
                  <a:pt x="570041" y="1075766"/>
                  <a:pt x="574416" y="1069203"/>
                  <a:pt x="582439" y="1069203"/>
                </a:cubicBezTo>
                <a:close/>
                <a:moveTo>
                  <a:pt x="513628" y="1069203"/>
                </a:moveTo>
                <a:cubicBezTo>
                  <a:pt x="521977" y="1069203"/>
                  <a:pt x="528807" y="1075766"/>
                  <a:pt x="528807" y="1083059"/>
                </a:cubicBezTo>
                <a:cubicBezTo>
                  <a:pt x="528807" y="1089622"/>
                  <a:pt x="521977" y="1095457"/>
                  <a:pt x="513628" y="1095457"/>
                </a:cubicBezTo>
                <a:cubicBezTo>
                  <a:pt x="506040" y="1095457"/>
                  <a:pt x="499209" y="1089622"/>
                  <a:pt x="499209" y="1083059"/>
                </a:cubicBezTo>
                <a:cubicBezTo>
                  <a:pt x="499209" y="1075766"/>
                  <a:pt x="506040" y="1069203"/>
                  <a:pt x="513628" y="1069203"/>
                </a:cubicBezTo>
                <a:close/>
                <a:moveTo>
                  <a:pt x="439795" y="1069203"/>
                </a:moveTo>
                <a:cubicBezTo>
                  <a:pt x="448358" y="1069203"/>
                  <a:pt x="454585" y="1075766"/>
                  <a:pt x="454585" y="1083059"/>
                </a:cubicBezTo>
                <a:cubicBezTo>
                  <a:pt x="454585" y="1089622"/>
                  <a:pt x="448358" y="1095457"/>
                  <a:pt x="439795" y="1095457"/>
                </a:cubicBezTo>
                <a:cubicBezTo>
                  <a:pt x="432012" y="1095457"/>
                  <a:pt x="425007" y="1089622"/>
                  <a:pt x="425007" y="1083059"/>
                </a:cubicBezTo>
                <a:cubicBezTo>
                  <a:pt x="425007" y="1075766"/>
                  <a:pt x="432012" y="1069203"/>
                  <a:pt x="439795" y="1069203"/>
                </a:cubicBezTo>
                <a:close/>
                <a:moveTo>
                  <a:pt x="368965" y="1069203"/>
                </a:moveTo>
                <a:cubicBezTo>
                  <a:pt x="377527" y="1069203"/>
                  <a:pt x="383754" y="1075766"/>
                  <a:pt x="383754" y="1083059"/>
                </a:cubicBezTo>
                <a:cubicBezTo>
                  <a:pt x="383754" y="1089622"/>
                  <a:pt x="377527" y="1095457"/>
                  <a:pt x="368965" y="1095457"/>
                </a:cubicBezTo>
                <a:cubicBezTo>
                  <a:pt x="361182" y="1095457"/>
                  <a:pt x="354177" y="1089622"/>
                  <a:pt x="354177" y="1083059"/>
                </a:cubicBezTo>
                <a:cubicBezTo>
                  <a:pt x="354177" y="1075766"/>
                  <a:pt x="361182" y="1069203"/>
                  <a:pt x="368965" y="1069203"/>
                </a:cubicBezTo>
                <a:close/>
                <a:moveTo>
                  <a:pt x="297201" y="1069203"/>
                </a:moveTo>
                <a:cubicBezTo>
                  <a:pt x="305223" y="1069203"/>
                  <a:pt x="309599" y="1075766"/>
                  <a:pt x="309599" y="1083059"/>
                </a:cubicBezTo>
                <a:cubicBezTo>
                  <a:pt x="309599" y="1089622"/>
                  <a:pt x="305223" y="1095457"/>
                  <a:pt x="297201" y="1095457"/>
                </a:cubicBezTo>
                <a:cubicBezTo>
                  <a:pt x="289909" y="1095457"/>
                  <a:pt x="283346" y="1089622"/>
                  <a:pt x="283346" y="1083059"/>
                </a:cubicBezTo>
                <a:cubicBezTo>
                  <a:pt x="283346" y="1075766"/>
                  <a:pt x="289909" y="1069203"/>
                  <a:pt x="297201" y="1069203"/>
                </a:cubicBezTo>
                <a:close/>
                <a:moveTo>
                  <a:pt x="226372" y="1069203"/>
                </a:moveTo>
                <a:cubicBezTo>
                  <a:pt x="232207" y="1069203"/>
                  <a:pt x="238771" y="1075766"/>
                  <a:pt x="238771" y="1083059"/>
                </a:cubicBezTo>
                <a:cubicBezTo>
                  <a:pt x="238771" y="1089622"/>
                  <a:pt x="232207" y="1095457"/>
                  <a:pt x="226372" y="1095457"/>
                </a:cubicBezTo>
                <a:cubicBezTo>
                  <a:pt x="218350" y="1095457"/>
                  <a:pt x="212516" y="1089622"/>
                  <a:pt x="212516" y="1083059"/>
                </a:cubicBezTo>
                <a:cubicBezTo>
                  <a:pt x="212516" y="1075766"/>
                  <a:pt x="218350" y="1069203"/>
                  <a:pt x="226372" y="1069203"/>
                </a:cubicBezTo>
                <a:close/>
                <a:moveTo>
                  <a:pt x="154079" y="1069203"/>
                </a:moveTo>
                <a:cubicBezTo>
                  <a:pt x="161372" y="1069203"/>
                  <a:pt x="167935" y="1075766"/>
                  <a:pt x="167935" y="1083059"/>
                </a:cubicBezTo>
                <a:cubicBezTo>
                  <a:pt x="167935" y="1089622"/>
                  <a:pt x="161372" y="1095457"/>
                  <a:pt x="154079" y="1095457"/>
                </a:cubicBezTo>
                <a:cubicBezTo>
                  <a:pt x="147516" y="1095457"/>
                  <a:pt x="141682" y="1089622"/>
                  <a:pt x="141682" y="1083059"/>
                </a:cubicBezTo>
                <a:cubicBezTo>
                  <a:pt x="141682" y="1075766"/>
                  <a:pt x="147516" y="1069203"/>
                  <a:pt x="154079" y="1069203"/>
                </a:cubicBezTo>
                <a:close/>
                <a:moveTo>
                  <a:pt x="83249" y="1069203"/>
                </a:moveTo>
                <a:cubicBezTo>
                  <a:pt x="90542" y="1069203"/>
                  <a:pt x="97105" y="1075766"/>
                  <a:pt x="97105" y="1083059"/>
                </a:cubicBezTo>
                <a:cubicBezTo>
                  <a:pt x="97105" y="1089622"/>
                  <a:pt x="90542" y="1095457"/>
                  <a:pt x="83249" y="1095457"/>
                </a:cubicBezTo>
                <a:cubicBezTo>
                  <a:pt x="76686" y="1095457"/>
                  <a:pt x="70852" y="1089622"/>
                  <a:pt x="70852" y="1083059"/>
                </a:cubicBezTo>
                <a:cubicBezTo>
                  <a:pt x="70852" y="1075766"/>
                  <a:pt x="76686" y="1069203"/>
                  <a:pt x="83249" y="1069203"/>
                </a:cubicBezTo>
                <a:close/>
                <a:moveTo>
                  <a:pt x="12014" y="1069203"/>
                </a:moveTo>
                <a:cubicBezTo>
                  <a:pt x="20258" y="1069203"/>
                  <a:pt x="26255" y="1075766"/>
                  <a:pt x="26255" y="1083059"/>
                </a:cubicBezTo>
                <a:cubicBezTo>
                  <a:pt x="26255" y="1091081"/>
                  <a:pt x="20258" y="1095457"/>
                  <a:pt x="12014" y="1095457"/>
                </a:cubicBezTo>
                <a:cubicBezTo>
                  <a:pt x="4518" y="1095457"/>
                  <a:pt x="21" y="1091081"/>
                  <a:pt x="21" y="1083059"/>
                </a:cubicBezTo>
                <a:cubicBezTo>
                  <a:pt x="21" y="1075766"/>
                  <a:pt x="4518" y="1069203"/>
                  <a:pt x="12014" y="1069203"/>
                </a:cubicBezTo>
                <a:close/>
                <a:moveTo>
                  <a:pt x="6724405" y="998371"/>
                </a:moveTo>
                <a:cubicBezTo>
                  <a:pt x="6732427" y="998371"/>
                  <a:pt x="6738261" y="1004205"/>
                  <a:pt x="6738261" y="1010768"/>
                </a:cubicBezTo>
                <a:cubicBezTo>
                  <a:pt x="6738261" y="1018061"/>
                  <a:pt x="6732427" y="1024625"/>
                  <a:pt x="6724405" y="1024625"/>
                </a:cubicBezTo>
                <a:cubicBezTo>
                  <a:pt x="6718571" y="1024625"/>
                  <a:pt x="6712008" y="1018061"/>
                  <a:pt x="6712008" y="1010768"/>
                </a:cubicBezTo>
                <a:cubicBezTo>
                  <a:pt x="6712008" y="1004205"/>
                  <a:pt x="6718571" y="998371"/>
                  <a:pt x="6724405" y="998371"/>
                </a:cubicBezTo>
                <a:close/>
                <a:moveTo>
                  <a:pt x="6653576" y="998371"/>
                </a:moveTo>
                <a:cubicBezTo>
                  <a:pt x="6660869" y="998371"/>
                  <a:pt x="6667432" y="1004205"/>
                  <a:pt x="6667432" y="1010768"/>
                </a:cubicBezTo>
                <a:cubicBezTo>
                  <a:pt x="6667432" y="1018061"/>
                  <a:pt x="6660869" y="1024625"/>
                  <a:pt x="6653576" y="1024625"/>
                </a:cubicBezTo>
                <a:cubicBezTo>
                  <a:pt x="6645554" y="1024625"/>
                  <a:pt x="6641179" y="1018061"/>
                  <a:pt x="6641179" y="1010768"/>
                </a:cubicBezTo>
                <a:cubicBezTo>
                  <a:pt x="6641179" y="1004205"/>
                  <a:pt x="6645554" y="998371"/>
                  <a:pt x="6653576" y="998371"/>
                </a:cubicBezTo>
                <a:close/>
                <a:moveTo>
                  <a:pt x="6581764" y="998371"/>
                </a:moveTo>
                <a:cubicBezTo>
                  <a:pt x="6589547" y="998371"/>
                  <a:pt x="6596552" y="1004205"/>
                  <a:pt x="6596552" y="1010768"/>
                </a:cubicBezTo>
                <a:cubicBezTo>
                  <a:pt x="6596552" y="1018061"/>
                  <a:pt x="6589547" y="1024625"/>
                  <a:pt x="6581764" y="1024625"/>
                </a:cubicBezTo>
                <a:cubicBezTo>
                  <a:pt x="6573202" y="1024625"/>
                  <a:pt x="6566976" y="1018061"/>
                  <a:pt x="6566976" y="1010768"/>
                </a:cubicBezTo>
                <a:cubicBezTo>
                  <a:pt x="6566976" y="1004205"/>
                  <a:pt x="6573202" y="998371"/>
                  <a:pt x="6581764" y="998371"/>
                </a:cubicBezTo>
                <a:close/>
                <a:moveTo>
                  <a:pt x="6510933" y="998371"/>
                </a:moveTo>
                <a:cubicBezTo>
                  <a:pt x="6518717" y="998371"/>
                  <a:pt x="6525722" y="1004205"/>
                  <a:pt x="6525722" y="1010768"/>
                </a:cubicBezTo>
                <a:cubicBezTo>
                  <a:pt x="6525722" y="1018061"/>
                  <a:pt x="6518717" y="1024625"/>
                  <a:pt x="6510933" y="1024625"/>
                </a:cubicBezTo>
                <a:cubicBezTo>
                  <a:pt x="6502371" y="1024625"/>
                  <a:pt x="6496144" y="1018061"/>
                  <a:pt x="6496144" y="1010768"/>
                </a:cubicBezTo>
                <a:cubicBezTo>
                  <a:pt x="6496144" y="1004205"/>
                  <a:pt x="6502371" y="998371"/>
                  <a:pt x="6510933" y="998371"/>
                </a:cubicBezTo>
                <a:close/>
                <a:moveTo>
                  <a:pt x="6440492" y="998371"/>
                </a:moveTo>
                <a:cubicBezTo>
                  <a:pt x="6448081" y="998371"/>
                  <a:pt x="6454911" y="1004205"/>
                  <a:pt x="6454911" y="1010768"/>
                </a:cubicBezTo>
                <a:cubicBezTo>
                  <a:pt x="6454911" y="1018061"/>
                  <a:pt x="6448081" y="1024625"/>
                  <a:pt x="6440492" y="1024625"/>
                </a:cubicBezTo>
                <a:cubicBezTo>
                  <a:pt x="6432145" y="1024625"/>
                  <a:pt x="6425315" y="1018061"/>
                  <a:pt x="6425315" y="1010768"/>
                </a:cubicBezTo>
                <a:cubicBezTo>
                  <a:pt x="6425315" y="1004205"/>
                  <a:pt x="6432145" y="998371"/>
                  <a:pt x="6440492" y="998371"/>
                </a:cubicBezTo>
                <a:close/>
                <a:moveTo>
                  <a:pt x="6368340" y="998371"/>
                </a:moveTo>
                <a:cubicBezTo>
                  <a:pt x="6376362" y="998371"/>
                  <a:pt x="6380737" y="1004205"/>
                  <a:pt x="6380737" y="1010768"/>
                </a:cubicBezTo>
                <a:cubicBezTo>
                  <a:pt x="6380737" y="1018061"/>
                  <a:pt x="6376362" y="1024625"/>
                  <a:pt x="6368340" y="1024625"/>
                </a:cubicBezTo>
                <a:cubicBezTo>
                  <a:pt x="6361047" y="1024625"/>
                  <a:pt x="6354484" y="1018061"/>
                  <a:pt x="6354484" y="1010768"/>
                </a:cubicBezTo>
                <a:cubicBezTo>
                  <a:pt x="6354484" y="1004205"/>
                  <a:pt x="6361047" y="998371"/>
                  <a:pt x="6368340" y="998371"/>
                </a:cubicBezTo>
                <a:close/>
                <a:moveTo>
                  <a:pt x="6297511" y="998371"/>
                </a:moveTo>
                <a:cubicBezTo>
                  <a:pt x="6304074" y="998371"/>
                  <a:pt x="6309908" y="1004205"/>
                  <a:pt x="6309908" y="1010768"/>
                </a:cubicBezTo>
                <a:cubicBezTo>
                  <a:pt x="6309908" y="1018061"/>
                  <a:pt x="6304074" y="1024625"/>
                  <a:pt x="6297511" y="1024625"/>
                </a:cubicBezTo>
                <a:cubicBezTo>
                  <a:pt x="6290218" y="1024625"/>
                  <a:pt x="6283655" y="1018061"/>
                  <a:pt x="6283655" y="1010768"/>
                </a:cubicBezTo>
                <a:cubicBezTo>
                  <a:pt x="6283655" y="1004205"/>
                  <a:pt x="6290218" y="998371"/>
                  <a:pt x="6297511" y="998371"/>
                </a:cubicBezTo>
                <a:close/>
                <a:moveTo>
                  <a:pt x="6226679" y="998371"/>
                </a:moveTo>
                <a:cubicBezTo>
                  <a:pt x="6233242" y="998371"/>
                  <a:pt x="6239076" y="1004205"/>
                  <a:pt x="6239076" y="1010768"/>
                </a:cubicBezTo>
                <a:cubicBezTo>
                  <a:pt x="6239076" y="1018061"/>
                  <a:pt x="6233242" y="1024625"/>
                  <a:pt x="6226679" y="1024625"/>
                </a:cubicBezTo>
                <a:cubicBezTo>
                  <a:pt x="6219386" y="1024625"/>
                  <a:pt x="6212823" y="1018061"/>
                  <a:pt x="6212823" y="1010768"/>
                </a:cubicBezTo>
                <a:cubicBezTo>
                  <a:pt x="6212823" y="1004205"/>
                  <a:pt x="6219386" y="998371"/>
                  <a:pt x="6226679" y="998371"/>
                </a:cubicBezTo>
                <a:close/>
                <a:moveTo>
                  <a:pt x="6154391" y="998371"/>
                </a:moveTo>
                <a:cubicBezTo>
                  <a:pt x="6161684" y="998371"/>
                  <a:pt x="6168247" y="1004205"/>
                  <a:pt x="6168247" y="1010768"/>
                </a:cubicBezTo>
                <a:cubicBezTo>
                  <a:pt x="6168247" y="1018061"/>
                  <a:pt x="6161684" y="1024625"/>
                  <a:pt x="6154391" y="1024625"/>
                </a:cubicBezTo>
                <a:cubicBezTo>
                  <a:pt x="6147828" y="1024625"/>
                  <a:pt x="6141994" y="1018061"/>
                  <a:pt x="6141994" y="1010768"/>
                </a:cubicBezTo>
                <a:cubicBezTo>
                  <a:pt x="6141994" y="1004205"/>
                  <a:pt x="6147828" y="998371"/>
                  <a:pt x="6154391" y="998371"/>
                </a:cubicBezTo>
                <a:close/>
                <a:moveTo>
                  <a:pt x="6083559" y="998371"/>
                </a:moveTo>
                <a:cubicBezTo>
                  <a:pt x="6090852" y="998371"/>
                  <a:pt x="6097415" y="1004205"/>
                  <a:pt x="6097415" y="1010768"/>
                </a:cubicBezTo>
                <a:cubicBezTo>
                  <a:pt x="6097415" y="1018061"/>
                  <a:pt x="6090852" y="1024625"/>
                  <a:pt x="6083559" y="1024625"/>
                </a:cubicBezTo>
                <a:cubicBezTo>
                  <a:pt x="6076996" y="1024625"/>
                  <a:pt x="6071162" y="1018061"/>
                  <a:pt x="6071162" y="1010768"/>
                </a:cubicBezTo>
                <a:cubicBezTo>
                  <a:pt x="6071162" y="1004205"/>
                  <a:pt x="6076996" y="998371"/>
                  <a:pt x="6083559" y="998371"/>
                </a:cubicBezTo>
                <a:close/>
                <a:moveTo>
                  <a:pt x="6009356" y="998371"/>
                </a:moveTo>
                <a:cubicBezTo>
                  <a:pt x="6016649" y="998371"/>
                  <a:pt x="6023212" y="1004205"/>
                  <a:pt x="6023212" y="1010768"/>
                </a:cubicBezTo>
                <a:cubicBezTo>
                  <a:pt x="6023212" y="1018061"/>
                  <a:pt x="6016649" y="1024625"/>
                  <a:pt x="6009356" y="1024625"/>
                </a:cubicBezTo>
                <a:cubicBezTo>
                  <a:pt x="6001334" y="1024625"/>
                  <a:pt x="5996959" y="1018061"/>
                  <a:pt x="5996959" y="1010768"/>
                </a:cubicBezTo>
                <a:cubicBezTo>
                  <a:pt x="5996959" y="1004205"/>
                  <a:pt x="6001334" y="998371"/>
                  <a:pt x="6009356" y="998371"/>
                </a:cubicBezTo>
                <a:close/>
                <a:moveTo>
                  <a:pt x="5940548" y="998371"/>
                </a:moveTo>
                <a:cubicBezTo>
                  <a:pt x="5948896" y="998371"/>
                  <a:pt x="5955726" y="1004205"/>
                  <a:pt x="5955726" y="1010768"/>
                </a:cubicBezTo>
                <a:cubicBezTo>
                  <a:pt x="5955726" y="1018061"/>
                  <a:pt x="5948896" y="1024625"/>
                  <a:pt x="5940548" y="1024625"/>
                </a:cubicBezTo>
                <a:cubicBezTo>
                  <a:pt x="5932960" y="1024625"/>
                  <a:pt x="5926130" y="1018061"/>
                  <a:pt x="5926130" y="1010768"/>
                </a:cubicBezTo>
                <a:cubicBezTo>
                  <a:pt x="5926130" y="1004205"/>
                  <a:pt x="5932960" y="998371"/>
                  <a:pt x="5940548" y="998371"/>
                </a:cubicBezTo>
                <a:close/>
                <a:moveTo>
                  <a:pt x="5870088" y="998371"/>
                </a:moveTo>
                <a:cubicBezTo>
                  <a:pt x="5878650" y="998371"/>
                  <a:pt x="5884877" y="1004205"/>
                  <a:pt x="5884877" y="1010768"/>
                </a:cubicBezTo>
                <a:cubicBezTo>
                  <a:pt x="5884877" y="1018061"/>
                  <a:pt x="5878650" y="1024625"/>
                  <a:pt x="5870088" y="1024625"/>
                </a:cubicBezTo>
                <a:cubicBezTo>
                  <a:pt x="5862304" y="1024625"/>
                  <a:pt x="5855299" y="1018061"/>
                  <a:pt x="5855299" y="1010768"/>
                </a:cubicBezTo>
                <a:cubicBezTo>
                  <a:pt x="5855299" y="1004205"/>
                  <a:pt x="5862304" y="998371"/>
                  <a:pt x="5870088" y="998371"/>
                </a:cubicBezTo>
                <a:close/>
                <a:moveTo>
                  <a:pt x="5799257" y="998371"/>
                </a:moveTo>
                <a:cubicBezTo>
                  <a:pt x="5807819" y="998371"/>
                  <a:pt x="5814045" y="1004205"/>
                  <a:pt x="5814045" y="1010768"/>
                </a:cubicBezTo>
                <a:cubicBezTo>
                  <a:pt x="5814045" y="1018061"/>
                  <a:pt x="5807819" y="1024625"/>
                  <a:pt x="5799257" y="1024625"/>
                </a:cubicBezTo>
                <a:cubicBezTo>
                  <a:pt x="5791474" y="1024625"/>
                  <a:pt x="5784469" y="1018061"/>
                  <a:pt x="5784469" y="1010768"/>
                </a:cubicBezTo>
                <a:cubicBezTo>
                  <a:pt x="5784469" y="1004205"/>
                  <a:pt x="5791474" y="998371"/>
                  <a:pt x="5799257" y="998371"/>
                </a:cubicBezTo>
                <a:close/>
                <a:moveTo>
                  <a:pt x="5724122" y="998371"/>
                </a:moveTo>
                <a:cubicBezTo>
                  <a:pt x="5730685" y="998371"/>
                  <a:pt x="5736519" y="1004205"/>
                  <a:pt x="5736519" y="1010768"/>
                </a:cubicBezTo>
                <a:cubicBezTo>
                  <a:pt x="5736519" y="1018061"/>
                  <a:pt x="5730685" y="1024625"/>
                  <a:pt x="5724122" y="1024625"/>
                </a:cubicBezTo>
                <a:cubicBezTo>
                  <a:pt x="5716100" y="1024625"/>
                  <a:pt x="5710266" y="1018061"/>
                  <a:pt x="5710266" y="1010768"/>
                </a:cubicBezTo>
                <a:cubicBezTo>
                  <a:pt x="5710266" y="1004205"/>
                  <a:pt x="5716100" y="998371"/>
                  <a:pt x="5724122" y="998371"/>
                </a:cubicBezTo>
                <a:close/>
                <a:moveTo>
                  <a:pt x="5653291" y="998371"/>
                </a:moveTo>
                <a:cubicBezTo>
                  <a:pt x="5659125" y="998371"/>
                  <a:pt x="5665688" y="1004205"/>
                  <a:pt x="5665688" y="1012227"/>
                </a:cubicBezTo>
                <a:cubicBezTo>
                  <a:pt x="5665688" y="1018061"/>
                  <a:pt x="5659125" y="1024625"/>
                  <a:pt x="5653291" y="1024625"/>
                </a:cubicBezTo>
                <a:cubicBezTo>
                  <a:pt x="5645269" y="1024625"/>
                  <a:pt x="5639435" y="1018061"/>
                  <a:pt x="5639435" y="1012227"/>
                </a:cubicBezTo>
                <a:cubicBezTo>
                  <a:pt x="5639435" y="1004205"/>
                  <a:pt x="5645269" y="998371"/>
                  <a:pt x="5653291" y="998371"/>
                </a:cubicBezTo>
                <a:close/>
                <a:moveTo>
                  <a:pt x="5581002" y="998371"/>
                </a:moveTo>
                <a:cubicBezTo>
                  <a:pt x="5588295" y="998371"/>
                  <a:pt x="5594858" y="1004205"/>
                  <a:pt x="5594858" y="1012227"/>
                </a:cubicBezTo>
                <a:cubicBezTo>
                  <a:pt x="5594858" y="1018061"/>
                  <a:pt x="5588295" y="1024625"/>
                  <a:pt x="5581002" y="1024625"/>
                </a:cubicBezTo>
                <a:cubicBezTo>
                  <a:pt x="5574439" y="1024625"/>
                  <a:pt x="5568605" y="1018061"/>
                  <a:pt x="5568605" y="1012227"/>
                </a:cubicBezTo>
                <a:cubicBezTo>
                  <a:pt x="5568605" y="1004205"/>
                  <a:pt x="5574439" y="998371"/>
                  <a:pt x="5581002" y="998371"/>
                </a:cubicBezTo>
                <a:close/>
                <a:moveTo>
                  <a:pt x="5510171" y="998371"/>
                </a:moveTo>
                <a:cubicBezTo>
                  <a:pt x="5517464" y="998371"/>
                  <a:pt x="5524027" y="1004205"/>
                  <a:pt x="5524027" y="1012227"/>
                </a:cubicBezTo>
                <a:cubicBezTo>
                  <a:pt x="5524027" y="1018061"/>
                  <a:pt x="5517464" y="1024625"/>
                  <a:pt x="5510171" y="1024625"/>
                </a:cubicBezTo>
                <a:cubicBezTo>
                  <a:pt x="5503608" y="1024625"/>
                  <a:pt x="5497774" y="1018061"/>
                  <a:pt x="5497774" y="1012227"/>
                </a:cubicBezTo>
                <a:cubicBezTo>
                  <a:pt x="5497774" y="1004205"/>
                  <a:pt x="5503608" y="998371"/>
                  <a:pt x="5510171" y="998371"/>
                </a:cubicBezTo>
                <a:close/>
                <a:moveTo>
                  <a:pt x="5438937" y="998371"/>
                </a:moveTo>
                <a:cubicBezTo>
                  <a:pt x="5447182" y="998371"/>
                  <a:pt x="5453178" y="1004205"/>
                  <a:pt x="5453178" y="1012227"/>
                </a:cubicBezTo>
                <a:cubicBezTo>
                  <a:pt x="5453178" y="1018061"/>
                  <a:pt x="5447182" y="1024625"/>
                  <a:pt x="5438937" y="1024625"/>
                </a:cubicBezTo>
                <a:cubicBezTo>
                  <a:pt x="5431442" y="1024625"/>
                  <a:pt x="5426945" y="1018061"/>
                  <a:pt x="5426945" y="1012227"/>
                </a:cubicBezTo>
                <a:cubicBezTo>
                  <a:pt x="5426945" y="1004205"/>
                  <a:pt x="5431442" y="998371"/>
                  <a:pt x="5438937" y="998371"/>
                </a:cubicBezTo>
                <a:close/>
                <a:moveTo>
                  <a:pt x="5367530" y="998371"/>
                </a:moveTo>
                <a:cubicBezTo>
                  <a:pt x="5376092" y="998371"/>
                  <a:pt x="5382318" y="1004205"/>
                  <a:pt x="5382318" y="1012227"/>
                </a:cubicBezTo>
                <a:cubicBezTo>
                  <a:pt x="5382318" y="1018061"/>
                  <a:pt x="5376092" y="1024625"/>
                  <a:pt x="5367530" y="1024625"/>
                </a:cubicBezTo>
                <a:cubicBezTo>
                  <a:pt x="5359747" y="1024625"/>
                  <a:pt x="5352742" y="1018061"/>
                  <a:pt x="5352742" y="1012227"/>
                </a:cubicBezTo>
                <a:cubicBezTo>
                  <a:pt x="5352742" y="1004205"/>
                  <a:pt x="5359747" y="998371"/>
                  <a:pt x="5367530" y="998371"/>
                </a:cubicBezTo>
                <a:close/>
                <a:moveTo>
                  <a:pt x="5296699" y="998371"/>
                </a:moveTo>
                <a:cubicBezTo>
                  <a:pt x="5305261" y="998371"/>
                  <a:pt x="5311488" y="1004205"/>
                  <a:pt x="5311488" y="1012227"/>
                </a:cubicBezTo>
                <a:cubicBezTo>
                  <a:pt x="5311488" y="1018061"/>
                  <a:pt x="5305261" y="1024625"/>
                  <a:pt x="5296699" y="1024625"/>
                </a:cubicBezTo>
                <a:cubicBezTo>
                  <a:pt x="5288915" y="1024625"/>
                  <a:pt x="5281910" y="1018061"/>
                  <a:pt x="5281910" y="1012227"/>
                </a:cubicBezTo>
                <a:cubicBezTo>
                  <a:pt x="5281910" y="1004205"/>
                  <a:pt x="5288915" y="998371"/>
                  <a:pt x="5296699" y="998371"/>
                </a:cubicBezTo>
                <a:close/>
                <a:moveTo>
                  <a:pt x="5225869" y="998371"/>
                </a:moveTo>
                <a:cubicBezTo>
                  <a:pt x="5234431" y="998371"/>
                  <a:pt x="5240657" y="1004205"/>
                  <a:pt x="5240657" y="1012227"/>
                </a:cubicBezTo>
                <a:cubicBezTo>
                  <a:pt x="5240657" y="1018061"/>
                  <a:pt x="5234431" y="1024625"/>
                  <a:pt x="5225869" y="1024625"/>
                </a:cubicBezTo>
                <a:cubicBezTo>
                  <a:pt x="5217307" y="1024625"/>
                  <a:pt x="5211081" y="1018061"/>
                  <a:pt x="5211081" y="1012227"/>
                </a:cubicBezTo>
                <a:cubicBezTo>
                  <a:pt x="5211081" y="1004205"/>
                  <a:pt x="5217307" y="998371"/>
                  <a:pt x="5225869" y="998371"/>
                </a:cubicBezTo>
                <a:close/>
                <a:moveTo>
                  <a:pt x="5154105" y="998371"/>
                </a:moveTo>
                <a:cubicBezTo>
                  <a:pt x="5162127" y="998371"/>
                  <a:pt x="5166502" y="1004205"/>
                  <a:pt x="5166502" y="1012227"/>
                </a:cubicBezTo>
                <a:cubicBezTo>
                  <a:pt x="5166502" y="1018061"/>
                  <a:pt x="5162127" y="1024625"/>
                  <a:pt x="5154105" y="1024625"/>
                </a:cubicBezTo>
                <a:cubicBezTo>
                  <a:pt x="5146083" y="1024625"/>
                  <a:pt x="5140249" y="1018061"/>
                  <a:pt x="5140249" y="1012227"/>
                </a:cubicBezTo>
                <a:cubicBezTo>
                  <a:pt x="5140249" y="1004205"/>
                  <a:pt x="5146083" y="998371"/>
                  <a:pt x="5154105" y="998371"/>
                </a:cubicBezTo>
                <a:close/>
                <a:moveTo>
                  <a:pt x="5083276" y="998371"/>
                </a:moveTo>
                <a:cubicBezTo>
                  <a:pt x="5089110" y="998371"/>
                  <a:pt x="5095673" y="1004205"/>
                  <a:pt x="5095673" y="1012227"/>
                </a:cubicBezTo>
                <a:cubicBezTo>
                  <a:pt x="5095673" y="1018061"/>
                  <a:pt x="5089110" y="1024625"/>
                  <a:pt x="5083276" y="1024625"/>
                </a:cubicBezTo>
                <a:cubicBezTo>
                  <a:pt x="5075254" y="1024625"/>
                  <a:pt x="5069420" y="1018061"/>
                  <a:pt x="5069420" y="1012227"/>
                </a:cubicBezTo>
                <a:cubicBezTo>
                  <a:pt x="5069420" y="1004205"/>
                  <a:pt x="5075254" y="998371"/>
                  <a:pt x="5083276" y="998371"/>
                </a:cubicBezTo>
                <a:close/>
                <a:moveTo>
                  <a:pt x="5012445" y="998371"/>
                </a:moveTo>
                <a:cubicBezTo>
                  <a:pt x="5018279" y="998371"/>
                  <a:pt x="5024842" y="1004205"/>
                  <a:pt x="5024842" y="1012227"/>
                </a:cubicBezTo>
                <a:cubicBezTo>
                  <a:pt x="5024842" y="1018061"/>
                  <a:pt x="5018279" y="1024625"/>
                  <a:pt x="5012445" y="1024625"/>
                </a:cubicBezTo>
                <a:cubicBezTo>
                  <a:pt x="5004423" y="1024625"/>
                  <a:pt x="4998589" y="1018061"/>
                  <a:pt x="4998589" y="1012227"/>
                </a:cubicBezTo>
                <a:cubicBezTo>
                  <a:pt x="4998589" y="1004205"/>
                  <a:pt x="5004423" y="998371"/>
                  <a:pt x="5012445" y="998371"/>
                </a:cubicBezTo>
                <a:close/>
                <a:moveTo>
                  <a:pt x="4940157" y="998371"/>
                </a:moveTo>
                <a:cubicBezTo>
                  <a:pt x="4948179" y="998371"/>
                  <a:pt x="4954013" y="1004205"/>
                  <a:pt x="4954013" y="1012227"/>
                </a:cubicBezTo>
                <a:cubicBezTo>
                  <a:pt x="4954013" y="1018061"/>
                  <a:pt x="4948179" y="1024625"/>
                  <a:pt x="4940157" y="1024625"/>
                </a:cubicBezTo>
                <a:cubicBezTo>
                  <a:pt x="4934323" y="1024625"/>
                  <a:pt x="4927760" y="1018061"/>
                  <a:pt x="4927760" y="1012227"/>
                </a:cubicBezTo>
                <a:cubicBezTo>
                  <a:pt x="4927760" y="1004205"/>
                  <a:pt x="4934323" y="998371"/>
                  <a:pt x="4940157" y="998371"/>
                </a:cubicBezTo>
                <a:close/>
                <a:moveTo>
                  <a:pt x="4865953" y="998371"/>
                </a:moveTo>
                <a:cubicBezTo>
                  <a:pt x="4873975" y="998371"/>
                  <a:pt x="4879809" y="1004205"/>
                  <a:pt x="4879809" y="1012227"/>
                </a:cubicBezTo>
                <a:cubicBezTo>
                  <a:pt x="4879809" y="1018061"/>
                  <a:pt x="4873975" y="1024625"/>
                  <a:pt x="4865953" y="1024625"/>
                </a:cubicBezTo>
                <a:cubicBezTo>
                  <a:pt x="4860119" y="1024625"/>
                  <a:pt x="4853556" y="1018061"/>
                  <a:pt x="4853556" y="1012227"/>
                </a:cubicBezTo>
                <a:cubicBezTo>
                  <a:pt x="4853556" y="1004205"/>
                  <a:pt x="4860119" y="998371"/>
                  <a:pt x="4865953" y="998371"/>
                </a:cubicBezTo>
                <a:close/>
                <a:moveTo>
                  <a:pt x="4797514" y="998371"/>
                </a:moveTo>
                <a:cubicBezTo>
                  <a:pt x="4806076" y="998371"/>
                  <a:pt x="4812303" y="1004205"/>
                  <a:pt x="4812303" y="1012227"/>
                </a:cubicBezTo>
                <a:cubicBezTo>
                  <a:pt x="4812303" y="1018061"/>
                  <a:pt x="4806076" y="1024625"/>
                  <a:pt x="4797514" y="1024625"/>
                </a:cubicBezTo>
                <a:cubicBezTo>
                  <a:pt x="4789730" y="1024625"/>
                  <a:pt x="4784282" y="1018061"/>
                  <a:pt x="4782725" y="1012227"/>
                </a:cubicBezTo>
                <a:cubicBezTo>
                  <a:pt x="4782725" y="1004205"/>
                  <a:pt x="4789730" y="998371"/>
                  <a:pt x="4797514" y="998371"/>
                </a:cubicBezTo>
                <a:close/>
                <a:moveTo>
                  <a:pt x="4726684" y="998371"/>
                </a:moveTo>
                <a:cubicBezTo>
                  <a:pt x="4735246" y="998371"/>
                  <a:pt x="4741472" y="1004205"/>
                  <a:pt x="4741472" y="1012227"/>
                </a:cubicBezTo>
                <a:cubicBezTo>
                  <a:pt x="4741472" y="1018061"/>
                  <a:pt x="4735246" y="1024625"/>
                  <a:pt x="4726684" y="1024625"/>
                </a:cubicBezTo>
                <a:cubicBezTo>
                  <a:pt x="4718122" y="1024625"/>
                  <a:pt x="4711896" y="1018061"/>
                  <a:pt x="4711896" y="1012227"/>
                </a:cubicBezTo>
                <a:cubicBezTo>
                  <a:pt x="4711896" y="1004205"/>
                  <a:pt x="4718122" y="998371"/>
                  <a:pt x="4726684" y="998371"/>
                </a:cubicBezTo>
                <a:close/>
                <a:moveTo>
                  <a:pt x="4655853" y="998371"/>
                </a:moveTo>
                <a:cubicBezTo>
                  <a:pt x="4663637" y="998371"/>
                  <a:pt x="4670642" y="1004205"/>
                  <a:pt x="4670642" y="1012227"/>
                </a:cubicBezTo>
                <a:cubicBezTo>
                  <a:pt x="4670642" y="1018061"/>
                  <a:pt x="4663637" y="1024625"/>
                  <a:pt x="4655853" y="1024625"/>
                </a:cubicBezTo>
                <a:cubicBezTo>
                  <a:pt x="4647291" y="1024625"/>
                  <a:pt x="4641064" y="1018061"/>
                  <a:pt x="4641064" y="1012227"/>
                </a:cubicBezTo>
                <a:cubicBezTo>
                  <a:pt x="4641064" y="1004205"/>
                  <a:pt x="4647291" y="998371"/>
                  <a:pt x="4655853" y="998371"/>
                </a:cubicBezTo>
                <a:close/>
                <a:moveTo>
                  <a:pt x="4584091" y="998371"/>
                </a:moveTo>
                <a:cubicBezTo>
                  <a:pt x="4591384" y="998371"/>
                  <a:pt x="4596488" y="1004205"/>
                  <a:pt x="4596488" y="1012227"/>
                </a:cubicBezTo>
                <a:cubicBezTo>
                  <a:pt x="4596488" y="1018061"/>
                  <a:pt x="4591384" y="1024625"/>
                  <a:pt x="4584091" y="1024625"/>
                </a:cubicBezTo>
                <a:cubicBezTo>
                  <a:pt x="4576069" y="1024625"/>
                  <a:pt x="4570235" y="1018061"/>
                  <a:pt x="4570235" y="1012227"/>
                </a:cubicBezTo>
                <a:cubicBezTo>
                  <a:pt x="4570235" y="1004205"/>
                  <a:pt x="4576069" y="998371"/>
                  <a:pt x="4584091" y="998371"/>
                </a:cubicBezTo>
                <a:close/>
                <a:moveTo>
                  <a:pt x="4513260" y="998371"/>
                </a:moveTo>
                <a:cubicBezTo>
                  <a:pt x="4519094" y="998371"/>
                  <a:pt x="4525657" y="1004205"/>
                  <a:pt x="4525657" y="1012227"/>
                </a:cubicBezTo>
                <a:cubicBezTo>
                  <a:pt x="4525657" y="1019520"/>
                  <a:pt x="4519094" y="1024625"/>
                  <a:pt x="4513260" y="1024625"/>
                </a:cubicBezTo>
                <a:cubicBezTo>
                  <a:pt x="4505238" y="1024625"/>
                  <a:pt x="4499404" y="1019520"/>
                  <a:pt x="4499404" y="1012227"/>
                </a:cubicBezTo>
                <a:cubicBezTo>
                  <a:pt x="4499404" y="1004205"/>
                  <a:pt x="4505238" y="998371"/>
                  <a:pt x="4513260" y="998371"/>
                </a:cubicBezTo>
                <a:close/>
                <a:moveTo>
                  <a:pt x="4439056" y="998371"/>
                </a:moveTo>
                <a:cubicBezTo>
                  <a:pt x="4445619" y="998371"/>
                  <a:pt x="4451453" y="1004205"/>
                  <a:pt x="4451453" y="1012227"/>
                </a:cubicBezTo>
                <a:cubicBezTo>
                  <a:pt x="4451453" y="1019520"/>
                  <a:pt x="4445619" y="1024625"/>
                  <a:pt x="4439056" y="1024625"/>
                </a:cubicBezTo>
                <a:cubicBezTo>
                  <a:pt x="4431763" y="1024625"/>
                  <a:pt x="4425200" y="1019520"/>
                  <a:pt x="4425200" y="1012227"/>
                </a:cubicBezTo>
                <a:cubicBezTo>
                  <a:pt x="4425200" y="1004205"/>
                  <a:pt x="4431763" y="998371"/>
                  <a:pt x="4439056" y="998371"/>
                </a:cubicBezTo>
                <a:close/>
                <a:moveTo>
                  <a:pt x="4366768" y="998371"/>
                </a:moveTo>
                <a:cubicBezTo>
                  <a:pt x="4374790" y="998371"/>
                  <a:pt x="4380624" y="1004205"/>
                  <a:pt x="4380624" y="1012227"/>
                </a:cubicBezTo>
                <a:cubicBezTo>
                  <a:pt x="4380624" y="1019520"/>
                  <a:pt x="4374790" y="1024625"/>
                  <a:pt x="4366768" y="1024625"/>
                </a:cubicBezTo>
                <a:cubicBezTo>
                  <a:pt x="4360934" y="1024625"/>
                  <a:pt x="4354371" y="1019520"/>
                  <a:pt x="4354371" y="1012227"/>
                </a:cubicBezTo>
                <a:cubicBezTo>
                  <a:pt x="4354371" y="1004205"/>
                  <a:pt x="4360934" y="998371"/>
                  <a:pt x="4366768" y="998371"/>
                </a:cubicBezTo>
                <a:close/>
                <a:moveTo>
                  <a:pt x="4295937" y="998371"/>
                </a:moveTo>
                <a:cubicBezTo>
                  <a:pt x="4303959" y="998371"/>
                  <a:pt x="4309793" y="1004205"/>
                  <a:pt x="4309793" y="1012227"/>
                </a:cubicBezTo>
                <a:cubicBezTo>
                  <a:pt x="4309793" y="1019520"/>
                  <a:pt x="4303959" y="1024625"/>
                  <a:pt x="4295937" y="1024625"/>
                </a:cubicBezTo>
                <a:cubicBezTo>
                  <a:pt x="4290103" y="1024625"/>
                  <a:pt x="4283540" y="1019520"/>
                  <a:pt x="4283540" y="1012227"/>
                </a:cubicBezTo>
                <a:cubicBezTo>
                  <a:pt x="4283540" y="1004205"/>
                  <a:pt x="4290103" y="998371"/>
                  <a:pt x="4295937" y="998371"/>
                </a:cubicBezTo>
                <a:close/>
                <a:moveTo>
                  <a:pt x="4225107" y="998371"/>
                </a:moveTo>
                <a:cubicBezTo>
                  <a:pt x="4233129" y="998371"/>
                  <a:pt x="4238963" y="1004205"/>
                  <a:pt x="4238963" y="1012227"/>
                </a:cubicBezTo>
                <a:cubicBezTo>
                  <a:pt x="4238963" y="1019520"/>
                  <a:pt x="4233129" y="1024625"/>
                  <a:pt x="4225107" y="1024625"/>
                </a:cubicBezTo>
                <a:cubicBezTo>
                  <a:pt x="4217085" y="1024625"/>
                  <a:pt x="4212710" y="1019520"/>
                  <a:pt x="4212710" y="1012227"/>
                </a:cubicBezTo>
                <a:cubicBezTo>
                  <a:pt x="4212710" y="1004205"/>
                  <a:pt x="4217085" y="998371"/>
                  <a:pt x="4225107" y="998371"/>
                </a:cubicBezTo>
                <a:close/>
                <a:moveTo>
                  <a:pt x="4153295" y="998371"/>
                </a:moveTo>
                <a:cubicBezTo>
                  <a:pt x="4161078" y="998371"/>
                  <a:pt x="4168083" y="1004205"/>
                  <a:pt x="4168083" y="1012227"/>
                </a:cubicBezTo>
                <a:cubicBezTo>
                  <a:pt x="4168083" y="1019520"/>
                  <a:pt x="4161078" y="1024625"/>
                  <a:pt x="4153295" y="1024625"/>
                </a:cubicBezTo>
                <a:cubicBezTo>
                  <a:pt x="4144733" y="1024625"/>
                  <a:pt x="4138507" y="1019520"/>
                  <a:pt x="4138507" y="1012227"/>
                </a:cubicBezTo>
                <a:cubicBezTo>
                  <a:pt x="4138507" y="1004205"/>
                  <a:pt x="4144733" y="998371"/>
                  <a:pt x="4153295" y="998371"/>
                </a:cubicBezTo>
                <a:close/>
                <a:moveTo>
                  <a:pt x="4082465" y="998371"/>
                </a:moveTo>
                <a:cubicBezTo>
                  <a:pt x="4090249" y="998371"/>
                  <a:pt x="4097254" y="1004205"/>
                  <a:pt x="4097254" y="1012227"/>
                </a:cubicBezTo>
                <a:cubicBezTo>
                  <a:pt x="4097254" y="1019520"/>
                  <a:pt x="4090249" y="1024625"/>
                  <a:pt x="4082465" y="1024625"/>
                </a:cubicBezTo>
                <a:cubicBezTo>
                  <a:pt x="4073903" y="1024625"/>
                  <a:pt x="4067676" y="1019520"/>
                  <a:pt x="4067676" y="1012227"/>
                </a:cubicBezTo>
                <a:cubicBezTo>
                  <a:pt x="4067676" y="1004205"/>
                  <a:pt x="4073903" y="998371"/>
                  <a:pt x="4082465" y="998371"/>
                </a:cubicBezTo>
                <a:close/>
                <a:moveTo>
                  <a:pt x="4011635" y="998371"/>
                </a:moveTo>
                <a:cubicBezTo>
                  <a:pt x="4019418" y="998371"/>
                  <a:pt x="4026423" y="1004205"/>
                  <a:pt x="4026423" y="1012227"/>
                </a:cubicBezTo>
                <a:cubicBezTo>
                  <a:pt x="4026423" y="1019520"/>
                  <a:pt x="4019418" y="1024625"/>
                  <a:pt x="4011635" y="1024625"/>
                </a:cubicBezTo>
                <a:cubicBezTo>
                  <a:pt x="4003073" y="1024625"/>
                  <a:pt x="3996847" y="1019520"/>
                  <a:pt x="3996847" y="1012227"/>
                </a:cubicBezTo>
                <a:cubicBezTo>
                  <a:pt x="3996847" y="1004205"/>
                  <a:pt x="4003073" y="998371"/>
                  <a:pt x="4011635" y="998371"/>
                </a:cubicBezTo>
                <a:close/>
                <a:moveTo>
                  <a:pt x="3939871" y="998371"/>
                </a:moveTo>
                <a:cubicBezTo>
                  <a:pt x="3947893" y="998371"/>
                  <a:pt x="3952268" y="1004205"/>
                  <a:pt x="3952268" y="1012227"/>
                </a:cubicBezTo>
                <a:cubicBezTo>
                  <a:pt x="3952268" y="1019520"/>
                  <a:pt x="3947893" y="1024625"/>
                  <a:pt x="3939871" y="1024625"/>
                </a:cubicBezTo>
                <a:cubicBezTo>
                  <a:pt x="3932578" y="1024625"/>
                  <a:pt x="3926015" y="1019520"/>
                  <a:pt x="3926015" y="1012227"/>
                </a:cubicBezTo>
                <a:cubicBezTo>
                  <a:pt x="3926015" y="1004205"/>
                  <a:pt x="3932578" y="998371"/>
                  <a:pt x="3939871" y="998371"/>
                </a:cubicBezTo>
                <a:close/>
                <a:moveTo>
                  <a:pt x="3869042" y="998371"/>
                </a:moveTo>
                <a:cubicBezTo>
                  <a:pt x="3875605" y="998371"/>
                  <a:pt x="3881439" y="1004598"/>
                  <a:pt x="3881439" y="1013160"/>
                </a:cubicBezTo>
                <a:cubicBezTo>
                  <a:pt x="3881439" y="1020944"/>
                  <a:pt x="3875605" y="1027949"/>
                  <a:pt x="3869042" y="1027949"/>
                </a:cubicBezTo>
                <a:cubicBezTo>
                  <a:pt x="3861749" y="1027949"/>
                  <a:pt x="3855186" y="1020944"/>
                  <a:pt x="3855186" y="1013160"/>
                </a:cubicBezTo>
                <a:cubicBezTo>
                  <a:pt x="3855186" y="1004598"/>
                  <a:pt x="3861749" y="998371"/>
                  <a:pt x="3869042" y="998371"/>
                </a:cubicBezTo>
                <a:close/>
                <a:moveTo>
                  <a:pt x="3798211" y="998371"/>
                </a:moveTo>
                <a:cubicBezTo>
                  <a:pt x="3804774" y="998371"/>
                  <a:pt x="3810608" y="1004598"/>
                  <a:pt x="3810608" y="1013160"/>
                </a:cubicBezTo>
                <a:cubicBezTo>
                  <a:pt x="3810608" y="1020944"/>
                  <a:pt x="3804774" y="1027949"/>
                  <a:pt x="3798211" y="1027949"/>
                </a:cubicBezTo>
                <a:cubicBezTo>
                  <a:pt x="3790918" y="1027949"/>
                  <a:pt x="3784355" y="1020944"/>
                  <a:pt x="3784355" y="1013160"/>
                </a:cubicBezTo>
                <a:cubicBezTo>
                  <a:pt x="3784355" y="1004598"/>
                  <a:pt x="3790918" y="998371"/>
                  <a:pt x="3798211" y="998371"/>
                </a:cubicBezTo>
                <a:close/>
                <a:moveTo>
                  <a:pt x="3725922" y="998371"/>
                </a:moveTo>
                <a:cubicBezTo>
                  <a:pt x="3733944" y="998371"/>
                  <a:pt x="3739778" y="1004598"/>
                  <a:pt x="3739778" y="1013160"/>
                </a:cubicBezTo>
                <a:cubicBezTo>
                  <a:pt x="3739778" y="1020944"/>
                  <a:pt x="3733944" y="1027949"/>
                  <a:pt x="3725922" y="1027949"/>
                </a:cubicBezTo>
                <a:cubicBezTo>
                  <a:pt x="3719359" y="1027949"/>
                  <a:pt x="3713525" y="1020944"/>
                  <a:pt x="3713525" y="1013160"/>
                </a:cubicBezTo>
                <a:cubicBezTo>
                  <a:pt x="3713525" y="1004598"/>
                  <a:pt x="3719359" y="998371"/>
                  <a:pt x="3725922" y="998371"/>
                </a:cubicBezTo>
                <a:close/>
                <a:moveTo>
                  <a:pt x="724105" y="998371"/>
                </a:moveTo>
                <a:cubicBezTo>
                  <a:pt x="731398" y="998371"/>
                  <a:pt x="737962" y="1004205"/>
                  <a:pt x="737962" y="1010768"/>
                </a:cubicBezTo>
                <a:cubicBezTo>
                  <a:pt x="737962" y="1018061"/>
                  <a:pt x="731398" y="1024625"/>
                  <a:pt x="724105" y="1024625"/>
                </a:cubicBezTo>
                <a:cubicBezTo>
                  <a:pt x="717541" y="1024625"/>
                  <a:pt x="711707" y="1018061"/>
                  <a:pt x="711707" y="1010768"/>
                </a:cubicBezTo>
                <a:cubicBezTo>
                  <a:pt x="711707" y="1004205"/>
                  <a:pt x="717541" y="998371"/>
                  <a:pt x="724105" y="998371"/>
                </a:cubicBezTo>
                <a:close/>
                <a:moveTo>
                  <a:pt x="653274" y="998371"/>
                </a:moveTo>
                <a:cubicBezTo>
                  <a:pt x="660567" y="998371"/>
                  <a:pt x="667129" y="1004205"/>
                  <a:pt x="667129" y="1010768"/>
                </a:cubicBezTo>
                <a:cubicBezTo>
                  <a:pt x="667129" y="1018061"/>
                  <a:pt x="660567" y="1024625"/>
                  <a:pt x="653274" y="1024625"/>
                </a:cubicBezTo>
                <a:cubicBezTo>
                  <a:pt x="646711" y="1024625"/>
                  <a:pt x="640877" y="1018061"/>
                  <a:pt x="640877" y="1010768"/>
                </a:cubicBezTo>
                <a:cubicBezTo>
                  <a:pt x="640877" y="1004205"/>
                  <a:pt x="646711" y="998371"/>
                  <a:pt x="653274" y="998371"/>
                </a:cubicBezTo>
                <a:close/>
                <a:moveTo>
                  <a:pt x="582446" y="998371"/>
                </a:moveTo>
                <a:cubicBezTo>
                  <a:pt x="589738" y="998371"/>
                  <a:pt x="596301" y="1004205"/>
                  <a:pt x="596301" y="1010768"/>
                </a:cubicBezTo>
                <a:cubicBezTo>
                  <a:pt x="596301" y="1018061"/>
                  <a:pt x="589738" y="1024625"/>
                  <a:pt x="582446" y="1024625"/>
                </a:cubicBezTo>
                <a:cubicBezTo>
                  <a:pt x="574423" y="1024625"/>
                  <a:pt x="570047" y="1018061"/>
                  <a:pt x="570047" y="1010768"/>
                </a:cubicBezTo>
                <a:cubicBezTo>
                  <a:pt x="570047" y="1004205"/>
                  <a:pt x="574423" y="998371"/>
                  <a:pt x="582446" y="998371"/>
                </a:cubicBezTo>
                <a:close/>
                <a:moveTo>
                  <a:pt x="513636" y="998371"/>
                </a:moveTo>
                <a:cubicBezTo>
                  <a:pt x="521983" y="998371"/>
                  <a:pt x="528813" y="1004205"/>
                  <a:pt x="528813" y="1010768"/>
                </a:cubicBezTo>
                <a:cubicBezTo>
                  <a:pt x="528813" y="1018061"/>
                  <a:pt x="521983" y="1024625"/>
                  <a:pt x="513636" y="1024625"/>
                </a:cubicBezTo>
                <a:cubicBezTo>
                  <a:pt x="506046" y="1024625"/>
                  <a:pt x="499216" y="1018061"/>
                  <a:pt x="499216" y="1010768"/>
                </a:cubicBezTo>
                <a:cubicBezTo>
                  <a:pt x="499216" y="1004205"/>
                  <a:pt x="506046" y="998371"/>
                  <a:pt x="513636" y="998371"/>
                </a:cubicBezTo>
                <a:close/>
                <a:moveTo>
                  <a:pt x="439802" y="998371"/>
                </a:moveTo>
                <a:cubicBezTo>
                  <a:pt x="448365" y="998371"/>
                  <a:pt x="454592" y="1004205"/>
                  <a:pt x="454592" y="1010768"/>
                </a:cubicBezTo>
                <a:cubicBezTo>
                  <a:pt x="454592" y="1018061"/>
                  <a:pt x="448365" y="1024625"/>
                  <a:pt x="439802" y="1024625"/>
                </a:cubicBezTo>
                <a:cubicBezTo>
                  <a:pt x="432019" y="1024625"/>
                  <a:pt x="425014" y="1018061"/>
                  <a:pt x="425014" y="1010768"/>
                </a:cubicBezTo>
                <a:cubicBezTo>
                  <a:pt x="425014" y="1004205"/>
                  <a:pt x="432019" y="998371"/>
                  <a:pt x="439802" y="998371"/>
                </a:cubicBezTo>
                <a:close/>
                <a:moveTo>
                  <a:pt x="368040" y="998371"/>
                </a:moveTo>
                <a:cubicBezTo>
                  <a:pt x="376061" y="998371"/>
                  <a:pt x="380438" y="1004205"/>
                  <a:pt x="380438" y="1012227"/>
                </a:cubicBezTo>
                <a:cubicBezTo>
                  <a:pt x="380438" y="1018061"/>
                  <a:pt x="376061" y="1024625"/>
                  <a:pt x="368040" y="1024625"/>
                </a:cubicBezTo>
                <a:cubicBezTo>
                  <a:pt x="360747" y="1024625"/>
                  <a:pt x="354183" y="1018061"/>
                  <a:pt x="354183" y="1012227"/>
                </a:cubicBezTo>
                <a:cubicBezTo>
                  <a:pt x="354183" y="1004205"/>
                  <a:pt x="360747" y="998371"/>
                  <a:pt x="368040" y="998371"/>
                </a:cubicBezTo>
                <a:close/>
                <a:moveTo>
                  <a:pt x="297208" y="998371"/>
                </a:moveTo>
                <a:cubicBezTo>
                  <a:pt x="303771" y="998371"/>
                  <a:pt x="309606" y="1004205"/>
                  <a:pt x="309606" y="1012227"/>
                </a:cubicBezTo>
                <a:cubicBezTo>
                  <a:pt x="309606" y="1018061"/>
                  <a:pt x="303771" y="1024625"/>
                  <a:pt x="297208" y="1024625"/>
                </a:cubicBezTo>
                <a:cubicBezTo>
                  <a:pt x="289916" y="1024625"/>
                  <a:pt x="283352" y="1018061"/>
                  <a:pt x="283352" y="1012227"/>
                </a:cubicBezTo>
                <a:cubicBezTo>
                  <a:pt x="283352" y="1004205"/>
                  <a:pt x="289916" y="998371"/>
                  <a:pt x="297208" y="998371"/>
                </a:cubicBezTo>
                <a:close/>
                <a:moveTo>
                  <a:pt x="226379" y="998371"/>
                </a:moveTo>
                <a:cubicBezTo>
                  <a:pt x="232214" y="998371"/>
                  <a:pt x="238778" y="1004205"/>
                  <a:pt x="238778" y="1012227"/>
                </a:cubicBezTo>
                <a:cubicBezTo>
                  <a:pt x="238778" y="1018061"/>
                  <a:pt x="232214" y="1024625"/>
                  <a:pt x="226379" y="1024625"/>
                </a:cubicBezTo>
                <a:cubicBezTo>
                  <a:pt x="218357" y="1024625"/>
                  <a:pt x="212523" y="1018061"/>
                  <a:pt x="212523" y="1012227"/>
                </a:cubicBezTo>
                <a:cubicBezTo>
                  <a:pt x="212523" y="1004205"/>
                  <a:pt x="218357" y="998371"/>
                  <a:pt x="226379" y="998371"/>
                </a:cubicBezTo>
                <a:close/>
                <a:moveTo>
                  <a:pt x="154085" y="998371"/>
                </a:moveTo>
                <a:cubicBezTo>
                  <a:pt x="161377" y="998371"/>
                  <a:pt x="167941" y="1004205"/>
                  <a:pt x="167941" y="1012227"/>
                </a:cubicBezTo>
                <a:cubicBezTo>
                  <a:pt x="167941" y="1018061"/>
                  <a:pt x="161377" y="1024625"/>
                  <a:pt x="154085" y="1024625"/>
                </a:cubicBezTo>
                <a:cubicBezTo>
                  <a:pt x="147521" y="1024625"/>
                  <a:pt x="141687" y="1018061"/>
                  <a:pt x="141687" y="1012227"/>
                </a:cubicBezTo>
                <a:cubicBezTo>
                  <a:pt x="141687" y="1004205"/>
                  <a:pt x="147521" y="998371"/>
                  <a:pt x="154085" y="998371"/>
                </a:cubicBezTo>
                <a:close/>
                <a:moveTo>
                  <a:pt x="83255" y="998371"/>
                </a:moveTo>
                <a:cubicBezTo>
                  <a:pt x="90548" y="998371"/>
                  <a:pt x="97111" y="1004205"/>
                  <a:pt x="97111" y="1012227"/>
                </a:cubicBezTo>
                <a:cubicBezTo>
                  <a:pt x="97111" y="1018061"/>
                  <a:pt x="90548" y="1024625"/>
                  <a:pt x="83255" y="1024625"/>
                </a:cubicBezTo>
                <a:cubicBezTo>
                  <a:pt x="76692" y="1024625"/>
                  <a:pt x="70858" y="1018061"/>
                  <a:pt x="70858" y="1012227"/>
                </a:cubicBezTo>
                <a:cubicBezTo>
                  <a:pt x="70858" y="1004205"/>
                  <a:pt x="76692" y="998371"/>
                  <a:pt x="83255" y="998371"/>
                </a:cubicBezTo>
                <a:close/>
                <a:moveTo>
                  <a:pt x="12019" y="998371"/>
                </a:moveTo>
                <a:cubicBezTo>
                  <a:pt x="20264" y="998371"/>
                  <a:pt x="26260" y="1004205"/>
                  <a:pt x="26260" y="1012227"/>
                </a:cubicBezTo>
                <a:cubicBezTo>
                  <a:pt x="26260" y="1018061"/>
                  <a:pt x="20264" y="1024625"/>
                  <a:pt x="12019" y="1024625"/>
                </a:cubicBezTo>
                <a:cubicBezTo>
                  <a:pt x="4524" y="1024625"/>
                  <a:pt x="27" y="1018061"/>
                  <a:pt x="27" y="1012227"/>
                </a:cubicBezTo>
                <a:cubicBezTo>
                  <a:pt x="27" y="1004205"/>
                  <a:pt x="4524" y="998371"/>
                  <a:pt x="12019" y="998371"/>
                </a:cubicBezTo>
                <a:close/>
                <a:moveTo>
                  <a:pt x="870603" y="927542"/>
                </a:moveTo>
                <a:cubicBezTo>
                  <a:pt x="877167" y="927542"/>
                  <a:pt x="883001" y="933376"/>
                  <a:pt x="883001" y="939939"/>
                </a:cubicBezTo>
                <a:cubicBezTo>
                  <a:pt x="883001" y="947232"/>
                  <a:pt x="877167" y="953796"/>
                  <a:pt x="870603" y="953796"/>
                </a:cubicBezTo>
                <a:cubicBezTo>
                  <a:pt x="863310" y="953796"/>
                  <a:pt x="856747" y="947232"/>
                  <a:pt x="856747" y="939939"/>
                </a:cubicBezTo>
                <a:cubicBezTo>
                  <a:pt x="856747" y="933376"/>
                  <a:pt x="863310" y="927542"/>
                  <a:pt x="870603" y="927542"/>
                </a:cubicBezTo>
                <a:close/>
                <a:moveTo>
                  <a:pt x="799773" y="927542"/>
                </a:moveTo>
                <a:cubicBezTo>
                  <a:pt x="806337" y="927542"/>
                  <a:pt x="812171" y="933376"/>
                  <a:pt x="812171" y="939939"/>
                </a:cubicBezTo>
                <a:cubicBezTo>
                  <a:pt x="812171" y="947232"/>
                  <a:pt x="806337" y="953796"/>
                  <a:pt x="799773" y="953796"/>
                </a:cubicBezTo>
                <a:cubicBezTo>
                  <a:pt x="792481" y="953796"/>
                  <a:pt x="785917" y="947232"/>
                  <a:pt x="785917" y="939939"/>
                </a:cubicBezTo>
                <a:cubicBezTo>
                  <a:pt x="785917" y="933376"/>
                  <a:pt x="792481" y="927542"/>
                  <a:pt x="799773" y="927542"/>
                </a:cubicBezTo>
                <a:close/>
                <a:moveTo>
                  <a:pt x="724112" y="927542"/>
                </a:moveTo>
                <a:cubicBezTo>
                  <a:pt x="731405" y="927542"/>
                  <a:pt x="737968" y="933376"/>
                  <a:pt x="737968" y="939939"/>
                </a:cubicBezTo>
                <a:cubicBezTo>
                  <a:pt x="737968" y="947232"/>
                  <a:pt x="731405" y="953796"/>
                  <a:pt x="724112" y="953796"/>
                </a:cubicBezTo>
                <a:cubicBezTo>
                  <a:pt x="717548" y="953796"/>
                  <a:pt x="711714" y="947232"/>
                  <a:pt x="711714" y="939939"/>
                </a:cubicBezTo>
                <a:cubicBezTo>
                  <a:pt x="711714" y="933376"/>
                  <a:pt x="717548" y="927542"/>
                  <a:pt x="724112" y="927542"/>
                </a:cubicBezTo>
                <a:close/>
                <a:moveTo>
                  <a:pt x="653281" y="927542"/>
                </a:moveTo>
                <a:cubicBezTo>
                  <a:pt x="660573" y="927542"/>
                  <a:pt x="667137" y="933376"/>
                  <a:pt x="667137" y="939939"/>
                </a:cubicBezTo>
                <a:cubicBezTo>
                  <a:pt x="667137" y="947232"/>
                  <a:pt x="660573" y="953796"/>
                  <a:pt x="653281" y="953796"/>
                </a:cubicBezTo>
                <a:cubicBezTo>
                  <a:pt x="646718" y="953796"/>
                  <a:pt x="640884" y="947232"/>
                  <a:pt x="640884" y="939939"/>
                </a:cubicBezTo>
                <a:cubicBezTo>
                  <a:pt x="640884" y="933376"/>
                  <a:pt x="645259" y="927542"/>
                  <a:pt x="653281" y="927542"/>
                </a:cubicBezTo>
                <a:close/>
                <a:moveTo>
                  <a:pt x="582453" y="927542"/>
                </a:moveTo>
                <a:cubicBezTo>
                  <a:pt x="589745" y="927542"/>
                  <a:pt x="596309" y="933376"/>
                  <a:pt x="596309" y="939939"/>
                </a:cubicBezTo>
                <a:cubicBezTo>
                  <a:pt x="596309" y="947232"/>
                  <a:pt x="589745" y="953796"/>
                  <a:pt x="582453" y="953796"/>
                </a:cubicBezTo>
                <a:cubicBezTo>
                  <a:pt x="574430" y="953796"/>
                  <a:pt x="570054" y="947232"/>
                  <a:pt x="570054" y="939939"/>
                </a:cubicBezTo>
                <a:cubicBezTo>
                  <a:pt x="570054" y="933376"/>
                  <a:pt x="574430" y="927542"/>
                  <a:pt x="582453" y="927542"/>
                </a:cubicBezTo>
                <a:close/>
                <a:moveTo>
                  <a:pt x="513642" y="927542"/>
                </a:moveTo>
                <a:cubicBezTo>
                  <a:pt x="521990" y="927542"/>
                  <a:pt x="528820" y="933376"/>
                  <a:pt x="528820" y="939939"/>
                </a:cubicBezTo>
                <a:cubicBezTo>
                  <a:pt x="528820" y="947232"/>
                  <a:pt x="521990" y="953796"/>
                  <a:pt x="513642" y="953796"/>
                </a:cubicBezTo>
                <a:cubicBezTo>
                  <a:pt x="506053" y="953796"/>
                  <a:pt x="499223" y="947232"/>
                  <a:pt x="499223" y="939939"/>
                </a:cubicBezTo>
                <a:cubicBezTo>
                  <a:pt x="499223" y="933376"/>
                  <a:pt x="506053" y="927542"/>
                  <a:pt x="513642" y="927542"/>
                </a:cubicBezTo>
                <a:close/>
                <a:moveTo>
                  <a:pt x="439809" y="927542"/>
                </a:moveTo>
                <a:cubicBezTo>
                  <a:pt x="448372" y="927542"/>
                  <a:pt x="454599" y="933376"/>
                  <a:pt x="454599" y="939939"/>
                </a:cubicBezTo>
                <a:cubicBezTo>
                  <a:pt x="454599" y="947232"/>
                  <a:pt x="448372" y="953796"/>
                  <a:pt x="439809" y="953796"/>
                </a:cubicBezTo>
                <a:cubicBezTo>
                  <a:pt x="432026" y="953796"/>
                  <a:pt x="425021" y="947232"/>
                  <a:pt x="425021" y="939939"/>
                </a:cubicBezTo>
                <a:cubicBezTo>
                  <a:pt x="425021" y="933376"/>
                  <a:pt x="432026" y="927542"/>
                  <a:pt x="439809" y="927542"/>
                </a:cubicBezTo>
                <a:close/>
                <a:moveTo>
                  <a:pt x="368046" y="927542"/>
                </a:moveTo>
                <a:cubicBezTo>
                  <a:pt x="376068" y="927542"/>
                  <a:pt x="380444" y="933376"/>
                  <a:pt x="380444" y="939939"/>
                </a:cubicBezTo>
                <a:cubicBezTo>
                  <a:pt x="380444" y="947232"/>
                  <a:pt x="376068" y="953796"/>
                  <a:pt x="368046" y="953796"/>
                </a:cubicBezTo>
                <a:cubicBezTo>
                  <a:pt x="360754" y="953796"/>
                  <a:pt x="354191" y="947232"/>
                  <a:pt x="354191" y="939939"/>
                </a:cubicBezTo>
                <a:cubicBezTo>
                  <a:pt x="354191" y="933376"/>
                  <a:pt x="360754" y="927542"/>
                  <a:pt x="368046" y="927542"/>
                </a:cubicBezTo>
                <a:close/>
                <a:moveTo>
                  <a:pt x="297214" y="927542"/>
                </a:moveTo>
                <a:cubicBezTo>
                  <a:pt x="303777" y="927542"/>
                  <a:pt x="309612" y="933376"/>
                  <a:pt x="309612" y="939939"/>
                </a:cubicBezTo>
                <a:cubicBezTo>
                  <a:pt x="309612" y="947232"/>
                  <a:pt x="303777" y="953796"/>
                  <a:pt x="297214" y="953796"/>
                </a:cubicBezTo>
                <a:cubicBezTo>
                  <a:pt x="289922" y="953796"/>
                  <a:pt x="283359" y="947232"/>
                  <a:pt x="283359" y="939939"/>
                </a:cubicBezTo>
                <a:cubicBezTo>
                  <a:pt x="283359" y="933376"/>
                  <a:pt x="289922" y="927542"/>
                  <a:pt x="297214" y="927542"/>
                </a:cubicBezTo>
                <a:close/>
                <a:moveTo>
                  <a:pt x="226386" y="927542"/>
                </a:moveTo>
                <a:cubicBezTo>
                  <a:pt x="232220" y="927542"/>
                  <a:pt x="238784" y="933376"/>
                  <a:pt x="238784" y="939939"/>
                </a:cubicBezTo>
                <a:cubicBezTo>
                  <a:pt x="238784" y="947232"/>
                  <a:pt x="232220" y="953796"/>
                  <a:pt x="226386" y="953796"/>
                </a:cubicBezTo>
                <a:cubicBezTo>
                  <a:pt x="218363" y="953796"/>
                  <a:pt x="212530" y="947232"/>
                  <a:pt x="212530" y="939939"/>
                </a:cubicBezTo>
                <a:cubicBezTo>
                  <a:pt x="212530" y="933376"/>
                  <a:pt x="218363" y="927542"/>
                  <a:pt x="226386" y="927542"/>
                </a:cubicBezTo>
                <a:close/>
                <a:moveTo>
                  <a:pt x="154091" y="927542"/>
                </a:moveTo>
                <a:cubicBezTo>
                  <a:pt x="161383" y="927542"/>
                  <a:pt x="167947" y="933376"/>
                  <a:pt x="167947" y="939939"/>
                </a:cubicBezTo>
                <a:cubicBezTo>
                  <a:pt x="167947" y="947232"/>
                  <a:pt x="161383" y="953796"/>
                  <a:pt x="154091" y="953796"/>
                </a:cubicBezTo>
                <a:cubicBezTo>
                  <a:pt x="147527" y="953796"/>
                  <a:pt x="141693" y="947232"/>
                  <a:pt x="141693" y="939939"/>
                </a:cubicBezTo>
                <a:cubicBezTo>
                  <a:pt x="141693" y="933376"/>
                  <a:pt x="147527" y="927542"/>
                  <a:pt x="154091" y="927542"/>
                </a:cubicBezTo>
                <a:close/>
                <a:moveTo>
                  <a:pt x="83261" y="927542"/>
                </a:moveTo>
                <a:cubicBezTo>
                  <a:pt x="90554" y="927542"/>
                  <a:pt x="97117" y="933376"/>
                  <a:pt x="97117" y="939939"/>
                </a:cubicBezTo>
                <a:cubicBezTo>
                  <a:pt x="97117" y="947232"/>
                  <a:pt x="90554" y="953796"/>
                  <a:pt x="83261" y="953796"/>
                </a:cubicBezTo>
                <a:cubicBezTo>
                  <a:pt x="76698" y="953796"/>
                  <a:pt x="70864" y="947232"/>
                  <a:pt x="70864" y="939939"/>
                </a:cubicBezTo>
                <a:cubicBezTo>
                  <a:pt x="70864" y="933376"/>
                  <a:pt x="76698" y="927542"/>
                  <a:pt x="83261" y="927542"/>
                </a:cubicBezTo>
                <a:close/>
                <a:moveTo>
                  <a:pt x="12025" y="927542"/>
                </a:moveTo>
                <a:cubicBezTo>
                  <a:pt x="20270" y="927542"/>
                  <a:pt x="26266" y="933376"/>
                  <a:pt x="26266" y="939939"/>
                </a:cubicBezTo>
                <a:cubicBezTo>
                  <a:pt x="26266" y="947232"/>
                  <a:pt x="20270" y="953796"/>
                  <a:pt x="12025" y="953796"/>
                </a:cubicBezTo>
                <a:cubicBezTo>
                  <a:pt x="4530" y="953796"/>
                  <a:pt x="33" y="947232"/>
                  <a:pt x="33" y="939939"/>
                </a:cubicBezTo>
                <a:cubicBezTo>
                  <a:pt x="33" y="933376"/>
                  <a:pt x="4530" y="927542"/>
                  <a:pt x="12025" y="927542"/>
                </a:cubicBezTo>
                <a:close/>
                <a:moveTo>
                  <a:pt x="6581764" y="924168"/>
                </a:moveTo>
                <a:cubicBezTo>
                  <a:pt x="6589547" y="924168"/>
                  <a:pt x="6596552" y="928543"/>
                  <a:pt x="6596552" y="936565"/>
                </a:cubicBezTo>
                <a:cubicBezTo>
                  <a:pt x="6596552" y="943858"/>
                  <a:pt x="6589547" y="950422"/>
                  <a:pt x="6581764" y="950422"/>
                </a:cubicBezTo>
                <a:cubicBezTo>
                  <a:pt x="6573202" y="950422"/>
                  <a:pt x="6566976" y="943858"/>
                  <a:pt x="6566976" y="936565"/>
                </a:cubicBezTo>
                <a:cubicBezTo>
                  <a:pt x="6566976" y="928543"/>
                  <a:pt x="6573202" y="924168"/>
                  <a:pt x="6581764" y="924168"/>
                </a:cubicBezTo>
                <a:close/>
                <a:moveTo>
                  <a:pt x="6510933" y="924168"/>
                </a:moveTo>
                <a:cubicBezTo>
                  <a:pt x="6518717" y="924168"/>
                  <a:pt x="6525722" y="928543"/>
                  <a:pt x="6525722" y="936565"/>
                </a:cubicBezTo>
                <a:cubicBezTo>
                  <a:pt x="6525722" y="943858"/>
                  <a:pt x="6518717" y="950422"/>
                  <a:pt x="6510933" y="950422"/>
                </a:cubicBezTo>
                <a:cubicBezTo>
                  <a:pt x="6502371" y="950422"/>
                  <a:pt x="6496144" y="943858"/>
                  <a:pt x="6496144" y="936565"/>
                </a:cubicBezTo>
                <a:cubicBezTo>
                  <a:pt x="6496144" y="928543"/>
                  <a:pt x="6502371" y="924168"/>
                  <a:pt x="6510933" y="924168"/>
                </a:cubicBezTo>
                <a:close/>
                <a:moveTo>
                  <a:pt x="6440492" y="924168"/>
                </a:moveTo>
                <a:cubicBezTo>
                  <a:pt x="6448081" y="924168"/>
                  <a:pt x="6454911" y="928543"/>
                  <a:pt x="6454911" y="936565"/>
                </a:cubicBezTo>
                <a:cubicBezTo>
                  <a:pt x="6454911" y="943858"/>
                  <a:pt x="6448081" y="950422"/>
                  <a:pt x="6440492" y="950422"/>
                </a:cubicBezTo>
                <a:cubicBezTo>
                  <a:pt x="6432145" y="950422"/>
                  <a:pt x="6425315" y="943858"/>
                  <a:pt x="6425315" y="936565"/>
                </a:cubicBezTo>
                <a:cubicBezTo>
                  <a:pt x="6425315" y="928543"/>
                  <a:pt x="6432145" y="924168"/>
                  <a:pt x="6440492" y="924168"/>
                </a:cubicBezTo>
                <a:close/>
                <a:moveTo>
                  <a:pt x="6368340" y="924168"/>
                </a:moveTo>
                <a:cubicBezTo>
                  <a:pt x="6376362" y="924168"/>
                  <a:pt x="6380737" y="928543"/>
                  <a:pt x="6380737" y="936565"/>
                </a:cubicBezTo>
                <a:cubicBezTo>
                  <a:pt x="6380737" y="943858"/>
                  <a:pt x="6376362" y="950422"/>
                  <a:pt x="6368340" y="950422"/>
                </a:cubicBezTo>
                <a:cubicBezTo>
                  <a:pt x="6361047" y="950422"/>
                  <a:pt x="6354484" y="943858"/>
                  <a:pt x="6354484" y="936565"/>
                </a:cubicBezTo>
                <a:cubicBezTo>
                  <a:pt x="6354484" y="928543"/>
                  <a:pt x="6361047" y="924168"/>
                  <a:pt x="6368340" y="924168"/>
                </a:cubicBezTo>
                <a:close/>
                <a:moveTo>
                  <a:pt x="6297511" y="924168"/>
                </a:moveTo>
                <a:cubicBezTo>
                  <a:pt x="6304074" y="924168"/>
                  <a:pt x="6309908" y="928543"/>
                  <a:pt x="6309908" y="936565"/>
                </a:cubicBezTo>
                <a:cubicBezTo>
                  <a:pt x="6309908" y="943858"/>
                  <a:pt x="6304074" y="950422"/>
                  <a:pt x="6297511" y="950422"/>
                </a:cubicBezTo>
                <a:cubicBezTo>
                  <a:pt x="6290218" y="950422"/>
                  <a:pt x="6283655" y="943858"/>
                  <a:pt x="6283655" y="936565"/>
                </a:cubicBezTo>
                <a:cubicBezTo>
                  <a:pt x="6283655" y="928543"/>
                  <a:pt x="6290218" y="924168"/>
                  <a:pt x="6297511" y="924168"/>
                </a:cubicBezTo>
                <a:close/>
                <a:moveTo>
                  <a:pt x="6226679" y="924168"/>
                </a:moveTo>
                <a:cubicBezTo>
                  <a:pt x="6233242" y="924168"/>
                  <a:pt x="6239076" y="928543"/>
                  <a:pt x="6239076" y="936565"/>
                </a:cubicBezTo>
                <a:cubicBezTo>
                  <a:pt x="6239076" y="943858"/>
                  <a:pt x="6233242" y="950422"/>
                  <a:pt x="6226679" y="950422"/>
                </a:cubicBezTo>
                <a:cubicBezTo>
                  <a:pt x="6219386" y="950422"/>
                  <a:pt x="6212823" y="943858"/>
                  <a:pt x="6212823" y="936565"/>
                </a:cubicBezTo>
                <a:cubicBezTo>
                  <a:pt x="6212823" y="928543"/>
                  <a:pt x="6219386" y="924168"/>
                  <a:pt x="6226679" y="924168"/>
                </a:cubicBezTo>
                <a:close/>
                <a:moveTo>
                  <a:pt x="6154391" y="924168"/>
                </a:moveTo>
                <a:cubicBezTo>
                  <a:pt x="6161684" y="924168"/>
                  <a:pt x="6168247" y="928543"/>
                  <a:pt x="6168247" y="936565"/>
                </a:cubicBezTo>
                <a:cubicBezTo>
                  <a:pt x="6168247" y="943858"/>
                  <a:pt x="6161684" y="950422"/>
                  <a:pt x="6154391" y="950422"/>
                </a:cubicBezTo>
                <a:cubicBezTo>
                  <a:pt x="6147828" y="950422"/>
                  <a:pt x="6141994" y="943858"/>
                  <a:pt x="6141994" y="936565"/>
                </a:cubicBezTo>
                <a:cubicBezTo>
                  <a:pt x="6141994" y="928543"/>
                  <a:pt x="6147828" y="924168"/>
                  <a:pt x="6154391" y="924168"/>
                </a:cubicBezTo>
                <a:close/>
                <a:moveTo>
                  <a:pt x="6083559" y="924168"/>
                </a:moveTo>
                <a:cubicBezTo>
                  <a:pt x="6090852" y="924168"/>
                  <a:pt x="6097415" y="930002"/>
                  <a:pt x="6097415" y="936565"/>
                </a:cubicBezTo>
                <a:cubicBezTo>
                  <a:pt x="6097415" y="943858"/>
                  <a:pt x="6090852" y="950422"/>
                  <a:pt x="6083559" y="950422"/>
                </a:cubicBezTo>
                <a:cubicBezTo>
                  <a:pt x="6076996" y="950422"/>
                  <a:pt x="6071162" y="943858"/>
                  <a:pt x="6071162" y="936565"/>
                </a:cubicBezTo>
                <a:cubicBezTo>
                  <a:pt x="6071162" y="930002"/>
                  <a:pt x="6076996" y="924168"/>
                  <a:pt x="6083559" y="924168"/>
                </a:cubicBezTo>
                <a:close/>
                <a:moveTo>
                  <a:pt x="6011748" y="924168"/>
                </a:moveTo>
                <a:cubicBezTo>
                  <a:pt x="6019532" y="924168"/>
                  <a:pt x="6026537" y="930002"/>
                  <a:pt x="6026537" y="936565"/>
                </a:cubicBezTo>
                <a:cubicBezTo>
                  <a:pt x="6026537" y="943858"/>
                  <a:pt x="6019532" y="950422"/>
                  <a:pt x="6011748" y="950422"/>
                </a:cubicBezTo>
                <a:cubicBezTo>
                  <a:pt x="6003186" y="950422"/>
                  <a:pt x="5998516" y="943858"/>
                  <a:pt x="5996959" y="936565"/>
                </a:cubicBezTo>
                <a:cubicBezTo>
                  <a:pt x="5996959" y="930002"/>
                  <a:pt x="6003186" y="924168"/>
                  <a:pt x="6011748" y="924168"/>
                </a:cubicBezTo>
                <a:close/>
                <a:moveTo>
                  <a:pt x="5940548" y="924168"/>
                </a:moveTo>
                <a:cubicBezTo>
                  <a:pt x="5948896" y="924168"/>
                  <a:pt x="5955726" y="930002"/>
                  <a:pt x="5955726" y="936565"/>
                </a:cubicBezTo>
                <a:cubicBezTo>
                  <a:pt x="5955726" y="943858"/>
                  <a:pt x="5948896" y="950422"/>
                  <a:pt x="5940548" y="950422"/>
                </a:cubicBezTo>
                <a:cubicBezTo>
                  <a:pt x="5932960" y="950422"/>
                  <a:pt x="5926130" y="943858"/>
                  <a:pt x="5926130" y="936565"/>
                </a:cubicBezTo>
                <a:cubicBezTo>
                  <a:pt x="5926130" y="930002"/>
                  <a:pt x="5932960" y="924168"/>
                  <a:pt x="5940548" y="924168"/>
                </a:cubicBezTo>
                <a:close/>
                <a:moveTo>
                  <a:pt x="5870088" y="924168"/>
                </a:moveTo>
                <a:cubicBezTo>
                  <a:pt x="5878650" y="924168"/>
                  <a:pt x="5884877" y="930002"/>
                  <a:pt x="5884877" y="936565"/>
                </a:cubicBezTo>
                <a:cubicBezTo>
                  <a:pt x="5884877" y="943858"/>
                  <a:pt x="5878650" y="950422"/>
                  <a:pt x="5870088" y="950422"/>
                </a:cubicBezTo>
                <a:cubicBezTo>
                  <a:pt x="5862304" y="950422"/>
                  <a:pt x="5855299" y="943858"/>
                  <a:pt x="5855299" y="936565"/>
                </a:cubicBezTo>
                <a:cubicBezTo>
                  <a:pt x="5855299" y="930002"/>
                  <a:pt x="5862304" y="924168"/>
                  <a:pt x="5870088" y="924168"/>
                </a:cubicBezTo>
                <a:close/>
                <a:moveTo>
                  <a:pt x="5798325" y="924168"/>
                </a:moveTo>
                <a:cubicBezTo>
                  <a:pt x="5806347" y="924168"/>
                  <a:pt x="5810722" y="930002"/>
                  <a:pt x="5810722" y="936565"/>
                </a:cubicBezTo>
                <a:cubicBezTo>
                  <a:pt x="5810722" y="943858"/>
                  <a:pt x="5806347" y="950422"/>
                  <a:pt x="5798325" y="950422"/>
                </a:cubicBezTo>
                <a:cubicBezTo>
                  <a:pt x="5791032" y="950422"/>
                  <a:pt x="5784469" y="943858"/>
                  <a:pt x="5784469" y="936565"/>
                </a:cubicBezTo>
                <a:cubicBezTo>
                  <a:pt x="5784469" y="930002"/>
                  <a:pt x="5791032" y="924168"/>
                  <a:pt x="5798325" y="924168"/>
                </a:cubicBezTo>
                <a:close/>
                <a:moveTo>
                  <a:pt x="5724122" y="924168"/>
                </a:moveTo>
                <a:cubicBezTo>
                  <a:pt x="5730685" y="924168"/>
                  <a:pt x="5736519" y="930002"/>
                  <a:pt x="5736519" y="936565"/>
                </a:cubicBezTo>
                <a:cubicBezTo>
                  <a:pt x="5736519" y="943858"/>
                  <a:pt x="5730685" y="950422"/>
                  <a:pt x="5724122" y="950422"/>
                </a:cubicBezTo>
                <a:cubicBezTo>
                  <a:pt x="5716100" y="950422"/>
                  <a:pt x="5710266" y="943858"/>
                  <a:pt x="5710266" y="936565"/>
                </a:cubicBezTo>
                <a:cubicBezTo>
                  <a:pt x="5710266" y="930002"/>
                  <a:pt x="5716100" y="924168"/>
                  <a:pt x="5724122" y="924168"/>
                </a:cubicBezTo>
                <a:close/>
                <a:moveTo>
                  <a:pt x="5653291" y="924168"/>
                </a:moveTo>
                <a:cubicBezTo>
                  <a:pt x="5659125" y="924168"/>
                  <a:pt x="5665688" y="930002"/>
                  <a:pt x="5665688" y="936565"/>
                </a:cubicBezTo>
                <a:cubicBezTo>
                  <a:pt x="5665688" y="943858"/>
                  <a:pt x="5659125" y="950422"/>
                  <a:pt x="5653291" y="950422"/>
                </a:cubicBezTo>
                <a:cubicBezTo>
                  <a:pt x="5645269" y="950422"/>
                  <a:pt x="5639435" y="943858"/>
                  <a:pt x="5639435" y="936565"/>
                </a:cubicBezTo>
                <a:cubicBezTo>
                  <a:pt x="5639435" y="930002"/>
                  <a:pt x="5645269" y="924168"/>
                  <a:pt x="5653291" y="924168"/>
                </a:cubicBezTo>
                <a:close/>
                <a:moveTo>
                  <a:pt x="5581002" y="924168"/>
                </a:moveTo>
                <a:cubicBezTo>
                  <a:pt x="5588295" y="924168"/>
                  <a:pt x="5594858" y="930002"/>
                  <a:pt x="5594858" y="936565"/>
                </a:cubicBezTo>
                <a:cubicBezTo>
                  <a:pt x="5594858" y="943858"/>
                  <a:pt x="5588295" y="950422"/>
                  <a:pt x="5581002" y="950422"/>
                </a:cubicBezTo>
                <a:cubicBezTo>
                  <a:pt x="5574439" y="950422"/>
                  <a:pt x="5568605" y="943858"/>
                  <a:pt x="5568605" y="936565"/>
                </a:cubicBezTo>
                <a:cubicBezTo>
                  <a:pt x="5568605" y="930002"/>
                  <a:pt x="5574439" y="924168"/>
                  <a:pt x="5581002" y="924168"/>
                </a:cubicBezTo>
                <a:close/>
                <a:moveTo>
                  <a:pt x="5510171" y="924168"/>
                </a:moveTo>
                <a:cubicBezTo>
                  <a:pt x="5517464" y="924168"/>
                  <a:pt x="5524027" y="930002"/>
                  <a:pt x="5524027" y="936565"/>
                </a:cubicBezTo>
                <a:cubicBezTo>
                  <a:pt x="5524027" y="943858"/>
                  <a:pt x="5517464" y="950422"/>
                  <a:pt x="5510171" y="950422"/>
                </a:cubicBezTo>
                <a:cubicBezTo>
                  <a:pt x="5503608" y="950422"/>
                  <a:pt x="5497774" y="943858"/>
                  <a:pt x="5497774" y="936565"/>
                </a:cubicBezTo>
                <a:cubicBezTo>
                  <a:pt x="5497774" y="930002"/>
                  <a:pt x="5503608" y="924168"/>
                  <a:pt x="5510171" y="924168"/>
                </a:cubicBezTo>
                <a:close/>
                <a:moveTo>
                  <a:pt x="5438937" y="924168"/>
                </a:moveTo>
                <a:cubicBezTo>
                  <a:pt x="5447182" y="924168"/>
                  <a:pt x="5453178" y="930002"/>
                  <a:pt x="5453178" y="936565"/>
                </a:cubicBezTo>
                <a:cubicBezTo>
                  <a:pt x="5453178" y="943858"/>
                  <a:pt x="5447182" y="950422"/>
                  <a:pt x="5438937" y="950422"/>
                </a:cubicBezTo>
                <a:cubicBezTo>
                  <a:pt x="5431442" y="950422"/>
                  <a:pt x="5426945" y="943858"/>
                  <a:pt x="5426945" y="936565"/>
                </a:cubicBezTo>
                <a:cubicBezTo>
                  <a:pt x="5426945" y="930002"/>
                  <a:pt x="5431442" y="924168"/>
                  <a:pt x="5438937" y="924168"/>
                </a:cubicBezTo>
                <a:close/>
                <a:moveTo>
                  <a:pt x="5367530" y="924168"/>
                </a:moveTo>
                <a:cubicBezTo>
                  <a:pt x="5376092" y="924168"/>
                  <a:pt x="5382318" y="930002"/>
                  <a:pt x="5382318" y="936565"/>
                </a:cubicBezTo>
                <a:cubicBezTo>
                  <a:pt x="5382318" y="943858"/>
                  <a:pt x="5376092" y="950422"/>
                  <a:pt x="5367530" y="950422"/>
                </a:cubicBezTo>
                <a:cubicBezTo>
                  <a:pt x="5359747" y="950422"/>
                  <a:pt x="5352742" y="943858"/>
                  <a:pt x="5352742" y="936565"/>
                </a:cubicBezTo>
                <a:cubicBezTo>
                  <a:pt x="5352742" y="930002"/>
                  <a:pt x="5359747" y="924168"/>
                  <a:pt x="5367530" y="924168"/>
                </a:cubicBezTo>
                <a:close/>
                <a:moveTo>
                  <a:pt x="5296699" y="924168"/>
                </a:moveTo>
                <a:cubicBezTo>
                  <a:pt x="5305261" y="924168"/>
                  <a:pt x="5311488" y="930002"/>
                  <a:pt x="5311488" y="936565"/>
                </a:cubicBezTo>
                <a:cubicBezTo>
                  <a:pt x="5311488" y="943858"/>
                  <a:pt x="5305261" y="950422"/>
                  <a:pt x="5296699" y="950422"/>
                </a:cubicBezTo>
                <a:cubicBezTo>
                  <a:pt x="5288915" y="950422"/>
                  <a:pt x="5281910" y="943858"/>
                  <a:pt x="5281910" y="936565"/>
                </a:cubicBezTo>
                <a:cubicBezTo>
                  <a:pt x="5281910" y="930002"/>
                  <a:pt x="5288915" y="924168"/>
                  <a:pt x="5296699" y="924168"/>
                </a:cubicBezTo>
                <a:close/>
                <a:moveTo>
                  <a:pt x="5225869" y="924168"/>
                </a:moveTo>
                <a:cubicBezTo>
                  <a:pt x="5234431" y="924168"/>
                  <a:pt x="5240657" y="930002"/>
                  <a:pt x="5240657" y="936565"/>
                </a:cubicBezTo>
                <a:cubicBezTo>
                  <a:pt x="5240657" y="943858"/>
                  <a:pt x="5234431" y="950422"/>
                  <a:pt x="5225869" y="950422"/>
                </a:cubicBezTo>
                <a:cubicBezTo>
                  <a:pt x="5217307" y="950422"/>
                  <a:pt x="5211081" y="943858"/>
                  <a:pt x="5211081" y="936565"/>
                </a:cubicBezTo>
                <a:cubicBezTo>
                  <a:pt x="5211081" y="930002"/>
                  <a:pt x="5217307" y="924168"/>
                  <a:pt x="5225869" y="924168"/>
                </a:cubicBezTo>
                <a:close/>
                <a:moveTo>
                  <a:pt x="5154105" y="924168"/>
                </a:moveTo>
                <a:cubicBezTo>
                  <a:pt x="5162127" y="924168"/>
                  <a:pt x="5166502" y="930002"/>
                  <a:pt x="5166502" y="936565"/>
                </a:cubicBezTo>
                <a:cubicBezTo>
                  <a:pt x="5166502" y="943858"/>
                  <a:pt x="5162127" y="950422"/>
                  <a:pt x="5154105" y="950422"/>
                </a:cubicBezTo>
                <a:cubicBezTo>
                  <a:pt x="5146083" y="950422"/>
                  <a:pt x="5140249" y="943858"/>
                  <a:pt x="5140249" y="936565"/>
                </a:cubicBezTo>
                <a:cubicBezTo>
                  <a:pt x="5140249" y="930002"/>
                  <a:pt x="5146083" y="924168"/>
                  <a:pt x="5154105" y="924168"/>
                </a:cubicBezTo>
                <a:close/>
                <a:moveTo>
                  <a:pt x="5083276" y="924168"/>
                </a:moveTo>
                <a:cubicBezTo>
                  <a:pt x="5089110" y="924168"/>
                  <a:pt x="5095673" y="930002"/>
                  <a:pt x="5095673" y="936565"/>
                </a:cubicBezTo>
                <a:cubicBezTo>
                  <a:pt x="5095673" y="943858"/>
                  <a:pt x="5089110" y="950422"/>
                  <a:pt x="5083276" y="950422"/>
                </a:cubicBezTo>
                <a:cubicBezTo>
                  <a:pt x="5075254" y="950422"/>
                  <a:pt x="5069420" y="943858"/>
                  <a:pt x="5069420" y="936565"/>
                </a:cubicBezTo>
                <a:cubicBezTo>
                  <a:pt x="5069420" y="930002"/>
                  <a:pt x="5075254" y="924168"/>
                  <a:pt x="5083276" y="924168"/>
                </a:cubicBezTo>
                <a:close/>
                <a:moveTo>
                  <a:pt x="5012445" y="924168"/>
                </a:moveTo>
                <a:cubicBezTo>
                  <a:pt x="5018279" y="924168"/>
                  <a:pt x="5024842" y="930002"/>
                  <a:pt x="5024842" y="936565"/>
                </a:cubicBezTo>
                <a:cubicBezTo>
                  <a:pt x="5024842" y="943858"/>
                  <a:pt x="5018279" y="950422"/>
                  <a:pt x="5012445" y="950422"/>
                </a:cubicBezTo>
                <a:cubicBezTo>
                  <a:pt x="5004423" y="950422"/>
                  <a:pt x="4998589" y="943858"/>
                  <a:pt x="4998589" y="938024"/>
                </a:cubicBezTo>
                <a:cubicBezTo>
                  <a:pt x="4998589" y="930002"/>
                  <a:pt x="5004423" y="924168"/>
                  <a:pt x="5012445" y="924168"/>
                </a:cubicBezTo>
                <a:close/>
                <a:moveTo>
                  <a:pt x="4940157" y="924168"/>
                </a:moveTo>
                <a:cubicBezTo>
                  <a:pt x="4948179" y="924168"/>
                  <a:pt x="4954013" y="930002"/>
                  <a:pt x="4954013" y="938024"/>
                </a:cubicBezTo>
                <a:cubicBezTo>
                  <a:pt x="4954013" y="943858"/>
                  <a:pt x="4948179" y="950422"/>
                  <a:pt x="4940157" y="950422"/>
                </a:cubicBezTo>
                <a:cubicBezTo>
                  <a:pt x="4934323" y="950422"/>
                  <a:pt x="4927760" y="943858"/>
                  <a:pt x="4927760" y="938024"/>
                </a:cubicBezTo>
                <a:cubicBezTo>
                  <a:pt x="4927760" y="930002"/>
                  <a:pt x="4934323" y="924168"/>
                  <a:pt x="4940157" y="924168"/>
                </a:cubicBezTo>
                <a:close/>
                <a:moveTo>
                  <a:pt x="4865953" y="924168"/>
                </a:moveTo>
                <a:cubicBezTo>
                  <a:pt x="4873975" y="924168"/>
                  <a:pt x="4879809" y="930002"/>
                  <a:pt x="4879809" y="938024"/>
                </a:cubicBezTo>
                <a:cubicBezTo>
                  <a:pt x="4879809" y="943858"/>
                  <a:pt x="4873975" y="950422"/>
                  <a:pt x="4865953" y="950422"/>
                </a:cubicBezTo>
                <a:cubicBezTo>
                  <a:pt x="4860119" y="950422"/>
                  <a:pt x="4853556" y="943858"/>
                  <a:pt x="4853556" y="938024"/>
                </a:cubicBezTo>
                <a:cubicBezTo>
                  <a:pt x="4853556" y="930002"/>
                  <a:pt x="4858661" y="924168"/>
                  <a:pt x="4865953" y="924168"/>
                </a:cubicBezTo>
                <a:close/>
                <a:moveTo>
                  <a:pt x="4797514" y="924168"/>
                </a:moveTo>
                <a:cubicBezTo>
                  <a:pt x="4806076" y="924168"/>
                  <a:pt x="4812303" y="930002"/>
                  <a:pt x="4812303" y="938024"/>
                </a:cubicBezTo>
                <a:cubicBezTo>
                  <a:pt x="4812303" y="943858"/>
                  <a:pt x="4806076" y="950422"/>
                  <a:pt x="4797514" y="950422"/>
                </a:cubicBezTo>
                <a:cubicBezTo>
                  <a:pt x="4789730" y="950422"/>
                  <a:pt x="4782725" y="943858"/>
                  <a:pt x="4782725" y="938024"/>
                </a:cubicBezTo>
                <a:cubicBezTo>
                  <a:pt x="4782725" y="930002"/>
                  <a:pt x="4789730" y="924168"/>
                  <a:pt x="4797514" y="924168"/>
                </a:cubicBezTo>
                <a:close/>
                <a:moveTo>
                  <a:pt x="4726684" y="924168"/>
                </a:moveTo>
                <a:cubicBezTo>
                  <a:pt x="4735246" y="924168"/>
                  <a:pt x="4741472" y="930002"/>
                  <a:pt x="4741472" y="938024"/>
                </a:cubicBezTo>
                <a:cubicBezTo>
                  <a:pt x="4741472" y="943858"/>
                  <a:pt x="4735246" y="950422"/>
                  <a:pt x="4726684" y="950422"/>
                </a:cubicBezTo>
                <a:cubicBezTo>
                  <a:pt x="4718122" y="950422"/>
                  <a:pt x="4711896" y="943858"/>
                  <a:pt x="4711896" y="938024"/>
                </a:cubicBezTo>
                <a:cubicBezTo>
                  <a:pt x="4711896" y="930002"/>
                  <a:pt x="4718122" y="924168"/>
                  <a:pt x="4726684" y="924168"/>
                </a:cubicBezTo>
                <a:close/>
                <a:moveTo>
                  <a:pt x="4655853" y="924168"/>
                </a:moveTo>
                <a:cubicBezTo>
                  <a:pt x="4663637" y="924168"/>
                  <a:pt x="4670642" y="930002"/>
                  <a:pt x="4670642" y="938024"/>
                </a:cubicBezTo>
                <a:cubicBezTo>
                  <a:pt x="4670642" y="943858"/>
                  <a:pt x="4663637" y="950422"/>
                  <a:pt x="4655853" y="950422"/>
                </a:cubicBezTo>
                <a:cubicBezTo>
                  <a:pt x="4647291" y="950422"/>
                  <a:pt x="4641064" y="943858"/>
                  <a:pt x="4641064" y="938024"/>
                </a:cubicBezTo>
                <a:cubicBezTo>
                  <a:pt x="4641064" y="930002"/>
                  <a:pt x="4647291" y="924168"/>
                  <a:pt x="4655853" y="924168"/>
                </a:cubicBezTo>
                <a:close/>
                <a:moveTo>
                  <a:pt x="4584091" y="924168"/>
                </a:moveTo>
                <a:cubicBezTo>
                  <a:pt x="4591384" y="924168"/>
                  <a:pt x="4596488" y="930002"/>
                  <a:pt x="4596488" y="938024"/>
                </a:cubicBezTo>
                <a:cubicBezTo>
                  <a:pt x="4596488" y="943858"/>
                  <a:pt x="4591384" y="950422"/>
                  <a:pt x="4584091" y="950422"/>
                </a:cubicBezTo>
                <a:cubicBezTo>
                  <a:pt x="4576069" y="950422"/>
                  <a:pt x="4570235" y="943858"/>
                  <a:pt x="4570235" y="938024"/>
                </a:cubicBezTo>
                <a:cubicBezTo>
                  <a:pt x="4570235" y="930002"/>
                  <a:pt x="4576069" y="924168"/>
                  <a:pt x="4584091" y="924168"/>
                </a:cubicBezTo>
                <a:close/>
                <a:moveTo>
                  <a:pt x="4513260" y="924168"/>
                </a:moveTo>
                <a:cubicBezTo>
                  <a:pt x="4519094" y="924168"/>
                  <a:pt x="4525657" y="930002"/>
                  <a:pt x="4525657" y="938024"/>
                </a:cubicBezTo>
                <a:cubicBezTo>
                  <a:pt x="4525657" y="943858"/>
                  <a:pt x="4519094" y="950422"/>
                  <a:pt x="4513260" y="950422"/>
                </a:cubicBezTo>
                <a:cubicBezTo>
                  <a:pt x="4505238" y="950422"/>
                  <a:pt x="4499404" y="943858"/>
                  <a:pt x="4499404" y="938024"/>
                </a:cubicBezTo>
                <a:cubicBezTo>
                  <a:pt x="4499404" y="930002"/>
                  <a:pt x="4505238" y="924168"/>
                  <a:pt x="4513260" y="924168"/>
                </a:cubicBezTo>
                <a:close/>
                <a:moveTo>
                  <a:pt x="4439056" y="924168"/>
                </a:moveTo>
                <a:cubicBezTo>
                  <a:pt x="4445619" y="924168"/>
                  <a:pt x="4451453" y="930002"/>
                  <a:pt x="4451453" y="938024"/>
                </a:cubicBezTo>
                <a:cubicBezTo>
                  <a:pt x="4451453" y="943858"/>
                  <a:pt x="4445619" y="950422"/>
                  <a:pt x="4439056" y="950422"/>
                </a:cubicBezTo>
                <a:cubicBezTo>
                  <a:pt x="4431763" y="950422"/>
                  <a:pt x="4425200" y="943858"/>
                  <a:pt x="4425200" y="938024"/>
                </a:cubicBezTo>
                <a:cubicBezTo>
                  <a:pt x="4425200" y="930002"/>
                  <a:pt x="4431763" y="924168"/>
                  <a:pt x="4439056" y="924168"/>
                </a:cubicBezTo>
                <a:close/>
                <a:moveTo>
                  <a:pt x="4366768" y="924168"/>
                </a:moveTo>
                <a:cubicBezTo>
                  <a:pt x="4374790" y="924168"/>
                  <a:pt x="4380624" y="930002"/>
                  <a:pt x="4380624" y="938024"/>
                </a:cubicBezTo>
                <a:cubicBezTo>
                  <a:pt x="4380624" y="943858"/>
                  <a:pt x="4374790" y="950422"/>
                  <a:pt x="4366768" y="950422"/>
                </a:cubicBezTo>
                <a:cubicBezTo>
                  <a:pt x="4360934" y="950422"/>
                  <a:pt x="4354371" y="943858"/>
                  <a:pt x="4354371" y="938024"/>
                </a:cubicBezTo>
                <a:cubicBezTo>
                  <a:pt x="4354371" y="930002"/>
                  <a:pt x="4360934" y="924168"/>
                  <a:pt x="4366768" y="924168"/>
                </a:cubicBezTo>
                <a:close/>
                <a:moveTo>
                  <a:pt x="4295937" y="924168"/>
                </a:moveTo>
                <a:cubicBezTo>
                  <a:pt x="4303959" y="924168"/>
                  <a:pt x="4309793" y="930002"/>
                  <a:pt x="4309793" y="938024"/>
                </a:cubicBezTo>
                <a:cubicBezTo>
                  <a:pt x="4309793" y="943858"/>
                  <a:pt x="4303959" y="950422"/>
                  <a:pt x="4295937" y="950422"/>
                </a:cubicBezTo>
                <a:cubicBezTo>
                  <a:pt x="4290103" y="950422"/>
                  <a:pt x="4283540" y="943858"/>
                  <a:pt x="4283540" y="938024"/>
                </a:cubicBezTo>
                <a:cubicBezTo>
                  <a:pt x="4283540" y="930002"/>
                  <a:pt x="4290103" y="924168"/>
                  <a:pt x="4295937" y="924168"/>
                </a:cubicBezTo>
                <a:close/>
                <a:moveTo>
                  <a:pt x="4225107" y="924168"/>
                </a:moveTo>
                <a:cubicBezTo>
                  <a:pt x="4233129" y="924168"/>
                  <a:pt x="4238963" y="930002"/>
                  <a:pt x="4238963" y="938024"/>
                </a:cubicBezTo>
                <a:cubicBezTo>
                  <a:pt x="4238963" y="943858"/>
                  <a:pt x="4233129" y="950422"/>
                  <a:pt x="4225107" y="950422"/>
                </a:cubicBezTo>
                <a:cubicBezTo>
                  <a:pt x="4217085" y="950422"/>
                  <a:pt x="4212710" y="943858"/>
                  <a:pt x="4212710" y="938024"/>
                </a:cubicBezTo>
                <a:cubicBezTo>
                  <a:pt x="4212710" y="930002"/>
                  <a:pt x="4217085" y="924168"/>
                  <a:pt x="4225107" y="924168"/>
                </a:cubicBezTo>
                <a:close/>
                <a:moveTo>
                  <a:pt x="4153295" y="924168"/>
                </a:moveTo>
                <a:cubicBezTo>
                  <a:pt x="4161078" y="924168"/>
                  <a:pt x="4168083" y="930002"/>
                  <a:pt x="4168083" y="938024"/>
                </a:cubicBezTo>
                <a:cubicBezTo>
                  <a:pt x="4168083" y="943858"/>
                  <a:pt x="4161078" y="950422"/>
                  <a:pt x="4153295" y="950422"/>
                </a:cubicBezTo>
                <a:cubicBezTo>
                  <a:pt x="4144733" y="950422"/>
                  <a:pt x="4138507" y="943858"/>
                  <a:pt x="4138507" y="938024"/>
                </a:cubicBezTo>
                <a:cubicBezTo>
                  <a:pt x="4138507" y="930002"/>
                  <a:pt x="4144733" y="924168"/>
                  <a:pt x="4153295" y="924168"/>
                </a:cubicBezTo>
                <a:close/>
                <a:moveTo>
                  <a:pt x="4082465" y="924168"/>
                </a:moveTo>
                <a:cubicBezTo>
                  <a:pt x="4090249" y="924168"/>
                  <a:pt x="4097254" y="930002"/>
                  <a:pt x="4097254" y="938024"/>
                </a:cubicBezTo>
                <a:cubicBezTo>
                  <a:pt x="4097254" y="943858"/>
                  <a:pt x="4090249" y="950422"/>
                  <a:pt x="4082465" y="950422"/>
                </a:cubicBezTo>
                <a:cubicBezTo>
                  <a:pt x="4073903" y="950422"/>
                  <a:pt x="4067676" y="943858"/>
                  <a:pt x="4067676" y="938024"/>
                </a:cubicBezTo>
                <a:cubicBezTo>
                  <a:pt x="4067676" y="930002"/>
                  <a:pt x="4073903" y="924168"/>
                  <a:pt x="4082465" y="924168"/>
                </a:cubicBezTo>
                <a:close/>
                <a:moveTo>
                  <a:pt x="4011635" y="924168"/>
                </a:moveTo>
                <a:cubicBezTo>
                  <a:pt x="4019418" y="924168"/>
                  <a:pt x="4026423" y="930002"/>
                  <a:pt x="4026423" y="938024"/>
                </a:cubicBezTo>
                <a:cubicBezTo>
                  <a:pt x="4026423" y="943858"/>
                  <a:pt x="4019418" y="950422"/>
                  <a:pt x="4011635" y="950422"/>
                </a:cubicBezTo>
                <a:cubicBezTo>
                  <a:pt x="4003073" y="950422"/>
                  <a:pt x="3996847" y="943858"/>
                  <a:pt x="3996847" y="938024"/>
                </a:cubicBezTo>
                <a:cubicBezTo>
                  <a:pt x="3996847" y="930002"/>
                  <a:pt x="4003073" y="924168"/>
                  <a:pt x="4011635" y="924168"/>
                </a:cubicBezTo>
                <a:close/>
                <a:moveTo>
                  <a:pt x="3939871" y="924168"/>
                </a:moveTo>
                <a:cubicBezTo>
                  <a:pt x="3947893" y="924168"/>
                  <a:pt x="3952268" y="930002"/>
                  <a:pt x="3952268" y="938024"/>
                </a:cubicBezTo>
                <a:cubicBezTo>
                  <a:pt x="3952268" y="945317"/>
                  <a:pt x="3947893" y="950422"/>
                  <a:pt x="3939871" y="950422"/>
                </a:cubicBezTo>
                <a:cubicBezTo>
                  <a:pt x="3932578" y="950422"/>
                  <a:pt x="3926015" y="945317"/>
                  <a:pt x="3926015" y="938024"/>
                </a:cubicBezTo>
                <a:cubicBezTo>
                  <a:pt x="3926015" y="930002"/>
                  <a:pt x="3932578" y="924168"/>
                  <a:pt x="3939871" y="924168"/>
                </a:cubicBezTo>
                <a:close/>
                <a:moveTo>
                  <a:pt x="3869042" y="924168"/>
                </a:moveTo>
                <a:cubicBezTo>
                  <a:pt x="3875605" y="924168"/>
                  <a:pt x="3881439" y="930002"/>
                  <a:pt x="3881439" y="938024"/>
                </a:cubicBezTo>
                <a:cubicBezTo>
                  <a:pt x="3881439" y="945317"/>
                  <a:pt x="3875605" y="950422"/>
                  <a:pt x="3869042" y="950422"/>
                </a:cubicBezTo>
                <a:cubicBezTo>
                  <a:pt x="3861749" y="950422"/>
                  <a:pt x="3855186" y="945317"/>
                  <a:pt x="3855186" y="938024"/>
                </a:cubicBezTo>
                <a:cubicBezTo>
                  <a:pt x="3855186" y="930002"/>
                  <a:pt x="3861749" y="924168"/>
                  <a:pt x="3869042" y="924168"/>
                </a:cubicBezTo>
                <a:close/>
                <a:moveTo>
                  <a:pt x="3798211" y="924168"/>
                </a:moveTo>
                <a:cubicBezTo>
                  <a:pt x="3804774" y="924168"/>
                  <a:pt x="3810608" y="930002"/>
                  <a:pt x="3810608" y="938024"/>
                </a:cubicBezTo>
                <a:cubicBezTo>
                  <a:pt x="3810608" y="945317"/>
                  <a:pt x="3804774" y="950422"/>
                  <a:pt x="3798211" y="950422"/>
                </a:cubicBezTo>
                <a:cubicBezTo>
                  <a:pt x="3790918" y="950422"/>
                  <a:pt x="3784355" y="945317"/>
                  <a:pt x="3784355" y="938024"/>
                </a:cubicBezTo>
                <a:cubicBezTo>
                  <a:pt x="3784355" y="930002"/>
                  <a:pt x="3790918" y="924168"/>
                  <a:pt x="3798211" y="924168"/>
                </a:cubicBezTo>
                <a:close/>
                <a:moveTo>
                  <a:pt x="3725922" y="924168"/>
                </a:moveTo>
                <a:cubicBezTo>
                  <a:pt x="3733944" y="924168"/>
                  <a:pt x="3739778" y="930002"/>
                  <a:pt x="3739778" y="938024"/>
                </a:cubicBezTo>
                <a:cubicBezTo>
                  <a:pt x="3739778" y="945317"/>
                  <a:pt x="3733944" y="950422"/>
                  <a:pt x="3725922" y="950422"/>
                </a:cubicBezTo>
                <a:cubicBezTo>
                  <a:pt x="3719359" y="950422"/>
                  <a:pt x="3713525" y="945317"/>
                  <a:pt x="3713525" y="938024"/>
                </a:cubicBezTo>
                <a:cubicBezTo>
                  <a:pt x="3713525" y="930002"/>
                  <a:pt x="3719359" y="924168"/>
                  <a:pt x="3725922" y="924168"/>
                </a:cubicBezTo>
                <a:close/>
                <a:moveTo>
                  <a:pt x="3655091" y="924168"/>
                </a:moveTo>
                <a:cubicBezTo>
                  <a:pt x="3662384" y="924168"/>
                  <a:pt x="3668947" y="930002"/>
                  <a:pt x="3668947" y="938024"/>
                </a:cubicBezTo>
                <a:cubicBezTo>
                  <a:pt x="3668947" y="945317"/>
                  <a:pt x="3662384" y="950422"/>
                  <a:pt x="3655091" y="950422"/>
                </a:cubicBezTo>
                <a:cubicBezTo>
                  <a:pt x="3647069" y="950422"/>
                  <a:pt x="3642694" y="945317"/>
                  <a:pt x="3642694" y="938024"/>
                </a:cubicBezTo>
                <a:cubicBezTo>
                  <a:pt x="3642694" y="930002"/>
                  <a:pt x="3647069" y="924168"/>
                  <a:pt x="3655091" y="924168"/>
                </a:cubicBezTo>
                <a:close/>
                <a:moveTo>
                  <a:pt x="3583280" y="924168"/>
                </a:moveTo>
                <a:cubicBezTo>
                  <a:pt x="3591064" y="924168"/>
                  <a:pt x="3598069" y="930002"/>
                  <a:pt x="3598069" y="938024"/>
                </a:cubicBezTo>
                <a:cubicBezTo>
                  <a:pt x="3598069" y="945317"/>
                  <a:pt x="3591064" y="950422"/>
                  <a:pt x="3583280" y="950422"/>
                </a:cubicBezTo>
                <a:cubicBezTo>
                  <a:pt x="3574718" y="950422"/>
                  <a:pt x="3568491" y="945317"/>
                  <a:pt x="3568491" y="938024"/>
                </a:cubicBezTo>
                <a:cubicBezTo>
                  <a:pt x="3568491" y="930002"/>
                  <a:pt x="3574718" y="924168"/>
                  <a:pt x="3583280" y="924168"/>
                </a:cubicBezTo>
                <a:close/>
                <a:moveTo>
                  <a:pt x="941441" y="856710"/>
                </a:moveTo>
                <a:cubicBezTo>
                  <a:pt x="949463" y="856710"/>
                  <a:pt x="953839" y="861085"/>
                  <a:pt x="953839" y="869107"/>
                </a:cubicBezTo>
                <a:cubicBezTo>
                  <a:pt x="953839" y="876400"/>
                  <a:pt x="949463" y="882964"/>
                  <a:pt x="941441" y="882964"/>
                </a:cubicBezTo>
                <a:cubicBezTo>
                  <a:pt x="934149" y="882964"/>
                  <a:pt x="927585" y="876400"/>
                  <a:pt x="927585" y="869107"/>
                </a:cubicBezTo>
                <a:cubicBezTo>
                  <a:pt x="927585" y="861085"/>
                  <a:pt x="934149" y="856710"/>
                  <a:pt x="941441" y="856710"/>
                </a:cubicBezTo>
                <a:close/>
                <a:moveTo>
                  <a:pt x="870610" y="856710"/>
                </a:moveTo>
                <a:cubicBezTo>
                  <a:pt x="877174" y="856710"/>
                  <a:pt x="883008" y="861085"/>
                  <a:pt x="883008" y="869107"/>
                </a:cubicBezTo>
                <a:cubicBezTo>
                  <a:pt x="883008" y="876400"/>
                  <a:pt x="877174" y="882964"/>
                  <a:pt x="870610" y="882964"/>
                </a:cubicBezTo>
                <a:cubicBezTo>
                  <a:pt x="863318" y="882964"/>
                  <a:pt x="856754" y="876400"/>
                  <a:pt x="856754" y="869107"/>
                </a:cubicBezTo>
                <a:cubicBezTo>
                  <a:pt x="856754" y="861085"/>
                  <a:pt x="863318" y="856710"/>
                  <a:pt x="870610" y="856710"/>
                </a:cubicBezTo>
                <a:close/>
                <a:moveTo>
                  <a:pt x="799780" y="856710"/>
                </a:moveTo>
                <a:cubicBezTo>
                  <a:pt x="806344" y="856710"/>
                  <a:pt x="812178" y="861085"/>
                  <a:pt x="812178" y="869107"/>
                </a:cubicBezTo>
                <a:cubicBezTo>
                  <a:pt x="812178" y="876400"/>
                  <a:pt x="806344" y="882964"/>
                  <a:pt x="799780" y="882964"/>
                </a:cubicBezTo>
                <a:cubicBezTo>
                  <a:pt x="792487" y="882964"/>
                  <a:pt x="785924" y="876400"/>
                  <a:pt x="785924" y="869107"/>
                </a:cubicBezTo>
                <a:cubicBezTo>
                  <a:pt x="785924" y="861085"/>
                  <a:pt x="792487" y="856710"/>
                  <a:pt x="799780" y="856710"/>
                </a:cubicBezTo>
                <a:close/>
                <a:moveTo>
                  <a:pt x="724119" y="856710"/>
                </a:moveTo>
                <a:cubicBezTo>
                  <a:pt x="731411" y="856710"/>
                  <a:pt x="737976" y="861085"/>
                  <a:pt x="737976" y="869107"/>
                </a:cubicBezTo>
                <a:cubicBezTo>
                  <a:pt x="737976" y="876400"/>
                  <a:pt x="731411" y="882964"/>
                  <a:pt x="724119" y="882964"/>
                </a:cubicBezTo>
                <a:cubicBezTo>
                  <a:pt x="717555" y="882964"/>
                  <a:pt x="711721" y="876400"/>
                  <a:pt x="711721" y="869107"/>
                </a:cubicBezTo>
                <a:cubicBezTo>
                  <a:pt x="711721" y="861085"/>
                  <a:pt x="717555" y="856710"/>
                  <a:pt x="724119" y="856710"/>
                </a:cubicBezTo>
                <a:close/>
                <a:moveTo>
                  <a:pt x="653288" y="856710"/>
                </a:moveTo>
                <a:cubicBezTo>
                  <a:pt x="660580" y="856710"/>
                  <a:pt x="667144" y="861085"/>
                  <a:pt x="667144" y="869107"/>
                </a:cubicBezTo>
                <a:cubicBezTo>
                  <a:pt x="667144" y="876400"/>
                  <a:pt x="660580" y="882964"/>
                  <a:pt x="653288" y="882964"/>
                </a:cubicBezTo>
                <a:cubicBezTo>
                  <a:pt x="645266" y="882964"/>
                  <a:pt x="640891" y="876400"/>
                  <a:pt x="640891" y="869107"/>
                </a:cubicBezTo>
                <a:cubicBezTo>
                  <a:pt x="640891" y="861085"/>
                  <a:pt x="645266" y="856710"/>
                  <a:pt x="653288" y="856710"/>
                </a:cubicBezTo>
                <a:close/>
                <a:moveTo>
                  <a:pt x="584851" y="856710"/>
                </a:moveTo>
                <a:cubicBezTo>
                  <a:pt x="592633" y="856710"/>
                  <a:pt x="599638" y="861085"/>
                  <a:pt x="599638" y="869107"/>
                </a:cubicBezTo>
                <a:cubicBezTo>
                  <a:pt x="599638" y="876400"/>
                  <a:pt x="592633" y="882964"/>
                  <a:pt x="584851" y="882964"/>
                </a:cubicBezTo>
                <a:cubicBezTo>
                  <a:pt x="576288" y="882964"/>
                  <a:pt x="570061" y="876400"/>
                  <a:pt x="570061" y="869107"/>
                </a:cubicBezTo>
                <a:cubicBezTo>
                  <a:pt x="570061" y="861085"/>
                  <a:pt x="576288" y="856710"/>
                  <a:pt x="584851" y="856710"/>
                </a:cubicBezTo>
                <a:close/>
                <a:moveTo>
                  <a:pt x="513649" y="856710"/>
                </a:moveTo>
                <a:cubicBezTo>
                  <a:pt x="521998" y="856710"/>
                  <a:pt x="528826" y="861085"/>
                  <a:pt x="528826" y="869107"/>
                </a:cubicBezTo>
                <a:cubicBezTo>
                  <a:pt x="528826" y="876400"/>
                  <a:pt x="521998" y="882964"/>
                  <a:pt x="513649" y="882964"/>
                </a:cubicBezTo>
                <a:cubicBezTo>
                  <a:pt x="506060" y="882964"/>
                  <a:pt x="499230" y="876400"/>
                  <a:pt x="499230" y="869107"/>
                </a:cubicBezTo>
                <a:cubicBezTo>
                  <a:pt x="499230" y="861085"/>
                  <a:pt x="506060" y="856710"/>
                  <a:pt x="513649" y="856710"/>
                </a:cubicBezTo>
                <a:close/>
                <a:moveTo>
                  <a:pt x="439816" y="856710"/>
                </a:moveTo>
                <a:cubicBezTo>
                  <a:pt x="448379" y="856710"/>
                  <a:pt x="454606" y="861085"/>
                  <a:pt x="454606" y="869107"/>
                </a:cubicBezTo>
                <a:cubicBezTo>
                  <a:pt x="454606" y="876400"/>
                  <a:pt x="448379" y="882964"/>
                  <a:pt x="439816" y="882964"/>
                </a:cubicBezTo>
                <a:cubicBezTo>
                  <a:pt x="432032" y="882964"/>
                  <a:pt x="425028" y="876400"/>
                  <a:pt x="425028" y="869107"/>
                </a:cubicBezTo>
                <a:cubicBezTo>
                  <a:pt x="425028" y="861085"/>
                  <a:pt x="432032" y="856710"/>
                  <a:pt x="439816" y="856710"/>
                </a:cubicBezTo>
                <a:close/>
                <a:moveTo>
                  <a:pt x="368053" y="856710"/>
                </a:moveTo>
                <a:cubicBezTo>
                  <a:pt x="376076" y="856710"/>
                  <a:pt x="380451" y="861085"/>
                  <a:pt x="380451" y="869107"/>
                </a:cubicBezTo>
                <a:cubicBezTo>
                  <a:pt x="380451" y="876400"/>
                  <a:pt x="376076" y="882964"/>
                  <a:pt x="368053" y="882964"/>
                </a:cubicBezTo>
                <a:cubicBezTo>
                  <a:pt x="360761" y="882964"/>
                  <a:pt x="354198" y="876400"/>
                  <a:pt x="354198" y="869107"/>
                </a:cubicBezTo>
                <a:cubicBezTo>
                  <a:pt x="354198" y="861085"/>
                  <a:pt x="360761" y="856710"/>
                  <a:pt x="368053" y="856710"/>
                </a:cubicBezTo>
                <a:close/>
                <a:moveTo>
                  <a:pt x="297222" y="856710"/>
                </a:moveTo>
                <a:cubicBezTo>
                  <a:pt x="303785" y="856710"/>
                  <a:pt x="309618" y="861085"/>
                  <a:pt x="309618" y="869107"/>
                </a:cubicBezTo>
                <a:cubicBezTo>
                  <a:pt x="309618" y="876400"/>
                  <a:pt x="303785" y="882964"/>
                  <a:pt x="297222" y="882964"/>
                </a:cubicBezTo>
                <a:cubicBezTo>
                  <a:pt x="289929" y="882964"/>
                  <a:pt x="283366" y="876400"/>
                  <a:pt x="283366" y="869107"/>
                </a:cubicBezTo>
                <a:cubicBezTo>
                  <a:pt x="283366" y="862544"/>
                  <a:pt x="289929" y="856710"/>
                  <a:pt x="297222" y="856710"/>
                </a:cubicBezTo>
                <a:close/>
                <a:moveTo>
                  <a:pt x="226393" y="856710"/>
                </a:moveTo>
                <a:cubicBezTo>
                  <a:pt x="232228" y="856710"/>
                  <a:pt x="238791" y="862544"/>
                  <a:pt x="238791" y="869107"/>
                </a:cubicBezTo>
                <a:cubicBezTo>
                  <a:pt x="238791" y="876400"/>
                  <a:pt x="232228" y="882964"/>
                  <a:pt x="226393" y="882964"/>
                </a:cubicBezTo>
                <a:cubicBezTo>
                  <a:pt x="218370" y="882964"/>
                  <a:pt x="212537" y="876400"/>
                  <a:pt x="212537" y="869107"/>
                </a:cubicBezTo>
                <a:cubicBezTo>
                  <a:pt x="212537" y="862544"/>
                  <a:pt x="218370" y="856710"/>
                  <a:pt x="226393" y="856710"/>
                </a:cubicBezTo>
                <a:close/>
                <a:moveTo>
                  <a:pt x="154097" y="856710"/>
                </a:moveTo>
                <a:cubicBezTo>
                  <a:pt x="161389" y="856710"/>
                  <a:pt x="167953" y="862544"/>
                  <a:pt x="167953" y="869107"/>
                </a:cubicBezTo>
                <a:cubicBezTo>
                  <a:pt x="167953" y="876400"/>
                  <a:pt x="161389" y="882964"/>
                  <a:pt x="154097" y="882964"/>
                </a:cubicBezTo>
                <a:cubicBezTo>
                  <a:pt x="147533" y="882964"/>
                  <a:pt x="141699" y="876400"/>
                  <a:pt x="141699" y="869107"/>
                </a:cubicBezTo>
                <a:cubicBezTo>
                  <a:pt x="141699" y="862544"/>
                  <a:pt x="147533" y="856710"/>
                  <a:pt x="154097" y="856710"/>
                </a:cubicBezTo>
                <a:close/>
                <a:moveTo>
                  <a:pt x="83267" y="856710"/>
                </a:moveTo>
                <a:cubicBezTo>
                  <a:pt x="90560" y="856710"/>
                  <a:pt x="97123" y="862544"/>
                  <a:pt x="97123" y="869107"/>
                </a:cubicBezTo>
                <a:cubicBezTo>
                  <a:pt x="97123" y="876400"/>
                  <a:pt x="90560" y="882964"/>
                  <a:pt x="83267" y="882964"/>
                </a:cubicBezTo>
                <a:cubicBezTo>
                  <a:pt x="76704" y="882964"/>
                  <a:pt x="70870" y="876400"/>
                  <a:pt x="70870" y="869107"/>
                </a:cubicBezTo>
                <a:cubicBezTo>
                  <a:pt x="70870" y="862544"/>
                  <a:pt x="76704" y="856710"/>
                  <a:pt x="83267" y="856710"/>
                </a:cubicBezTo>
                <a:close/>
                <a:moveTo>
                  <a:pt x="12032" y="856710"/>
                </a:moveTo>
                <a:cubicBezTo>
                  <a:pt x="20276" y="856710"/>
                  <a:pt x="26273" y="862544"/>
                  <a:pt x="26273" y="869107"/>
                </a:cubicBezTo>
                <a:cubicBezTo>
                  <a:pt x="26273" y="876400"/>
                  <a:pt x="20276" y="882964"/>
                  <a:pt x="12032" y="882964"/>
                </a:cubicBezTo>
                <a:cubicBezTo>
                  <a:pt x="4536" y="882964"/>
                  <a:pt x="39" y="876400"/>
                  <a:pt x="39" y="869107"/>
                </a:cubicBezTo>
                <a:cubicBezTo>
                  <a:pt x="39" y="862544"/>
                  <a:pt x="4536" y="856710"/>
                  <a:pt x="12032" y="856710"/>
                </a:cubicBezTo>
                <a:close/>
                <a:moveTo>
                  <a:pt x="6368340" y="853339"/>
                </a:moveTo>
                <a:cubicBezTo>
                  <a:pt x="6376362" y="853339"/>
                  <a:pt x="6380737" y="860169"/>
                  <a:pt x="6380737" y="867757"/>
                </a:cubicBezTo>
                <a:cubicBezTo>
                  <a:pt x="6380737" y="876105"/>
                  <a:pt x="6376362" y="882935"/>
                  <a:pt x="6368340" y="882935"/>
                </a:cubicBezTo>
                <a:cubicBezTo>
                  <a:pt x="6361047" y="882935"/>
                  <a:pt x="6354484" y="876105"/>
                  <a:pt x="6354484" y="867757"/>
                </a:cubicBezTo>
                <a:cubicBezTo>
                  <a:pt x="6354484" y="860169"/>
                  <a:pt x="6361047" y="853339"/>
                  <a:pt x="6368340" y="853339"/>
                </a:cubicBezTo>
                <a:close/>
                <a:moveTo>
                  <a:pt x="6297511" y="853339"/>
                </a:moveTo>
                <a:cubicBezTo>
                  <a:pt x="6304074" y="853339"/>
                  <a:pt x="6309908" y="860169"/>
                  <a:pt x="6309908" y="867757"/>
                </a:cubicBezTo>
                <a:cubicBezTo>
                  <a:pt x="6309908" y="876105"/>
                  <a:pt x="6304074" y="882935"/>
                  <a:pt x="6297511" y="882935"/>
                </a:cubicBezTo>
                <a:cubicBezTo>
                  <a:pt x="6290218" y="882935"/>
                  <a:pt x="6283655" y="876105"/>
                  <a:pt x="6283655" y="867757"/>
                </a:cubicBezTo>
                <a:cubicBezTo>
                  <a:pt x="6283655" y="860169"/>
                  <a:pt x="6290218" y="853339"/>
                  <a:pt x="6297511" y="853339"/>
                </a:cubicBezTo>
                <a:close/>
                <a:moveTo>
                  <a:pt x="6226679" y="853339"/>
                </a:moveTo>
                <a:cubicBezTo>
                  <a:pt x="6233242" y="853339"/>
                  <a:pt x="6239076" y="860169"/>
                  <a:pt x="6239076" y="867757"/>
                </a:cubicBezTo>
                <a:cubicBezTo>
                  <a:pt x="6239076" y="876105"/>
                  <a:pt x="6233242" y="882935"/>
                  <a:pt x="6226679" y="882935"/>
                </a:cubicBezTo>
                <a:cubicBezTo>
                  <a:pt x="6219386" y="882935"/>
                  <a:pt x="6212823" y="876105"/>
                  <a:pt x="6212823" y="867757"/>
                </a:cubicBezTo>
                <a:cubicBezTo>
                  <a:pt x="6212823" y="860169"/>
                  <a:pt x="6219386" y="855615"/>
                  <a:pt x="6226679" y="853339"/>
                </a:cubicBezTo>
                <a:close/>
                <a:moveTo>
                  <a:pt x="6154391" y="853339"/>
                </a:moveTo>
                <a:cubicBezTo>
                  <a:pt x="6161684" y="853339"/>
                  <a:pt x="6168247" y="857714"/>
                  <a:pt x="6168247" y="865007"/>
                </a:cubicBezTo>
                <a:cubicBezTo>
                  <a:pt x="6168247" y="873029"/>
                  <a:pt x="6161684" y="879593"/>
                  <a:pt x="6154391" y="879593"/>
                </a:cubicBezTo>
                <a:cubicBezTo>
                  <a:pt x="6147828" y="879593"/>
                  <a:pt x="6141994" y="873029"/>
                  <a:pt x="6141994" y="865007"/>
                </a:cubicBezTo>
                <a:cubicBezTo>
                  <a:pt x="6141994" y="857714"/>
                  <a:pt x="6147828" y="853339"/>
                  <a:pt x="6154391" y="853339"/>
                </a:cubicBezTo>
                <a:close/>
                <a:moveTo>
                  <a:pt x="6083559" y="853339"/>
                </a:moveTo>
                <a:cubicBezTo>
                  <a:pt x="6090852" y="853339"/>
                  <a:pt x="6097415" y="857714"/>
                  <a:pt x="6097415" y="865007"/>
                </a:cubicBezTo>
                <a:cubicBezTo>
                  <a:pt x="6097415" y="873029"/>
                  <a:pt x="6090852" y="879593"/>
                  <a:pt x="6083559" y="879593"/>
                </a:cubicBezTo>
                <a:cubicBezTo>
                  <a:pt x="6076996" y="879593"/>
                  <a:pt x="6071162" y="873029"/>
                  <a:pt x="6071162" y="865007"/>
                </a:cubicBezTo>
                <a:cubicBezTo>
                  <a:pt x="6071162" y="857714"/>
                  <a:pt x="6075537" y="853339"/>
                  <a:pt x="6083559" y="853339"/>
                </a:cubicBezTo>
                <a:close/>
                <a:moveTo>
                  <a:pt x="6011748" y="853339"/>
                </a:moveTo>
                <a:cubicBezTo>
                  <a:pt x="6019532" y="853339"/>
                  <a:pt x="6026537" y="857714"/>
                  <a:pt x="6026537" y="865007"/>
                </a:cubicBezTo>
                <a:cubicBezTo>
                  <a:pt x="6026537" y="873029"/>
                  <a:pt x="6019532" y="879593"/>
                  <a:pt x="6011748" y="879593"/>
                </a:cubicBezTo>
                <a:cubicBezTo>
                  <a:pt x="6003186" y="879593"/>
                  <a:pt x="5996959" y="873029"/>
                  <a:pt x="5996959" y="865007"/>
                </a:cubicBezTo>
                <a:cubicBezTo>
                  <a:pt x="5996959" y="857714"/>
                  <a:pt x="6003186" y="853339"/>
                  <a:pt x="6011748" y="853339"/>
                </a:cubicBezTo>
                <a:close/>
                <a:moveTo>
                  <a:pt x="5940548" y="853339"/>
                </a:moveTo>
                <a:cubicBezTo>
                  <a:pt x="5948896" y="853339"/>
                  <a:pt x="5955726" y="857714"/>
                  <a:pt x="5955726" y="865007"/>
                </a:cubicBezTo>
                <a:cubicBezTo>
                  <a:pt x="5955726" y="873029"/>
                  <a:pt x="5948896" y="879593"/>
                  <a:pt x="5940548" y="879593"/>
                </a:cubicBezTo>
                <a:cubicBezTo>
                  <a:pt x="5932960" y="879593"/>
                  <a:pt x="5926130" y="873029"/>
                  <a:pt x="5926130" y="865007"/>
                </a:cubicBezTo>
                <a:cubicBezTo>
                  <a:pt x="5926130" y="857714"/>
                  <a:pt x="5932960" y="853339"/>
                  <a:pt x="5940548" y="853339"/>
                </a:cubicBezTo>
                <a:close/>
                <a:moveTo>
                  <a:pt x="5870088" y="853339"/>
                </a:moveTo>
                <a:cubicBezTo>
                  <a:pt x="5878650" y="853339"/>
                  <a:pt x="5884877" y="857714"/>
                  <a:pt x="5884877" y="865007"/>
                </a:cubicBezTo>
                <a:cubicBezTo>
                  <a:pt x="5884877" y="873029"/>
                  <a:pt x="5878650" y="879593"/>
                  <a:pt x="5870088" y="879593"/>
                </a:cubicBezTo>
                <a:cubicBezTo>
                  <a:pt x="5862304" y="879593"/>
                  <a:pt x="5855299" y="873029"/>
                  <a:pt x="5855299" y="865007"/>
                </a:cubicBezTo>
                <a:cubicBezTo>
                  <a:pt x="5855299" y="857714"/>
                  <a:pt x="5862304" y="853339"/>
                  <a:pt x="5870088" y="853339"/>
                </a:cubicBezTo>
                <a:close/>
                <a:moveTo>
                  <a:pt x="5798325" y="853339"/>
                </a:moveTo>
                <a:cubicBezTo>
                  <a:pt x="5806347" y="853339"/>
                  <a:pt x="5810722" y="857714"/>
                  <a:pt x="5810722" y="865007"/>
                </a:cubicBezTo>
                <a:cubicBezTo>
                  <a:pt x="5810722" y="873029"/>
                  <a:pt x="5806347" y="879593"/>
                  <a:pt x="5798325" y="879593"/>
                </a:cubicBezTo>
                <a:cubicBezTo>
                  <a:pt x="5791032" y="879593"/>
                  <a:pt x="5784469" y="873029"/>
                  <a:pt x="5784469" y="865007"/>
                </a:cubicBezTo>
                <a:cubicBezTo>
                  <a:pt x="5784469" y="857714"/>
                  <a:pt x="5791032" y="853339"/>
                  <a:pt x="5798325" y="853339"/>
                </a:cubicBezTo>
                <a:close/>
                <a:moveTo>
                  <a:pt x="5724122" y="853339"/>
                </a:moveTo>
                <a:cubicBezTo>
                  <a:pt x="5730685" y="853339"/>
                  <a:pt x="5736519" y="857714"/>
                  <a:pt x="5736519" y="865007"/>
                </a:cubicBezTo>
                <a:cubicBezTo>
                  <a:pt x="5736519" y="873029"/>
                  <a:pt x="5730685" y="879593"/>
                  <a:pt x="5724122" y="879593"/>
                </a:cubicBezTo>
                <a:cubicBezTo>
                  <a:pt x="5716100" y="879593"/>
                  <a:pt x="5710266" y="873029"/>
                  <a:pt x="5710266" y="865007"/>
                </a:cubicBezTo>
                <a:cubicBezTo>
                  <a:pt x="5710266" y="857714"/>
                  <a:pt x="5716100" y="853339"/>
                  <a:pt x="5724122" y="853339"/>
                </a:cubicBezTo>
                <a:close/>
                <a:moveTo>
                  <a:pt x="5653291" y="853339"/>
                </a:moveTo>
                <a:cubicBezTo>
                  <a:pt x="5659125" y="853339"/>
                  <a:pt x="5665688" y="857714"/>
                  <a:pt x="5665688" y="865007"/>
                </a:cubicBezTo>
                <a:cubicBezTo>
                  <a:pt x="5665688" y="873029"/>
                  <a:pt x="5659125" y="879593"/>
                  <a:pt x="5653291" y="879593"/>
                </a:cubicBezTo>
                <a:cubicBezTo>
                  <a:pt x="5645269" y="879593"/>
                  <a:pt x="5639435" y="873029"/>
                  <a:pt x="5639435" y="865007"/>
                </a:cubicBezTo>
                <a:cubicBezTo>
                  <a:pt x="5639435" y="857714"/>
                  <a:pt x="5645269" y="853339"/>
                  <a:pt x="5653291" y="853339"/>
                </a:cubicBezTo>
                <a:close/>
                <a:moveTo>
                  <a:pt x="5581002" y="853339"/>
                </a:moveTo>
                <a:cubicBezTo>
                  <a:pt x="5588295" y="853339"/>
                  <a:pt x="5594858" y="857714"/>
                  <a:pt x="5594858" y="865007"/>
                </a:cubicBezTo>
                <a:cubicBezTo>
                  <a:pt x="5594858" y="873029"/>
                  <a:pt x="5588295" y="879593"/>
                  <a:pt x="5581002" y="879593"/>
                </a:cubicBezTo>
                <a:cubicBezTo>
                  <a:pt x="5574439" y="879593"/>
                  <a:pt x="5568605" y="873029"/>
                  <a:pt x="5568605" y="865007"/>
                </a:cubicBezTo>
                <a:cubicBezTo>
                  <a:pt x="5568605" y="859173"/>
                  <a:pt x="5574439" y="853339"/>
                  <a:pt x="5581002" y="853339"/>
                </a:cubicBezTo>
                <a:close/>
                <a:moveTo>
                  <a:pt x="5510171" y="853339"/>
                </a:moveTo>
                <a:cubicBezTo>
                  <a:pt x="5517464" y="853339"/>
                  <a:pt x="5524027" y="859173"/>
                  <a:pt x="5524027" y="865007"/>
                </a:cubicBezTo>
                <a:cubicBezTo>
                  <a:pt x="5524027" y="873029"/>
                  <a:pt x="5517464" y="879593"/>
                  <a:pt x="5510171" y="879593"/>
                </a:cubicBezTo>
                <a:cubicBezTo>
                  <a:pt x="5503608" y="879593"/>
                  <a:pt x="5497774" y="873029"/>
                  <a:pt x="5497774" y="865007"/>
                </a:cubicBezTo>
                <a:cubicBezTo>
                  <a:pt x="5497774" y="859173"/>
                  <a:pt x="5503608" y="853339"/>
                  <a:pt x="5510171" y="853339"/>
                </a:cubicBezTo>
                <a:close/>
                <a:moveTo>
                  <a:pt x="5438937" y="853339"/>
                </a:moveTo>
                <a:cubicBezTo>
                  <a:pt x="5447182" y="853339"/>
                  <a:pt x="5453178" y="859173"/>
                  <a:pt x="5453178" y="865007"/>
                </a:cubicBezTo>
                <a:cubicBezTo>
                  <a:pt x="5453178" y="873029"/>
                  <a:pt x="5447182" y="879593"/>
                  <a:pt x="5438937" y="879593"/>
                </a:cubicBezTo>
                <a:cubicBezTo>
                  <a:pt x="5431442" y="879593"/>
                  <a:pt x="5426945" y="873029"/>
                  <a:pt x="5426945" y="865007"/>
                </a:cubicBezTo>
                <a:cubicBezTo>
                  <a:pt x="5426945" y="859173"/>
                  <a:pt x="5431442" y="853339"/>
                  <a:pt x="5438937" y="853339"/>
                </a:cubicBezTo>
                <a:close/>
                <a:moveTo>
                  <a:pt x="5367530" y="853339"/>
                </a:moveTo>
                <a:cubicBezTo>
                  <a:pt x="5376092" y="853339"/>
                  <a:pt x="5382318" y="859173"/>
                  <a:pt x="5382318" y="865007"/>
                </a:cubicBezTo>
                <a:cubicBezTo>
                  <a:pt x="5382318" y="873029"/>
                  <a:pt x="5376092" y="879593"/>
                  <a:pt x="5367530" y="879593"/>
                </a:cubicBezTo>
                <a:cubicBezTo>
                  <a:pt x="5359747" y="879593"/>
                  <a:pt x="5352742" y="873029"/>
                  <a:pt x="5352742" y="865007"/>
                </a:cubicBezTo>
                <a:cubicBezTo>
                  <a:pt x="5352742" y="859173"/>
                  <a:pt x="5359747" y="853339"/>
                  <a:pt x="5367530" y="853339"/>
                </a:cubicBezTo>
                <a:close/>
                <a:moveTo>
                  <a:pt x="5296699" y="853339"/>
                </a:moveTo>
                <a:cubicBezTo>
                  <a:pt x="5305261" y="853339"/>
                  <a:pt x="5311488" y="859173"/>
                  <a:pt x="5311488" y="865007"/>
                </a:cubicBezTo>
                <a:cubicBezTo>
                  <a:pt x="5311488" y="873029"/>
                  <a:pt x="5305261" y="879593"/>
                  <a:pt x="5296699" y="879593"/>
                </a:cubicBezTo>
                <a:cubicBezTo>
                  <a:pt x="5288915" y="879593"/>
                  <a:pt x="5281910" y="873029"/>
                  <a:pt x="5281910" y="865007"/>
                </a:cubicBezTo>
                <a:cubicBezTo>
                  <a:pt x="5281910" y="859173"/>
                  <a:pt x="5288915" y="853339"/>
                  <a:pt x="5296699" y="853339"/>
                </a:cubicBezTo>
                <a:close/>
                <a:moveTo>
                  <a:pt x="5225869" y="853339"/>
                </a:moveTo>
                <a:cubicBezTo>
                  <a:pt x="5234431" y="853339"/>
                  <a:pt x="5240657" y="859173"/>
                  <a:pt x="5240657" y="865007"/>
                </a:cubicBezTo>
                <a:cubicBezTo>
                  <a:pt x="5240657" y="873029"/>
                  <a:pt x="5234431" y="879593"/>
                  <a:pt x="5225869" y="879593"/>
                </a:cubicBezTo>
                <a:cubicBezTo>
                  <a:pt x="5217307" y="879593"/>
                  <a:pt x="5211081" y="873029"/>
                  <a:pt x="5211081" y="865007"/>
                </a:cubicBezTo>
                <a:cubicBezTo>
                  <a:pt x="5211081" y="859173"/>
                  <a:pt x="5217307" y="853339"/>
                  <a:pt x="5225869" y="853339"/>
                </a:cubicBezTo>
                <a:close/>
                <a:moveTo>
                  <a:pt x="5154105" y="853339"/>
                </a:moveTo>
                <a:cubicBezTo>
                  <a:pt x="5162127" y="853339"/>
                  <a:pt x="5166502" y="859173"/>
                  <a:pt x="5166502" y="865007"/>
                </a:cubicBezTo>
                <a:cubicBezTo>
                  <a:pt x="5166502" y="873029"/>
                  <a:pt x="5162127" y="879593"/>
                  <a:pt x="5154105" y="879593"/>
                </a:cubicBezTo>
                <a:cubicBezTo>
                  <a:pt x="5146083" y="879593"/>
                  <a:pt x="5140249" y="873029"/>
                  <a:pt x="5140249" y="865007"/>
                </a:cubicBezTo>
                <a:cubicBezTo>
                  <a:pt x="5140249" y="859173"/>
                  <a:pt x="5146083" y="853339"/>
                  <a:pt x="5154105" y="853339"/>
                </a:cubicBezTo>
                <a:close/>
                <a:moveTo>
                  <a:pt x="5083276" y="853339"/>
                </a:moveTo>
                <a:cubicBezTo>
                  <a:pt x="5089110" y="853339"/>
                  <a:pt x="5095673" y="859173"/>
                  <a:pt x="5095673" y="865007"/>
                </a:cubicBezTo>
                <a:cubicBezTo>
                  <a:pt x="5095673" y="873029"/>
                  <a:pt x="5089110" y="879593"/>
                  <a:pt x="5083276" y="879593"/>
                </a:cubicBezTo>
                <a:cubicBezTo>
                  <a:pt x="5075254" y="879593"/>
                  <a:pt x="5069420" y="873029"/>
                  <a:pt x="5069420" y="865007"/>
                </a:cubicBezTo>
                <a:cubicBezTo>
                  <a:pt x="5069420" y="859173"/>
                  <a:pt x="5075254" y="853339"/>
                  <a:pt x="5083276" y="853339"/>
                </a:cubicBezTo>
                <a:close/>
                <a:moveTo>
                  <a:pt x="5012445" y="853339"/>
                </a:moveTo>
                <a:cubicBezTo>
                  <a:pt x="5018279" y="853339"/>
                  <a:pt x="5024842" y="859173"/>
                  <a:pt x="5024842" y="865007"/>
                </a:cubicBezTo>
                <a:cubicBezTo>
                  <a:pt x="5024842" y="873029"/>
                  <a:pt x="5018279" y="879593"/>
                  <a:pt x="5012445" y="879593"/>
                </a:cubicBezTo>
                <a:cubicBezTo>
                  <a:pt x="5004423" y="879593"/>
                  <a:pt x="4998589" y="873029"/>
                  <a:pt x="4998589" y="865007"/>
                </a:cubicBezTo>
                <a:cubicBezTo>
                  <a:pt x="4998589" y="859173"/>
                  <a:pt x="5004423" y="853339"/>
                  <a:pt x="5012445" y="853339"/>
                </a:cubicBezTo>
                <a:close/>
                <a:moveTo>
                  <a:pt x="4940157" y="853339"/>
                </a:moveTo>
                <a:cubicBezTo>
                  <a:pt x="4948179" y="853339"/>
                  <a:pt x="4954013" y="859173"/>
                  <a:pt x="4954013" y="865007"/>
                </a:cubicBezTo>
                <a:cubicBezTo>
                  <a:pt x="4954013" y="873029"/>
                  <a:pt x="4948179" y="879593"/>
                  <a:pt x="4940157" y="879593"/>
                </a:cubicBezTo>
                <a:cubicBezTo>
                  <a:pt x="4934323" y="879593"/>
                  <a:pt x="4927760" y="873029"/>
                  <a:pt x="4927760" y="865007"/>
                </a:cubicBezTo>
                <a:cubicBezTo>
                  <a:pt x="4927760" y="859173"/>
                  <a:pt x="4934323" y="853339"/>
                  <a:pt x="4940157" y="853339"/>
                </a:cubicBezTo>
                <a:close/>
                <a:moveTo>
                  <a:pt x="4865953" y="853339"/>
                </a:moveTo>
                <a:cubicBezTo>
                  <a:pt x="4873975" y="853339"/>
                  <a:pt x="4879809" y="859173"/>
                  <a:pt x="4879809" y="865007"/>
                </a:cubicBezTo>
                <a:cubicBezTo>
                  <a:pt x="4879809" y="873029"/>
                  <a:pt x="4873975" y="879593"/>
                  <a:pt x="4865953" y="879593"/>
                </a:cubicBezTo>
                <a:cubicBezTo>
                  <a:pt x="4858661" y="879593"/>
                  <a:pt x="4853556" y="873029"/>
                  <a:pt x="4853556" y="865007"/>
                </a:cubicBezTo>
                <a:cubicBezTo>
                  <a:pt x="4853556" y="859173"/>
                  <a:pt x="4858661" y="853339"/>
                  <a:pt x="4865953" y="853339"/>
                </a:cubicBezTo>
                <a:close/>
                <a:moveTo>
                  <a:pt x="4797514" y="853339"/>
                </a:moveTo>
                <a:cubicBezTo>
                  <a:pt x="4806076" y="853339"/>
                  <a:pt x="4812303" y="859173"/>
                  <a:pt x="4812303" y="865007"/>
                </a:cubicBezTo>
                <a:cubicBezTo>
                  <a:pt x="4812303" y="873029"/>
                  <a:pt x="4806076" y="879593"/>
                  <a:pt x="4797514" y="879593"/>
                </a:cubicBezTo>
                <a:cubicBezTo>
                  <a:pt x="4789730" y="879593"/>
                  <a:pt x="4782725" y="873029"/>
                  <a:pt x="4782725" y="865007"/>
                </a:cubicBezTo>
                <a:cubicBezTo>
                  <a:pt x="4782725" y="859173"/>
                  <a:pt x="4789730" y="853339"/>
                  <a:pt x="4797514" y="853339"/>
                </a:cubicBezTo>
                <a:close/>
                <a:moveTo>
                  <a:pt x="4726684" y="853339"/>
                </a:moveTo>
                <a:cubicBezTo>
                  <a:pt x="4735246" y="853339"/>
                  <a:pt x="4741472" y="859173"/>
                  <a:pt x="4741472" y="865007"/>
                </a:cubicBezTo>
                <a:cubicBezTo>
                  <a:pt x="4741472" y="873029"/>
                  <a:pt x="4735246" y="879593"/>
                  <a:pt x="4726684" y="879593"/>
                </a:cubicBezTo>
                <a:cubicBezTo>
                  <a:pt x="4718122" y="879593"/>
                  <a:pt x="4711896" y="873029"/>
                  <a:pt x="4711896" y="865007"/>
                </a:cubicBezTo>
                <a:cubicBezTo>
                  <a:pt x="4711896" y="859173"/>
                  <a:pt x="4718122" y="853339"/>
                  <a:pt x="4726684" y="853339"/>
                </a:cubicBezTo>
                <a:close/>
                <a:moveTo>
                  <a:pt x="4655853" y="853339"/>
                </a:moveTo>
                <a:cubicBezTo>
                  <a:pt x="4663637" y="853339"/>
                  <a:pt x="4670642" y="859173"/>
                  <a:pt x="4670642" y="865007"/>
                </a:cubicBezTo>
                <a:cubicBezTo>
                  <a:pt x="4670642" y="873029"/>
                  <a:pt x="4663637" y="879593"/>
                  <a:pt x="4655853" y="879593"/>
                </a:cubicBezTo>
                <a:cubicBezTo>
                  <a:pt x="4647291" y="879593"/>
                  <a:pt x="4641064" y="873029"/>
                  <a:pt x="4641064" y="865007"/>
                </a:cubicBezTo>
                <a:cubicBezTo>
                  <a:pt x="4641064" y="859173"/>
                  <a:pt x="4647291" y="853339"/>
                  <a:pt x="4655853" y="853339"/>
                </a:cubicBezTo>
                <a:close/>
                <a:moveTo>
                  <a:pt x="4584091" y="853339"/>
                </a:moveTo>
                <a:cubicBezTo>
                  <a:pt x="4591384" y="853339"/>
                  <a:pt x="4596488" y="859173"/>
                  <a:pt x="4596488" y="865007"/>
                </a:cubicBezTo>
                <a:cubicBezTo>
                  <a:pt x="4596488" y="873029"/>
                  <a:pt x="4591384" y="879593"/>
                  <a:pt x="4584091" y="879593"/>
                </a:cubicBezTo>
                <a:cubicBezTo>
                  <a:pt x="4576069" y="879593"/>
                  <a:pt x="4570235" y="873029"/>
                  <a:pt x="4570235" y="865007"/>
                </a:cubicBezTo>
                <a:cubicBezTo>
                  <a:pt x="4570235" y="859173"/>
                  <a:pt x="4576069" y="853339"/>
                  <a:pt x="4584091" y="853339"/>
                </a:cubicBezTo>
                <a:close/>
                <a:moveTo>
                  <a:pt x="4513260" y="853339"/>
                </a:moveTo>
                <a:cubicBezTo>
                  <a:pt x="4519094" y="853339"/>
                  <a:pt x="4525657" y="859173"/>
                  <a:pt x="4525657" y="865007"/>
                </a:cubicBezTo>
                <a:cubicBezTo>
                  <a:pt x="4525657" y="873029"/>
                  <a:pt x="4519094" y="879593"/>
                  <a:pt x="4513260" y="879593"/>
                </a:cubicBezTo>
                <a:cubicBezTo>
                  <a:pt x="4505238" y="879593"/>
                  <a:pt x="4499404" y="873029"/>
                  <a:pt x="4499404" y="865007"/>
                </a:cubicBezTo>
                <a:cubicBezTo>
                  <a:pt x="4499404" y="859173"/>
                  <a:pt x="4505238" y="853339"/>
                  <a:pt x="4513260" y="853339"/>
                </a:cubicBezTo>
                <a:close/>
                <a:moveTo>
                  <a:pt x="4439056" y="853339"/>
                </a:moveTo>
                <a:cubicBezTo>
                  <a:pt x="4445619" y="853339"/>
                  <a:pt x="4451453" y="859173"/>
                  <a:pt x="4451453" y="865007"/>
                </a:cubicBezTo>
                <a:cubicBezTo>
                  <a:pt x="4451453" y="873029"/>
                  <a:pt x="4445619" y="879593"/>
                  <a:pt x="4439056" y="879593"/>
                </a:cubicBezTo>
                <a:cubicBezTo>
                  <a:pt x="4431763" y="879593"/>
                  <a:pt x="4425200" y="873029"/>
                  <a:pt x="4425200" y="865007"/>
                </a:cubicBezTo>
                <a:cubicBezTo>
                  <a:pt x="4425200" y="859173"/>
                  <a:pt x="4431763" y="853339"/>
                  <a:pt x="4439056" y="853339"/>
                </a:cubicBezTo>
                <a:close/>
                <a:moveTo>
                  <a:pt x="4366768" y="853339"/>
                </a:moveTo>
                <a:cubicBezTo>
                  <a:pt x="4374790" y="853339"/>
                  <a:pt x="4380624" y="859173"/>
                  <a:pt x="4380624" y="865007"/>
                </a:cubicBezTo>
                <a:cubicBezTo>
                  <a:pt x="4380624" y="873029"/>
                  <a:pt x="4374790" y="879593"/>
                  <a:pt x="4366768" y="879593"/>
                </a:cubicBezTo>
                <a:cubicBezTo>
                  <a:pt x="4360934" y="879593"/>
                  <a:pt x="4354371" y="873029"/>
                  <a:pt x="4354371" y="867195"/>
                </a:cubicBezTo>
                <a:cubicBezTo>
                  <a:pt x="4354371" y="859173"/>
                  <a:pt x="4360934" y="853339"/>
                  <a:pt x="4366768" y="853339"/>
                </a:cubicBezTo>
                <a:close/>
                <a:moveTo>
                  <a:pt x="4295937" y="853339"/>
                </a:moveTo>
                <a:cubicBezTo>
                  <a:pt x="4303959" y="853339"/>
                  <a:pt x="4309793" y="859173"/>
                  <a:pt x="4309793" y="867195"/>
                </a:cubicBezTo>
                <a:cubicBezTo>
                  <a:pt x="4309793" y="873029"/>
                  <a:pt x="4303959" y="879593"/>
                  <a:pt x="4295937" y="879593"/>
                </a:cubicBezTo>
                <a:cubicBezTo>
                  <a:pt x="4290103" y="879593"/>
                  <a:pt x="4283540" y="873029"/>
                  <a:pt x="4283540" y="867195"/>
                </a:cubicBezTo>
                <a:cubicBezTo>
                  <a:pt x="4283540" y="859173"/>
                  <a:pt x="4290103" y="853339"/>
                  <a:pt x="4295937" y="853339"/>
                </a:cubicBezTo>
                <a:close/>
                <a:moveTo>
                  <a:pt x="4225107" y="853339"/>
                </a:moveTo>
                <a:cubicBezTo>
                  <a:pt x="4233129" y="853339"/>
                  <a:pt x="4238963" y="859173"/>
                  <a:pt x="4238963" y="867195"/>
                </a:cubicBezTo>
                <a:cubicBezTo>
                  <a:pt x="4238963" y="873029"/>
                  <a:pt x="4233129" y="879593"/>
                  <a:pt x="4225107" y="879593"/>
                </a:cubicBezTo>
                <a:cubicBezTo>
                  <a:pt x="4217085" y="879593"/>
                  <a:pt x="4212710" y="873029"/>
                  <a:pt x="4212710" y="867195"/>
                </a:cubicBezTo>
                <a:cubicBezTo>
                  <a:pt x="4212710" y="859173"/>
                  <a:pt x="4217085" y="853339"/>
                  <a:pt x="4225107" y="853339"/>
                </a:cubicBezTo>
                <a:close/>
                <a:moveTo>
                  <a:pt x="4153295" y="853339"/>
                </a:moveTo>
                <a:cubicBezTo>
                  <a:pt x="4161078" y="853339"/>
                  <a:pt x="4168083" y="859173"/>
                  <a:pt x="4168083" y="867195"/>
                </a:cubicBezTo>
                <a:cubicBezTo>
                  <a:pt x="4168083" y="873029"/>
                  <a:pt x="4161078" y="879593"/>
                  <a:pt x="4153295" y="879593"/>
                </a:cubicBezTo>
                <a:cubicBezTo>
                  <a:pt x="4144733" y="879593"/>
                  <a:pt x="4138507" y="873029"/>
                  <a:pt x="4138507" y="867195"/>
                </a:cubicBezTo>
                <a:cubicBezTo>
                  <a:pt x="4138507" y="859173"/>
                  <a:pt x="4144733" y="853339"/>
                  <a:pt x="4153295" y="853339"/>
                </a:cubicBezTo>
                <a:close/>
                <a:moveTo>
                  <a:pt x="4082465" y="853339"/>
                </a:moveTo>
                <a:cubicBezTo>
                  <a:pt x="4090249" y="853339"/>
                  <a:pt x="4097254" y="859173"/>
                  <a:pt x="4097254" y="867195"/>
                </a:cubicBezTo>
                <a:cubicBezTo>
                  <a:pt x="4097254" y="873029"/>
                  <a:pt x="4090249" y="879593"/>
                  <a:pt x="4082465" y="879593"/>
                </a:cubicBezTo>
                <a:cubicBezTo>
                  <a:pt x="4073903" y="879593"/>
                  <a:pt x="4067676" y="873029"/>
                  <a:pt x="4067676" y="867195"/>
                </a:cubicBezTo>
                <a:cubicBezTo>
                  <a:pt x="4067676" y="859173"/>
                  <a:pt x="4073903" y="853339"/>
                  <a:pt x="4082465" y="853339"/>
                </a:cubicBezTo>
                <a:close/>
                <a:moveTo>
                  <a:pt x="4011635" y="853339"/>
                </a:moveTo>
                <a:cubicBezTo>
                  <a:pt x="4019418" y="853339"/>
                  <a:pt x="4026423" y="859173"/>
                  <a:pt x="4026423" y="867195"/>
                </a:cubicBezTo>
                <a:cubicBezTo>
                  <a:pt x="4026423" y="873029"/>
                  <a:pt x="4019418" y="879593"/>
                  <a:pt x="4011635" y="879593"/>
                </a:cubicBezTo>
                <a:cubicBezTo>
                  <a:pt x="4003073" y="879593"/>
                  <a:pt x="3996847" y="873029"/>
                  <a:pt x="3996847" y="867195"/>
                </a:cubicBezTo>
                <a:cubicBezTo>
                  <a:pt x="3996847" y="859173"/>
                  <a:pt x="4003073" y="853339"/>
                  <a:pt x="4011635" y="853339"/>
                </a:cubicBezTo>
                <a:close/>
                <a:moveTo>
                  <a:pt x="3939871" y="853339"/>
                </a:moveTo>
                <a:cubicBezTo>
                  <a:pt x="3947893" y="853339"/>
                  <a:pt x="3952268" y="859173"/>
                  <a:pt x="3952268" y="867195"/>
                </a:cubicBezTo>
                <a:cubicBezTo>
                  <a:pt x="3952268" y="873029"/>
                  <a:pt x="3947893" y="879593"/>
                  <a:pt x="3939871" y="879593"/>
                </a:cubicBezTo>
                <a:cubicBezTo>
                  <a:pt x="3932578" y="879593"/>
                  <a:pt x="3926015" y="873029"/>
                  <a:pt x="3926015" y="867195"/>
                </a:cubicBezTo>
                <a:cubicBezTo>
                  <a:pt x="3926015" y="859173"/>
                  <a:pt x="3932578" y="853339"/>
                  <a:pt x="3939871" y="853339"/>
                </a:cubicBezTo>
                <a:close/>
                <a:moveTo>
                  <a:pt x="3869042" y="853339"/>
                </a:moveTo>
                <a:cubicBezTo>
                  <a:pt x="3875605" y="853339"/>
                  <a:pt x="3881439" y="859173"/>
                  <a:pt x="3881439" y="867195"/>
                </a:cubicBezTo>
                <a:cubicBezTo>
                  <a:pt x="3881439" y="873029"/>
                  <a:pt x="3875605" y="879593"/>
                  <a:pt x="3869042" y="879593"/>
                </a:cubicBezTo>
                <a:cubicBezTo>
                  <a:pt x="3861749" y="879593"/>
                  <a:pt x="3855186" y="873029"/>
                  <a:pt x="3855186" y="867195"/>
                </a:cubicBezTo>
                <a:cubicBezTo>
                  <a:pt x="3855186" y="859173"/>
                  <a:pt x="3861749" y="853339"/>
                  <a:pt x="3869042" y="853339"/>
                </a:cubicBezTo>
                <a:close/>
                <a:moveTo>
                  <a:pt x="3796752" y="853339"/>
                </a:moveTo>
                <a:cubicBezTo>
                  <a:pt x="3804774" y="853339"/>
                  <a:pt x="3810608" y="859173"/>
                  <a:pt x="3810608" y="867195"/>
                </a:cubicBezTo>
                <a:cubicBezTo>
                  <a:pt x="3810608" y="873029"/>
                  <a:pt x="3804774" y="879593"/>
                  <a:pt x="3796752" y="879593"/>
                </a:cubicBezTo>
                <a:cubicBezTo>
                  <a:pt x="3790918" y="879593"/>
                  <a:pt x="3784355" y="873029"/>
                  <a:pt x="3784355" y="867195"/>
                </a:cubicBezTo>
                <a:cubicBezTo>
                  <a:pt x="3784355" y="859173"/>
                  <a:pt x="3790918" y="853339"/>
                  <a:pt x="3796752" y="853339"/>
                </a:cubicBezTo>
                <a:close/>
                <a:moveTo>
                  <a:pt x="3725922" y="853339"/>
                </a:moveTo>
                <a:cubicBezTo>
                  <a:pt x="3733944" y="853339"/>
                  <a:pt x="3739778" y="859173"/>
                  <a:pt x="3739778" y="867195"/>
                </a:cubicBezTo>
                <a:cubicBezTo>
                  <a:pt x="3739778" y="873029"/>
                  <a:pt x="3733944" y="879593"/>
                  <a:pt x="3725922" y="879593"/>
                </a:cubicBezTo>
                <a:cubicBezTo>
                  <a:pt x="3719359" y="879593"/>
                  <a:pt x="3713525" y="873029"/>
                  <a:pt x="3713525" y="867195"/>
                </a:cubicBezTo>
                <a:cubicBezTo>
                  <a:pt x="3713525" y="859173"/>
                  <a:pt x="3719359" y="853339"/>
                  <a:pt x="3725922" y="853339"/>
                </a:cubicBezTo>
                <a:close/>
                <a:moveTo>
                  <a:pt x="3655091" y="853339"/>
                </a:moveTo>
                <a:cubicBezTo>
                  <a:pt x="3662384" y="853339"/>
                  <a:pt x="3668947" y="859173"/>
                  <a:pt x="3668947" y="867195"/>
                </a:cubicBezTo>
                <a:cubicBezTo>
                  <a:pt x="3668947" y="873029"/>
                  <a:pt x="3662384" y="879593"/>
                  <a:pt x="3655091" y="879593"/>
                </a:cubicBezTo>
                <a:cubicBezTo>
                  <a:pt x="3647069" y="879593"/>
                  <a:pt x="3642694" y="873029"/>
                  <a:pt x="3642694" y="867195"/>
                </a:cubicBezTo>
                <a:cubicBezTo>
                  <a:pt x="3642694" y="859173"/>
                  <a:pt x="3647069" y="853339"/>
                  <a:pt x="3655091" y="853339"/>
                </a:cubicBezTo>
                <a:close/>
                <a:moveTo>
                  <a:pt x="3583280" y="853339"/>
                </a:moveTo>
                <a:cubicBezTo>
                  <a:pt x="3591064" y="853339"/>
                  <a:pt x="3598069" y="859173"/>
                  <a:pt x="3598069" y="867195"/>
                </a:cubicBezTo>
                <a:cubicBezTo>
                  <a:pt x="3598069" y="873029"/>
                  <a:pt x="3591064" y="879593"/>
                  <a:pt x="3583280" y="879593"/>
                </a:cubicBezTo>
                <a:cubicBezTo>
                  <a:pt x="3574718" y="879593"/>
                  <a:pt x="3568491" y="873029"/>
                  <a:pt x="3568491" y="867195"/>
                </a:cubicBezTo>
                <a:cubicBezTo>
                  <a:pt x="3568491" y="859173"/>
                  <a:pt x="3574718" y="853339"/>
                  <a:pt x="3583280" y="853339"/>
                </a:cubicBezTo>
                <a:close/>
                <a:moveTo>
                  <a:pt x="3512449" y="853339"/>
                </a:moveTo>
                <a:cubicBezTo>
                  <a:pt x="3520232" y="853339"/>
                  <a:pt x="3527237" y="859173"/>
                  <a:pt x="3527237" y="867195"/>
                </a:cubicBezTo>
                <a:cubicBezTo>
                  <a:pt x="3527237" y="873029"/>
                  <a:pt x="3520232" y="879593"/>
                  <a:pt x="3512449" y="879593"/>
                </a:cubicBezTo>
                <a:cubicBezTo>
                  <a:pt x="3503887" y="879593"/>
                  <a:pt x="3497661" y="873029"/>
                  <a:pt x="3497661" y="867195"/>
                </a:cubicBezTo>
                <a:cubicBezTo>
                  <a:pt x="3497661" y="859173"/>
                  <a:pt x="3503887" y="853339"/>
                  <a:pt x="3512449" y="853339"/>
                </a:cubicBezTo>
                <a:close/>
                <a:moveTo>
                  <a:pt x="3441619" y="853339"/>
                </a:moveTo>
                <a:cubicBezTo>
                  <a:pt x="3450181" y="853339"/>
                  <a:pt x="3456408" y="859173"/>
                  <a:pt x="3456408" y="867195"/>
                </a:cubicBezTo>
                <a:cubicBezTo>
                  <a:pt x="3456408" y="873029"/>
                  <a:pt x="3450181" y="879593"/>
                  <a:pt x="3441619" y="879593"/>
                </a:cubicBezTo>
                <a:cubicBezTo>
                  <a:pt x="3433835" y="879593"/>
                  <a:pt x="3426830" y="873029"/>
                  <a:pt x="3426830" y="867195"/>
                </a:cubicBezTo>
                <a:cubicBezTo>
                  <a:pt x="3426830" y="859173"/>
                  <a:pt x="3433835" y="853339"/>
                  <a:pt x="3441619" y="853339"/>
                </a:cubicBezTo>
                <a:close/>
                <a:moveTo>
                  <a:pt x="3369857" y="853339"/>
                </a:moveTo>
                <a:cubicBezTo>
                  <a:pt x="3377879" y="853339"/>
                  <a:pt x="3382254" y="859173"/>
                  <a:pt x="3382254" y="867195"/>
                </a:cubicBezTo>
                <a:cubicBezTo>
                  <a:pt x="3382254" y="873029"/>
                  <a:pt x="3377879" y="879593"/>
                  <a:pt x="3369857" y="879593"/>
                </a:cubicBezTo>
                <a:cubicBezTo>
                  <a:pt x="3362564" y="879593"/>
                  <a:pt x="3356001" y="873029"/>
                  <a:pt x="3356001" y="867195"/>
                </a:cubicBezTo>
                <a:cubicBezTo>
                  <a:pt x="3356001" y="859173"/>
                  <a:pt x="3362564" y="853339"/>
                  <a:pt x="3369857" y="853339"/>
                </a:cubicBezTo>
                <a:close/>
                <a:moveTo>
                  <a:pt x="1013589" y="853339"/>
                </a:moveTo>
                <a:cubicBezTo>
                  <a:pt x="1021181" y="853339"/>
                  <a:pt x="1028011" y="859566"/>
                  <a:pt x="1028011" y="868127"/>
                </a:cubicBezTo>
                <a:cubicBezTo>
                  <a:pt x="1028011" y="875911"/>
                  <a:pt x="1021181" y="882916"/>
                  <a:pt x="1013589" y="882916"/>
                </a:cubicBezTo>
                <a:cubicBezTo>
                  <a:pt x="1005243" y="882916"/>
                  <a:pt x="998413" y="875911"/>
                  <a:pt x="998413" y="868127"/>
                </a:cubicBezTo>
                <a:cubicBezTo>
                  <a:pt x="998413" y="859566"/>
                  <a:pt x="1005243" y="853339"/>
                  <a:pt x="1013589" y="853339"/>
                </a:cubicBezTo>
                <a:close/>
                <a:moveTo>
                  <a:pt x="368059" y="785881"/>
                </a:moveTo>
                <a:cubicBezTo>
                  <a:pt x="376081" y="785881"/>
                  <a:pt x="380456" y="790256"/>
                  <a:pt x="380456" y="797549"/>
                </a:cubicBezTo>
                <a:cubicBezTo>
                  <a:pt x="380456" y="805571"/>
                  <a:pt x="376081" y="812135"/>
                  <a:pt x="368059" y="812135"/>
                </a:cubicBezTo>
                <a:cubicBezTo>
                  <a:pt x="360766" y="812135"/>
                  <a:pt x="354203" y="805571"/>
                  <a:pt x="354203" y="797549"/>
                </a:cubicBezTo>
                <a:cubicBezTo>
                  <a:pt x="354203" y="790256"/>
                  <a:pt x="360766" y="785881"/>
                  <a:pt x="368059" y="785881"/>
                </a:cubicBezTo>
                <a:close/>
                <a:moveTo>
                  <a:pt x="297226" y="785881"/>
                </a:moveTo>
                <a:cubicBezTo>
                  <a:pt x="303791" y="785881"/>
                  <a:pt x="309624" y="790256"/>
                  <a:pt x="309624" y="797549"/>
                </a:cubicBezTo>
                <a:cubicBezTo>
                  <a:pt x="309624" y="805571"/>
                  <a:pt x="303791" y="812135"/>
                  <a:pt x="297226" y="812135"/>
                </a:cubicBezTo>
                <a:cubicBezTo>
                  <a:pt x="289933" y="812135"/>
                  <a:pt x="283371" y="805571"/>
                  <a:pt x="283371" y="797549"/>
                </a:cubicBezTo>
                <a:cubicBezTo>
                  <a:pt x="283371" y="790256"/>
                  <a:pt x="289933" y="785881"/>
                  <a:pt x="297226" y="785881"/>
                </a:cubicBezTo>
                <a:close/>
                <a:moveTo>
                  <a:pt x="226398" y="785881"/>
                </a:moveTo>
                <a:cubicBezTo>
                  <a:pt x="232233" y="785881"/>
                  <a:pt x="238797" y="790256"/>
                  <a:pt x="238797" y="797549"/>
                </a:cubicBezTo>
                <a:cubicBezTo>
                  <a:pt x="238797" y="805571"/>
                  <a:pt x="232233" y="812135"/>
                  <a:pt x="226398" y="812135"/>
                </a:cubicBezTo>
                <a:cubicBezTo>
                  <a:pt x="218375" y="812135"/>
                  <a:pt x="212542" y="805571"/>
                  <a:pt x="212542" y="797549"/>
                </a:cubicBezTo>
                <a:cubicBezTo>
                  <a:pt x="212542" y="790256"/>
                  <a:pt x="218375" y="785881"/>
                  <a:pt x="226398" y="785881"/>
                </a:cubicBezTo>
                <a:close/>
                <a:moveTo>
                  <a:pt x="154101" y="785881"/>
                </a:moveTo>
                <a:cubicBezTo>
                  <a:pt x="161394" y="785881"/>
                  <a:pt x="167957" y="790256"/>
                  <a:pt x="167957" y="797549"/>
                </a:cubicBezTo>
                <a:cubicBezTo>
                  <a:pt x="167957" y="805571"/>
                  <a:pt x="161394" y="812135"/>
                  <a:pt x="154101" y="812135"/>
                </a:cubicBezTo>
                <a:cubicBezTo>
                  <a:pt x="147538" y="812135"/>
                  <a:pt x="141704" y="805571"/>
                  <a:pt x="141704" y="797549"/>
                </a:cubicBezTo>
                <a:cubicBezTo>
                  <a:pt x="141704" y="790256"/>
                  <a:pt x="147538" y="785881"/>
                  <a:pt x="154101" y="785881"/>
                </a:cubicBezTo>
                <a:close/>
                <a:moveTo>
                  <a:pt x="83272" y="785881"/>
                </a:moveTo>
                <a:cubicBezTo>
                  <a:pt x="90564" y="785881"/>
                  <a:pt x="97128" y="790256"/>
                  <a:pt x="97128" y="797549"/>
                </a:cubicBezTo>
                <a:cubicBezTo>
                  <a:pt x="97128" y="805571"/>
                  <a:pt x="90564" y="812135"/>
                  <a:pt x="83272" y="812135"/>
                </a:cubicBezTo>
                <a:cubicBezTo>
                  <a:pt x="76708" y="812135"/>
                  <a:pt x="70874" y="805571"/>
                  <a:pt x="70874" y="797549"/>
                </a:cubicBezTo>
                <a:cubicBezTo>
                  <a:pt x="70874" y="790256"/>
                  <a:pt x="76708" y="785881"/>
                  <a:pt x="83272" y="785881"/>
                </a:cubicBezTo>
                <a:close/>
                <a:moveTo>
                  <a:pt x="12036" y="785881"/>
                </a:moveTo>
                <a:cubicBezTo>
                  <a:pt x="20281" y="785881"/>
                  <a:pt x="26277" y="790256"/>
                  <a:pt x="26277" y="797549"/>
                </a:cubicBezTo>
                <a:cubicBezTo>
                  <a:pt x="26277" y="805571"/>
                  <a:pt x="20281" y="812135"/>
                  <a:pt x="12036" y="812135"/>
                </a:cubicBezTo>
                <a:cubicBezTo>
                  <a:pt x="4541" y="812135"/>
                  <a:pt x="44" y="805571"/>
                  <a:pt x="44" y="797549"/>
                </a:cubicBezTo>
                <a:cubicBezTo>
                  <a:pt x="44" y="790256"/>
                  <a:pt x="4541" y="785881"/>
                  <a:pt x="12036" y="785881"/>
                </a:cubicBezTo>
                <a:close/>
                <a:moveTo>
                  <a:pt x="4726684" y="782507"/>
                </a:moveTo>
                <a:cubicBezTo>
                  <a:pt x="4735246" y="782507"/>
                  <a:pt x="4741472" y="789070"/>
                  <a:pt x="4741472" y="794904"/>
                </a:cubicBezTo>
                <a:cubicBezTo>
                  <a:pt x="4741472" y="802926"/>
                  <a:pt x="4735246" y="808761"/>
                  <a:pt x="4726684" y="808761"/>
                </a:cubicBezTo>
                <a:cubicBezTo>
                  <a:pt x="4718122" y="808761"/>
                  <a:pt x="4711896" y="802926"/>
                  <a:pt x="4711896" y="794904"/>
                </a:cubicBezTo>
                <a:cubicBezTo>
                  <a:pt x="4711896" y="789070"/>
                  <a:pt x="4718122" y="782507"/>
                  <a:pt x="4726684" y="782507"/>
                </a:cubicBezTo>
                <a:close/>
                <a:moveTo>
                  <a:pt x="4655853" y="782507"/>
                </a:moveTo>
                <a:cubicBezTo>
                  <a:pt x="4663637" y="782507"/>
                  <a:pt x="4670642" y="789070"/>
                  <a:pt x="4670642" y="794904"/>
                </a:cubicBezTo>
                <a:cubicBezTo>
                  <a:pt x="4670642" y="802926"/>
                  <a:pt x="4663637" y="808761"/>
                  <a:pt x="4655853" y="808761"/>
                </a:cubicBezTo>
                <a:cubicBezTo>
                  <a:pt x="4647291" y="808761"/>
                  <a:pt x="4641064" y="802926"/>
                  <a:pt x="4641064" y="794904"/>
                </a:cubicBezTo>
                <a:cubicBezTo>
                  <a:pt x="4641064" y="789070"/>
                  <a:pt x="4647291" y="782507"/>
                  <a:pt x="4655853" y="782507"/>
                </a:cubicBezTo>
                <a:close/>
                <a:moveTo>
                  <a:pt x="4584091" y="782507"/>
                </a:moveTo>
                <a:cubicBezTo>
                  <a:pt x="4591384" y="782507"/>
                  <a:pt x="4596488" y="789070"/>
                  <a:pt x="4596488" y="794904"/>
                </a:cubicBezTo>
                <a:cubicBezTo>
                  <a:pt x="4596488" y="802926"/>
                  <a:pt x="4591384" y="808761"/>
                  <a:pt x="4584091" y="808761"/>
                </a:cubicBezTo>
                <a:cubicBezTo>
                  <a:pt x="4576069" y="808761"/>
                  <a:pt x="4570235" y="802926"/>
                  <a:pt x="4570235" y="794904"/>
                </a:cubicBezTo>
                <a:cubicBezTo>
                  <a:pt x="4570235" y="789070"/>
                  <a:pt x="4576069" y="782507"/>
                  <a:pt x="4584091" y="782507"/>
                </a:cubicBezTo>
                <a:close/>
                <a:moveTo>
                  <a:pt x="4513260" y="782507"/>
                </a:moveTo>
                <a:cubicBezTo>
                  <a:pt x="4519094" y="782507"/>
                  <a:pt x="4525657" y="789070"/>
                  <a:pt x="4525657" y="794904"/>
                </a:cubicBezTo>
                <a:cubicBezTo>
                  <a:pt x="4525657" y="802926"/>
                  <a:pt x="4519094" y="808761"/>
                  <a:pt x="4513260" y="808761"/>
                </a:cubicBezTo>
                <a:cubicBezTo>
                  <a:pt x="4505238" y="808761"/>
                  <a:pt x="4499404" y="802926"/>
                  <a:pt x="4499404" y="794904"/>
                </a:cubicBezTo>
                <a:cubicBezTo>
                  <a:pt x="4499404" y="789070"/>
                  <a:pt x="4505238" y="782507"/>
                  <a:pt x="4513260" y="782507"/>
                </a:cubicBezTo>
                <a:close/>
                <a:moveTo>
                  <a:pt x="4439056" y="782507"/>
                </a:moveTo>
                <a:cubicBezTo>
                  <a:pt x="4445619" y="782507"/>
                  <a:pt x="4451453" y="789070"/>
                  <a:pt x="4451453" y="794904"/>
                </a:cubicBezTo>
                <a:cubicBezTo>
                  <a:pt x="4451453" y="802926"/>
                  <a:pt x="4445619" y="808761"/>
                  <a:pt x="4439056" y="808761"/>
                </a:cubicBezTo>
                <a:cubicBezTo>
                  <a:pt x="4431763" y="808761"/>
                  <a:pt x="4425200" y="802926"/>
                  <a:pt x="4425200" y="794904"/>
                </a:cubicBezTo>
                <a:cubicBezTo>
                  <a:pt x="4425200" y="789070"/>
                  <a:pt x="4431763" y="782507"/>
                  <a:pt x="4439056" y="782507"/>
                </a:cubicBezTo>
                <a:close/>
                <a:moveTo>
                  <a:pt x="4366768" y="782507"/>
                </a:moveTo>
                <a:cubicBezTo>
                  <a:pt x="4374790" y="782507"/>
                  <a:pt x="4380624" y="789070"/>
                  <a:pt x="4380624" y="794904"/>
                </a:cubicBezTo>
                <a:cubicBezTo>
                  <a:pt x="4380624" y="802926"/>
                  <a:pt x="4374790" y="808761"/>
                  <a:pt x="4366768" y="808761"/>
                </a:cubicBezTo>
                <a:cubicBezTo>
                  <a:pt x="4360934" y="808761"/>
                  <a:pt x="4354371" y="802926"/>
                  <a:pt x="4354371" y="794904"/>
                </a:cubicBezTo>
                <a:cubicBezTo>
                  <a:pt x="4354371" y="789070"/>
                  <a:pt x="4360934" y="782507"/>
                  <a:pt x="4366768" y="782507"/>
                </a:cubicBezTo>
                <a:close/>
                <a:moveTo>
                  <a:pt x="4295937" y="782507"/>
                </a:moveTo>
                <a:cubicBezTo>
                  <a:pt x="4303959" y="782507"/>
                  <a:pt x="4309793" y="789070"/>
                  <a:pt x="4309793" y="794904"/>
                </a:cubicBezTo>
                <a:cubicBezTo>
                  <a:pt x="4309793" y="802926"/>
                  <a:pt x="4303959" y="808761"/>
                  <a:pt x="4295937" y="808761"/>
                </a:cubicBezTo>
                <a:cubicBezTo>
                  <a:pt x="4290103" y="808761"/>
                  <a:pt x="4283540" y="802926"/>
                  <a:pt x="4283540" y="794904"/>
                </a:cubicBezTo>
                <a:cubicBezTo>
                  <a:pt x="4283540" y="789070"/>
                  <a:pt x="4290103" y="782507"/>
                  <a:pt x="4295937" y="782507"/>
                </a:cubicBezTo>
                <a:close/>
                <a:moveTo>
                  <a:pt x="4225107" y="782507"/>
                </a:moveTo>
                <a:cubicBezTo>
                  <a:pt x="4233129" y="782507"/>
                  <a:pt x="4238963" y="789070"/>
                  <a:pt x="4238963" y="794904"/>
                </a:cubicBezTo>
                <a:cubicBezTo>
                  <a:pt x="4238963" y="802926"/>
                  <a:pt x="4233129" y="808761"/>
                  <a:pt x="4225107" y="808761"/>
                </a:cubicBezTo>
                <a:cubicBezTo>
                  <a:pt x="4217085" y="808761"/>
                  <a:pt x="4212710" y="802926"/>
                  <a:pt x="4212710" y="794904"/>
                </a:cubicBezTo>
                <a:cubicBezTo>
                  <a:pt x="4212710" y="789070"/>
                  <a:pt x="4217085" y="782507"/>
                  <a:pt x="4225107" y="782507"/>
                </a:cubicBezTo>
                <a:close/>
                <a:moveTo>
                  <a:pt x="4153295" y="782507"/>
                </a:moveTo>
                <a:cubicBezTo>
                  <a:pt x="4161078" y="782507"/>
                  <a:pt x="4168083" y="789070"/>
                  <a:pt x="4168083" y="794904"/>
                </a:cubicBezTo>
                <a:cubicBezTo>
                  <a:pt x="4168083" y="802926"/>
                  <a:pt x="4161078" y="808761"/>
                  <a:pt x="4153295" y="808761"/>
                </a:cubicBezTo>
                <a:cubicBezTo>
                  <a:pt x="4144733" y="808761"/>
                  <a:pt x="4138507" y="802926"/>
                  <a:pt x="4138507" y="794904"/>
                </a:cubicBezTo>
                <a:cubicBezTo>
                  <a:pt x="4138507" y="789070"/>
                  <a:pt x="4144733" y="782507"/>
                  <a:pt x="4153295" y="782507"/>
                </a:cubicBezTo>
                <a:close/>
                <a:moveTo>
                  <a:pt x="4082465" y="782507"/>
                </a:moveTo>
                <a:cubicBezTo>
                  <a:pt x="4090249" y="782507"/>
                  <a:pt x="4097254" y="789070"/>
                  <a:pt x="4097254" y="794904"/>
                </a:cubicBezTo>
                <a:cubicBezTo>
                  <a:pt x="4097254" y="802926"/>
                  <a:pt x="4090249" y="808761"/>
                  <a:pt x="4082465" y="808761"/>
                </a:cubicBezTo>
                <a:cubicBezTo>
                  <a:pt x="4073903" y="808761"/>
                  <a:pt x="4067676" y="802926"/>
                  <a:pt x="4067676" y="794904"/>
                </a:cubicBezTo>
                <a:cubicBezTo>
                  <a:pt x="4067676" y="789070"/>
                  <a:pt x="4073903" y="782507"/>
                  <a:pt x="4082465" y="782507"/>
                </a:cubicBezTo>
                <a:close/>
                <a:moveTo>
                  <a:pt x="4010703" y="782507"/>
                </a:moveTo>
                <a:cubicBezTo>
                  <a:pt x="4017996" y="782507"/>
                  <a:pt x="4023100" y="789070"/>
                  <a:pt x="4023100" y="794904"/>
                </a:cubicBezTo>
                <a:cubicBezTo>
                  <a:pt x="4023100" y="802926"/>
                  <a:pt x="4017996" y="808761"/>
                  <a:pt x="4010703" y="808761"/>
                </a:cubicBezTo>
                <a:cubicBezTo>
                  <a:pt x="4002681" y="808761"/>
                  <a:pt x="3996847" y="802926"/>
                  <a:pt x="3996847" y="794904"/>
                </a:cubicBezTo>
                <a:cubicBezTo>
                  <a:pt x="3996847" y="789070"/>
                  <a:pt x="4002681" y="782507"/>
                  <a:pt x="4010703" y="782507"/>
                </a:cubicBezTo>
                <a:close/>
                <a:moveTo>
                  <a:pt x="3939871" y="782507"/>
                </a:moveTo>
                <a:cubicBezTo>
                  <a:pt x="3946434" y="782507"/>
                  <a:pt x="3952268" y="789070"/>
                  <a:pt x="3952268" y="794904"/>
                </a:cubicBezTo>
                <a:cubicBezTo>
                  <a:pt x="3952268" y="802926"/>
                  <a:pt x="3946434" y="808761"/>
                  <a:pt x="3939871" y="808761"/>
                </a:cubicBezTo>
                <a:cubicBezTo>
                  <a:pt x="3932578" y="808761"/>
                  <a:pt x="3926015" y="802926"/>
                  <a:pt x="3926015" y="794904"/>
                </a:cubicBezTo>
                <a:cubicBezTo>
                  <a:pt x="3926015" y="789070"/>
                  <a:pt x="3932578" y="782507"/>
                  <a:pt x="3939871" y="782507"/>
                </a:cubicBezTo>
                <a:close/>
                <a:moveTo>
                  <a:pt x="3869042" y="782507"/>
                </a:moveTo>
                <a:cubicBezTo>
                  <a:pt x="3875605" y="782507"/>
                  <a:pt x="3881439" y="789070"/>
                  <a:pt x="3881439" y="794904"/>
                </a:cubicBezTo>
                <a:cubicBezTo>
                  <a:pt x="3881439" y="802926"/>
                  <a:pt x="3875605" y="808761"/>
                  <a:pt x="3869042" y="808761"/>
                </a:cubicBezTo>
                <a:cubicBezTo>
                  <a:pt x="3861749" y="808761"/>
                  <a:pt x="3855186" y="802926"/>
                  <a:pt x="3855186" y="794904"/>
                </a:cubicBezTo>
                <a:cubicBezTo>
                  <a:pt x="3855186" y="789070"/>
                  <a:pt x="3861749" y="782507"/>
                  <a:pt x="3869042" y="782507"/>
                </a:cubicBezTo>
                <a:close/>
                <a:moveTo>
                  <a:pt x="3796752" y="782507"/>
                </a:moveTo>
                <a:cubicBezTo>
                  <a:pt x="3804774" y="782507"/>
                  <a:pt x="3810608" y="789070"/>
                  <a:pt x="3810608" y="796363"/>
                </a:cubicBezTo>
                <a:cubicBezTo>
                  <a:pt x="3810608" y="802926"/>
                  <a:pt x="3804774" y="808761"/>
                  <a:pt x="3796752" y="808761"/>
                </a:cubicBezTo>
                <a:cubicBezTo>
                  <a:pt x="3790918" y="808761"/>
                  <a:pt x="3784355" y="802926"/>
                  <a:pt x="3784355" y="796363"/>
                </a:cubicBezTo>
                <a:cubicBezTo>
                  <a:pt x="3784355" y="789070"/>
                  <a:pt x="3790918" y="782507"/>
                  <a:pt x="3796752" y="782507"/>
                </a:cubicBezTo>
                <a:close/>
                <a:moveTo>
                  <a:pt x="3725922" y="782507"/>
                </a:moveTo>
                <a:cubicBezTo>
                  <a:pt x="3733944" y="782507"/>
                  <a:pt x="3739778" y="789070"/>
                  <a:pt x="3739778" y="796363"/>
                </a:cubicBezTo>
                <a:cubicBezTo>
                  <a:pt x="3739778" y="802926"/>
                  <a:pt x="3733944" y="808761"/>
                  <a:pt x="3725922" y="808761"/>
                </a:cubicBezTo>
                <a:cubicBezTo>
                  <a:pt x="3719359" y="808761"/>
                  <a:pt x="3713525" y="802926"/>
                  <a:pt x="3713525" y="796363"/>
                </a:cubicBezTo>
                <a:cubicBezTo>
                  <a:pt x="3713525" y="789070"/>
                  <a:pt x="3719359" y="782507"/>
                  <a:pt x="3725922" y="782507"/>
                </a:cubicBezTo>
                <a:close/>
                <a:moveTo>
                  <a:pt x="3655091" y="782507"/>
                </a:moveTo>
                <a:cubicBezTo>
                  <a:pt x="3662384" y="782507"/>
                  <a:pt x="3668947" y="789070"/>
                  <a:pt x="3668947" y="796363"/>
                </a:cubicBezTo>
                <a:cubicBezTo>
                  <a:pt x="3668947" y="802926"/>
                  <a:pt x="3662384" y="808761"/>
                  <a:pt x="3655091" y="808761"/>
                </a:cubicBezTo>
                <a:cubicBezTo>
                  <a:pt x="3647069" y="808761"/>
                  <a:pt x="3642694" y="802926"/>
                  <a:pt x="3642694" y="796363"/>
                </a:cubicBezTo>
                <a:cubicBezTo>
                  <a:pt x="3642694" y="789070"/>
                  <a:pt x="3647069" y="782507"/>
                  <a:pt x="3655091" y="782507"/>
                </a:cubicBezTo>
                <a:close/>
                <a:moveTo>
                  <a:pt x="3583280" y="782507"/>
                </a:moveTo>
                <a:cubicBezTo>
                  <a:pt x="3591064" y="782507"/>
                  <a:pt x="3598069" y="789070"/>
                  <a:pt x="3598069" y="796363"/>
                </a:cubicBezTo>
                <a:cubicBezTo>
                  <a:pt x="3598069" y="802926"/>
                  <a:pt x="3591064" y="808761"/>
                  <a:pt x="3583280" y="808761"/>
                </a:cubicBezTo>
                <a:cubicBezTo>
                  <a:pt x="3574718" y="808761"/>
                  <a:pt x="3568491" y="802926"/>
                  <a:pt x="3568491" y="796363"/>
                </a:cubicBezTo>
                <a:cubicBezTo>
                  <a:pt x="3568491" y="789070"/>
                  <a:pt x="3574718" y="782507"/>
                  <a:pt x="3583280" y="782507"/>
                </a:cubicBezTo>
                <a:close/>
                <a:moveTo>
                  <a:pt x="3512449" y="782507"/>
                </a:moveTo>
                <a:cubicBezTo>
                  <a:pt x="3520232" y="782507"/>
                  <a:pt x="3527237" y="789070"/>
                  <a:pt x="3527237" y="796363"/>
                </a:cubicBezTo>
                <a:cubicBezTo>
                  <a:pt x="3527237" y="802926"/>
                  <a:pt x="3520232" y="808761"/>
                  <a:pt x="3512449" y="808761"/>
                </a:cubicBezTo>
                <a:cubicBezTo>
                  <a:pt x="3503887" y="808761"/>
                  <a:pt x="3497661" y="802926"/>
                  <a:pt x="3497661" y="796363"/>
                </a:cubicBezTo>
                <a:cubicBezTo>
                  <a:pt x="3497661" y="789070"/>
                  <a:pt x="3503887" y="782507"/>
                  <a:pt x="3512449" y="782507"/>
                </a:cubicBezTo>
                <a:close/>
                <a:moveTo>
                  <a:pt x="3441619" y="782507"/>
                </a:moveTo>
                <a:cubicBezTo>
                  <a:pt x="3450181" y="782507"/>
                  <a:pt x="3456408" y="789070"/>
                  <a:pt x="3456408" y="796363"/>
                </a:cubicBezTo>
                <a:cubicBezTo>
                  <a:pt x="3456408" y="802926"/>
                  <a:pt x="3450181" y="808761"/>
                  <a:pt x="3441619" y="808761"/>
                </a:cubicBezTo>
                <a:cubicBezTo>
                  <a:pt x="3433835" y="808761"/>
                  <a:pt x="3426830" y="802926"/>
                  <a:pt x="3426830" y="796363"/>
                </a:cubicBezTo>
                <a:cubicBezTo>
                  <a:pt x="3426830" y="789070"/>
                  <a:pt x="3433835" y="782507"/>
                  <a:pt x="3441619" y="782507"/>
                </a:cubicBezTo>
                <a:close/>
                <a:moveTo>
                  <a:pt x="3369857" y="782507"/>
                </a:moveTo>
                <a:cubicBezTo>
                  <a:pt x="3377879" y="782507"/>
                  <a:pt x="3382254" y="789070"/>
                  <a:pt x="3382254" y="796363"/>
                </a:cubicBezTo>
                <a:cubicBezTo>
                  <a:pt x="3382254" y="802926"/>
                  <a:pt x="3377879" y="808761"/>
                  <a:pt x="3369857" y="808761"/>
                </a:cubicBezTo>
                <a:cubicBezTo>
                  <a:pt x="3362564" y="808761"/>
                  <a:pt x="3356001" y="802926"/>
                  <a:pt x="3356001" y="796363"/>
                </a:cubicBezTo>
                <a:cubicBezTo>
                  <a:pt x="3356001" y="789070"/>
                  <a:pt x="3362564" y="782507"/>
                  <a:pt x="3369857" y="782507"/>
                </a:cubicBezTo>
                <a:close/>
                <a:moveTo>
                  <a:pt x="3299083" y="782507"/>
                </a:moveTo>
                <a:cubicBezTo>
                  <a:pt x="3305645" y="782507"/>
                  <a:pt x="3311480" y="789070"/>
                  <a:pt x="3311480" y="796363"/>
                </a:cubicBezTo>
                <a:cubicBezTo>
                  <a:pt x="3311480" y="802926"/>
                  <a:pt x="3305645" y="808761"/>
                  <a:pt x="3299083" y="808761"/>
                </a:cubicBezTo>
                <a:cubicBezTo>
                  <a:pt x="3291789" y="808761"/>
                  <a:pt x="3285229" y="802926"/>
                  <a:pt x="3285229" y="796363"/>
                </a:cubicBezTo>
                <a:cubicBezTo>
                  <a:pt x="3285229" y="789070"/>
                  <a:pt x="3291789" y="782507"/>
                  <a:pt x="3299083" y="782507"/>
                </a:cubicBezTo>
                <a:close/>
                <a:moveTo>
                  <a:pt x="3228250" y="782507"/>
                </a:moveTo>
                <a:cubicBezTo>
                  <a:pt x="3234814" y="782507"/>
                  <a:pt x="3240649" y="789070"/>
                  <a:pt x="3240649" y="796363"/>
                </a:cubicBezTo>
                <a:cubicBezTo>
                  <a:pt x="3240649" y="802926"/>
                  <a:pt x="3234814" y="808761"/>
                  <a:pt x="3228250" y="808761"/>
                </a:cubicBezTo>
                <a:cubicBezTo>
                  <a:pt x="3220230" y="808761"/>
                  <a:pt x="3214395" y="802926"/>
                  <a:pt x="3214395" y="796363"/>
                </a:cubicBezTo>
                <a:cubicBezTo>
                  <a:pt x="3214395" y="789070"/>
                  <a:pt x="3220230" y="782507"/>
                  <a:pt x="3228250" y="782507"/>
                </a:cubicBezTo>
                <a:close/>
                <a:moveTo>
                  <a:pt x="3152591" y="782507"/>
                </a:moveTo>
                <a:cubicBezTo>
                  <a:pt x="3159884" y="782507"/>
                  <a:pt x="3166447" y="789070"/>
                  <a:pt x="3166447" y="796363"/>
                </a:cubicBezTo>
                <a:cubicBezTo>
                  <a:pt x="3166447" y="802926"/>
                  <a:pt x="3159884" y="808761"/>
                  <a:pt x="3152591" y="808761"/>
                </a:cubicBezTo>
                <a:cubicBezTo>
                  <a:pt x="3146027" y="808761"/>
                  <a:pt x="3140193" y="802926"/>
                  <a:pt x="3140193" y="796363"/>
                </a:cubicBezTo>
                <a:cubicBezTo>
                  <a:pt x="3140193" y="789070"/>
                  <a:pt x="3146027" y="782507"/>
                  <a:pt x="3152591" y="782507"/>
                </a:cubicBezTo>
                <a:close/>
                <a:moveTo>
                  <a:pt x="1226672" y="782507"/>
                </a:moveTo>
                <a:cubicBezTo>
                  <a:pt x="1233964" y="782507"/>
                  <a:pt x="1240529" y="789337"/>
                  <a:pt x="1240529" y="796926"/>
                </a:cubicBezTo>
                <a:cubicBezTo>
                  <a:pt x="1240529" y="805275"/>
                  <a:pt x="1233964" y="812105"/>
                  <a:pt x="1226672" y="812105"/>
                </a:cubicBezTo>
                <a:cubicBezTo>
                  <a:pt x="1218658" y="812105"/>
                  <a:pt x="1214283" y="805275"/>
                  <a:pt x="1214283" y="796926"/>
                </a:cubicBezTo>
                <a:cubicBezTo>
                  <a:pt x="1214283" y="789337"/>
                  <a:pt x="1218658" y="782507"/>
                  <a:pt x="1226672" y="782507"/>
                </a:cubicBezTo>
                <a:close/>
                <a:moveTo>
                  <a:pt x="1154869" y="782507"/>
                </a:moveTo>
                <a:cubicBezTo>
                  <a:pt x="1162652" y="782507"/>
                  <a:pt x="1169658" y="789337"/>
                  <a:pt x="1169658" y="796926"/>
                </a:cubicBezTo>
                <a:cubicBezTo>
                  <a:pt x="1169658" y="805275"/>
                  <a:pt x="1162652" y="812105"/>
                  <a:pt x="1154869" y="812105"/>
                </a:cubicBezTo>
                <a:cubicBezTo>
                  <a:pt x="1146307" y="812105"/>
                  <a:pt x="1140080" y="805275"/>
                  <a:pt x="1140080" y="796926"/>
                </a:cubicBezTo>
                <a:cubicBezTo>
                  <a:pt x="1140080" y="789337"/>
                  <a:pt x="1146307" y="782507"/>
                  <a:pt x="1154869" y="782507"/>
                </a:cubicBezTo>
                <a:close/>
                <a:moveTo>
                  <a:pt x="1084040" y="782507"/>
                </a:moveTo>
                <a:cubicBezTo>
                  <a:pt x="1091822" y="782507"/>
                  <a:pt x="1098826" y="789337"/>
                  <a:pt x="1098826" y="796926"/>
                </a:cubicBezTo>
                <a:cubicBezTo>
                  <a:pt x="1098826" y="805275"/>
                  <a:pt x="1091822" y="812105"/>
                  <a:pt x="1084040" y="812105"/>
                </a:cubicBezTo>
                <a:cubicBezTo>
                  <a:pt x="1075478" y="812105"/>
                  <a:pt x="1069250" y="805275"/>
                  <a:pt x="1069250" y="796926"/>
                </a:cubicBezTo>
                <a:cubicBezTo>
                  <a:pt x="1069250" y="789337"/>
                  <a:pt x="1075478" y="782507"/>
                  <a:pt x="1084040" y="782507"/>
                </a:cubicBezTo>
                <a:close/>
                <a:moveTo>
                  <a:pt x="1013594" y="782507"/>
                </a:moveTo>
                <a:cubicBezTo>
                  <a:pt x="1021186" y="782507"/>
                  <a:pt x="1028015" y="789337"/>
                  <a:pt x="1028015" y="796926"/>
                </a:cubicBezTo>
                <a:cubicBezTo>
                  <a:pt x="1028015" y="805275"/>
                  <a:pt x="1021186" y="812105"/>
                  <a:pt x="1013594" y="812105"/>
                </a:cubicBezTo>
                <a:cubicBezTo>
                  <a:pt x="1005249" y="812105"/>
                  <a:pt x="998417" y="805275"/>
                  <a:pt x="998417" y="796926"/>
                </a:cubicBezTo>
                <a:cubicBezTo>
                  <a:pt x="998417" y="789337"/>
                  <a:pt x="1005249" y="782507"/>
                  <a:pt x="1013594" y="782507"/>
                </a:cubicBezTo>
                <a:close/>
                <a:moveTo>
                  <a:pt x="941447" y="782507"/>
                </a:moveTo>
                <a:cubicBezTo>
                  <a:pt x="949468" y="782507"/>
                  <a:pt x="953844" y="789337"/>
                  <a:pt x="953844" y="796926"/>
                </a:cubicBezTo>
                <a:cubicBezTo>
                  <a:pt x="953844" y="805275"/>
                  <a:pt x="949468" y="812105"/>
                  <a:pt x="941447" y="812105"/>
                </a:cubicBezTo>
                <a:cubicBezTo>
                  <a:pt x="934155" y="812105"/>
                  <a:pt x="927591" y="805275"/>
                  <a:pt x="927591" y="796926"/>
                </a:cubicBezTo>
                <a:cubicBezTo>
                  <a:pt x="927591" y="789337"/>
                  <a:pt x="934155" y="782507"/>
                  <a:pt x="941447" y="782507"/>
                </a:cubicBezTo>
                <a:close/>
                <a:moveTo>
                  <a:pt x="870615" y="782507"/>
                </a:moveTo>
                <a:cubicBezTo>
                  <a:pt x="877179" y="782507"/>
                  <a:pt x="883013" y="789337"/>
                  <a:pt x="883013" y="796926"/>
                </a:cubicBezTo>
                <a:cubicBezTo>
                  <a:pt x="883013" y="805275"/>
                  <a:pt x="877179" y="812105"/>
                  <a:pt x="870615" y="812105"/>
                </a:cubicBezTo>
                <a:cubicBezTo>
                  <a:pt x="863322" y="812105"/>
                  <a:pt x="856759" y="805275"/>
                  <a:pt x="856759" y="796926"/>
                </a:cubicBezTo>
                <a:cubicBezTo>
                  <a:pt x="856759" y="789337"/>
                  <a:pt x="863322" y="782507"/>
                  <a:pt x="870615" y="782507"/>
                </a:cubicBezTo>
                <a:close/>
                <a:moveTo>
                  <a:pt x="799784" y="782507"/>
                </a:moveTo>
                <a:cubicBezTo>
                  <a:pt x="806349" y="782507"/>
                  <a:pt x="812183" y="789337"/>
                  <a:pt x="812183" y="796926"/>
                </a:cubicBezTo>
                <a:cubicBezTo>
                  <a:pt x="812183" y="805275"/>
                  <a:pt x="806349" y="812105"/>
                  <a:pt x="799784" y="812105"/>
                </a:cubicBezTo>
                <a:cubicBezTo>
                  <a:pt x="792492" y="812105"/>
                  <a:pt x="785929" y="805275"/>
                  <a:pt x="785929" y="796926"/>
                </a:cubicBezTo>
                <a:cubicBezTo>
                  <a:pt x="785929" y="789337"/>
                  <a:pt x="792492" y="782507"/>
                  <a:pt x="799784" y="782507"/>
                </a:cubicBezTo>
                <a:close/>
                <a:moveTo>
                  <a:pt x="724123" y="782507"/>
                </a:moveTo>
                <a:cubicBezTo>
                  <a:pt x="731417" y="782507"/>
                  <a:pt x="737981" y="789337"/>
                  <a:pt x="737981" y="796926"/>
                </a:cubicBezTo>
                <a:cubicBezTo>
                  <a:pt x="737981" y="805275"/>
                  <a:pt x="731417" y="812105"/>
                  <a:pt x="724123" y="812105"/>
                </a:cubicBezTo>
                <a:cubicBezTo>
                  <a:pt x="717559" y="812105"/>
                  <a:pt x="711726" y="805275"/>
                  <a:pt x="711726" y="796926"/>
                </a:cubicBezTo>
                <a:cubicBezTo>
                  <a:pt x="711726" y="789337"/>
                  <a:pt x="717559" y="782507"/>
                  <a:pt x="724123" y="782507"/>
                </a:cubicBezTo>
                <a:close/>
                <a:moveTo>
                  <a:pt x="653293" y="782507"/>
                </a:moveTo>
                <a:cubicBezTo>
                  <a:pt x="660586" y="782507"/>
                  <a:pt x="667149" y="789337"/>
                  <a:pt x="667149" y="796926"/>
                </a:cubicBezTo>
                <a:cubicBezTo>
                  <a:pt x="667149" y="805275"/>
                  <a:pt x="660586" y="812105"/>
                  <a:pt x="653293" y="812105"/>
                </a:cubicBezTo>
                <a:cubicBezTo>
                  <a:pt x="645271" y="812105"/>
                  <a:pt x="640896" y="805275"/>
                  <a:pt x="640896" y="796926"/>
                </a:cubicBezTo>
                <a:cubicBezTo>
                  <a:pt x="640896" y="789337"/>
                  <a:pt x="645271" y="782507"/>
                  <a:pt x="653293" y="782507"/>
                </a:cubicBezTo>
                <a:close/>
                <a:moveTo>
                  <a:pt x="584855" y="782507"/>
                </a:moveTo>
                <a:cubicBezTo>
                  <a:pt x="592639" y="782507"/>
                  <a:pt x="599643" y="789337"/>
                  <a:pt x="599643" y="796926"/>
                </a:cubicBezTo>
                <a:cubicBezTo>
                  <a:pt x="599643" y="805275"/>
                  <a:pt x="592639" y="812105"/>
                  <a:pt x="584855" y="812105"/>
                </a:cubicBezTo>
                <a:cubicBezTo>
                  <a:pt x="576293" y="812105"/>
                  <a:pt x="570066" y="805275"/>
                  <a:pt x="570066" y="796926"/>
                </a:cubicBezTo>
                <a:cubicBezTo>
                  <a:pt x="570066" y="789337"/>
                  <a:pt x="576293" y="782507"/>
                  <a:pt x="584855" y="782507"/>
                </a:cubicBezTo>
                <a:close/>
                <a:moveTo>
                  <a:pt x="513654" y="782507"/>
                </a:moveTo>
                <a:cubicBezTo>
                  <a:pt x="522003" y="782507"/>
                  <a:pt x="528831" y="789337"/>
                  <a:pt x="528831" y="796926"/>
                </a:cubicBezTo>
                <a:cubicBezTo>
                  <a:pt x="528831" y="805275"/>
                  <a:pt x="522003" y="812105"/>
                  <a:pt x="513654" y="812105"/>
                </a:cubicBezTo>
                <a:cubicBezTo>
                  <a:pt x="506065" y="812105"/>
                  <a:pt x="499235" y="805275"/>
                  <a:pt x="499235" y="796926"/>
                </a:cubicBezTo>
                <a:cubicBezTo>
                  <a:pt x="499235" y="789337"/>
                  <a:pt x="506065" y="782507"/>
                  <a:pt x="513654" y="782507"/>
                </a:cubicBezTo>
                <a:close/>
                <a:moveTo>
                  <a:pt x="439821" y="782507"/>
                </a:moveTo>
                <a:cubicBezTo>
                  <a:pt x="448384" y="782507"/>
                  <a:pt x="454611" y="789337"/>
                  <a:pt x="454611" y="796926"/>
                </a:cubicBezTo>
                <a:cubicBezTo>
                  <a:pt x="454611" y="805275"/>
                  <a:pt x="448384" y="812105"/>
                  <a:pt x="439821" y="812105"/>
                </a:cubicBezTo>
                <a:cubicBezTo>
                  <a:pt x="432038" y="812105"/>
                  <a:pt x="425033" y="805275"/>
                  <a:pt x="425033" y="796926"/>
                </a:cubicBezTo>
                <a:cubicBezTo>
                  <a:pt x="425033" y="789337"/>
                  <a:pt x="432038" y="782507"/>
                  <a:pt x="439821" y="782507"/>
                </a:cubicBezTo>
                <a:close/>
                <a:moveTo>
                  <a:pt x="4439056" y="711678"/>
                </a:moveTo>
                <a:cubicBezTo>
                  <a:pt x="4445619" y="711678"/>
                  <a:pt x="4451453" y="716783"/>
                  <a:pt x="4451453" y="724075"/>
                </a:cubicBezTo>
                <a:cubicBezTo>
                  <a:pt x="4451453" y="732097"/>
                  <a:pt x="4445619" y="737932"/>
                  <a:pt x="4439056" y="737932"/>
                </a:cubicBezTo>
                <a:cubicBezTo>
                  <a:pt x="4431763" y="737932"/>
                  <a:pt x="4425200" y="732097"/>
                  <a:pt x="4425200" y="724075"/>
                </a:cubicBezTo>
                <a:cubicBezTo>
                  <a:pt x="4425200" y="716783"/>
                  <a:pt x="4431763" y="711678"/>
                  <a:pt x="4439056" y="711678"/>
                </a:cubicBezTo>
                <a:close/>
                <a:moveTo>
                  <a:pt x="4366768" y="711678"/>
                </a:moveTo>
                <a:cubicBezTo>
                  <a:pt x="4374790" y="711678"/>
                  <a:pt x="4380624" y="716783"/>
                  <a:pt x="4380624" y="724075"/>
                </a:cubicBezTo>
                <a:cubicBezTo>
                  <a:pt x="4380624" y="732097"/>
                  <a:pt x="4374790" y="737932"/>
                  <a:pt x="4366768" y="737932"/>
                </a:cubicBezTo>
                <a:cubicBezTo>
                  <a:pt x="4360934" y="737932"/>
                  <a:pt x="4354371" y="732097"/>
                  <a:pt x="4354371" y="724075"/>
                </a:cubicBezTo>
                <a:cubicBezTo>
                  <a:pt x="4354371" y="716783"/>
                  <a:pt x="4360934" y="711678"/>
                  <a:pt x="4366768" y="711678"/>
                </a:cubicBezTo>
                <a:close/>
                <a:moveTo>
                  <a:pt x="4295937" y="711678"/>
                </a:moveTo>
                <a:cubicBezTo>
                  <a:pt x="4303959" y="711678"/>
                  <a:pt x="4309793" y="716783"/>
                  <a:pt x="4309793" y="724075"/>
                </a:cubicBezTo>
                <a:cubicBezTo>
                  <a:pt x="4309793" y="732097"/>
                  <a:pt x="4303959" y="737932"/>
                  <a:pt x="4295937" y="737932"/>
                </a:cubicBezTo>
                <a:cubicBezTo>
                  <a:pt x="4290103" y="737932"/>
                  <a:pt x="4283540" y="732097"/>
                  <a:pt x="4283540" y="724075"/>
                </a:cubicBezTo>
                <a:cubicBezTo>
                  <a:pt x="4283540" y="716783"/>
                  <a:pt x="4290103" y="711678"/>
                  <a:pt x="4295937" y="711678"/>
                </a:cubicBezTo>
                <a:close/>
                <a:moveTo>
                  <a:pt x="4225107" y="711678"/>
                </a:moveTo>
                <a:cubicBezTo>
                  <a:pt x="4233129" y="711678"/>
                  <a:pt x="4238963" y="718241"/>
                  <a:pt x="4238963" y="724075"/>
                </a:cubicBezTo>
                <a:cubicBezTo>
                  <a:pt x="4238963" y="732097"/>
                  <a:pt x="4233129" y="737932"/>
                  <a:pt x="4225107" y="737932"/>
                </a:cubicBezTo>
                <a:cubicBezTo>
                  <a:pt x="4217085" y="737932"/>
                  <a:pt x="4212710" y="732097"/>
                  <a:pt x="4212710" y="724075"/>
                </a:cubicBezTo>
                <a:cubicBezTo>
                  <a:pt x="4212710" y="718241"/>
                  <a:pt x="4217085" y="711678"/>
                  <a:pt x="4225107" y="711678"/>
                </a:cubicBezTo>
                <a:close/>
                <a:moveTo>
                  <a:pt x="4153295" y="711678"/>
                </a:moveTo>
                <a:cubicBezTo>
                  <a:pt x="4161078" y="711678"/>
                  <a:pt x="4168083" y="718241"/>
                  <a:pt x="4168083" y="724075"/>
                </a:cubicBezTo>
                <a:cubicBezTo>
                  <a:pt x="4168083" y="732097"/>
                  <a:pt x="4161078" y="737932"/>
                  <a:pt x="4153295" y="737932"/>
                </a:cubicBezTo>
                <a:cubicBezTo>
                  <a:pt x="4144733" y="737932"/>
                  <a:pt x="4138507" y="732097"/>
                  <a:pt x="4138507" y="724075"/>
                </a:cubicBezTo>
                <a:cubicBezTo>
                  <a:pt x="4138507" y="718241"/>
                  <a:pt x="4144733" y="711678"/>
                  <a:pt x="4153295" y="711678"/>
                </a:cubicBezTo>
                <a:close/>
                <a:moveTo>
                  <a:pt x="4082465" y="711678"/>
                </a:moveTo>
                <a:cubicBezTo>
                  <a:pt x="4090249" y="711678"/>
                  <a:pt x="4097254" y="718241"/>
                  <a:pt x="4097254" y="724075"/>
                </a:cubicBezTo>
                <a:cubicBezTo>
                  <a:pt x="4097254" y="732097"/>
                  <a:pt x="4090249" y="737932"/>
                  <a:pt x="4082465" y="737932"/>
                </a:cubicBezTo>
                <a:cubicBezTo>
                  <a:pt x="4073903" y="737932"/>
                  <a:pt x="4067676" y="732097"/>
                  <a:pt x="4067676" y="724075"/>
                </a:cubicBezTo>
                <a:cubicBezTo>
                  <a:pt x="4067676" y="718241"/>
                  <a:pt x="4073903" y="711678"/>
                  <a:pt x="4082465" y="711678"/>
                </a:cubicBezTo>
                <a:close/>
                <a:moveTo>
                  <a:pt x="4010703" y="711678"/>
                </a:moveTo>
                <a:cubicBezTo>
                  <a:pt x="4017996" y="711678"/>
                  <a:pt x="4023100" y="718241"/>
                  <a:pt x="4023100" y="724075"/>
                </a:cubicBezTo>
                <a:cubicBezTo>
                  <a:pt x="4023100" y="732097"/>
                  <a:pt x="4017996" y="737932"/>
                  <a:pt x="4010703" y="737932"/>
                </a:cubicBezTo>
                <a:cubicBezTo>
                  <a:pt x="4002681" y="737932"/>
                  <a:pt x="3996847" y="732097"/>
                  <a:pt x="3996847" y="724075"/>
                </a:cubicBezTo>
                <a:cubicBezTo>
                  <a:pt x="3996847" y="718241"/>
                  <a:pt x="4002681" y="711678"/>
                  <a:pt x="4010703" y="711678"/>
                </a:cubicBezTo>
                <a:close/>
                <a:moveTo>
                  <a:pt x="3939871" y="711678"/>
                </a:moveTo>
                <a:cubicBezTo>
                  <a:pt x="3946434" y="711678"/>
                  <a:pt x="3952268" y="718241"/>
                  <a:pt x="3952268" y="724075"/>
                </a:cubicBezTo>
                <a:cubicBezTo>
                  <a:pt x="3952268" y="732097"/>
                  <a:pt x="3946434" y="737932"/>
                  <a:pt x="3939871" y="737932"/>
                </a:cubicBezTo>
                <a:cubicBezTo>
                  <a:pt x="3932578" y="737932"/>
                  <a:pt x="3926015" y="732097"/>
                  <a:pt x="3926015" y="724075"/>
                </a:cubicBezTo>
                <a:cubicBezTo>
                  <a:pt x="3926015" y="718241"/>
                  <a:pt x="3932578" y="711678"/>
                  <a:pt x="3939871" y="711678"/>
                </a:cubicBezTo>
                <a:close/>
                <a:moveTo>
                  <a:pt x="3869042" y="711678"/>
                </a:moveTo>
                <a:cubicBezTo>
                  <a:pt x="3875605" y="711678"/>
                  <a:pt x="3881439" y="718241"/>
                  <a:pt x="3881439" y="724075"/>
                </a:cubicBezTo>
                <a:cubicBezTo>
                  <a:pt x="3881439" y="732097"/>
                  <a:pt x="3875605" y="737932"/>
                  <a:pt x="3869042" y="737932"/>
                </a:cubicBezTo>
                <a:cubicBezTo>
                  <a:pt x="3861749" y="737932"/>
                  <a:pt x="3855186" y="732097"/>
                  <a:pt x="3855186" y="724075"/>
                </a:cubicBezTo>
                <a:cubicBezTo>
                  <a:pt x="3855186" y="718241"/>
                  <a:pt x="3861749" y="711678"/>
                  <a:pt x="3869042" y="711678"/>
                </a:cubicBezTo>
                <a:close/>
                <a:moveTo>
                  <a:pt x="3796752" y="711678"/>
                </a:moveTo>
                <a:cubicBezTo>
                  <a:pt x="3804774" y="711678"/>
                  <a:pt x="3810608" y="718241"/>
                  <a:pt x="3810608" y="724075"/>
                </a:cubicBezTo>
                <a:cubicBezTo>
                  <a:pt x="3810608" y="732097"/>
                  <a:pt x="3804774" y="737932"/>
                  <a:pt x="3796752" y="737932"/>
                </a:cubicBezTo>
                <a:cubicBezTo>
                  <a:pt x="3790918" y="737932"/>
                  <a:pt x="3784355" y="732097"/>
                  <a:pt x="3784355" y="724075"/>
                </a:cubicBezTo>
                <a:cubicBezTo>
                  <a:pt x="3784355" y="718241"/>
                  <a:pt x="3790918" y="711678"/>
                  <a:pt x="3796752" y="711678"/>
                </a:cubicBezTo>
                <a:close/>
                <a:moveTo>
                  <a:pt x="3725922" y="711678"/>
                </a:moveTo>
                <a:cubicBezTo>
                  <a:pt x="3733944" y="711678"/>
                  <a:pt x="3739778" y="718241"/>
                  <a:pt x="3739778" y="724075"/>
                </a:cubicBezTo>
                <a:cubicBezTo>
                  <a:pt x="3739778" y="732097"/>
                  <a:pt x="3733944" y="737932"/>
                  <a:pt x="3725922" y="737932"/>
                </a:cubicBezTo>
                <a:cubicBezTo>
                  <a:pt x="3719359" y="737932"/>
                  <a:pt x="3713525" y="732097"/>
                  <a:pt x="3713525" y="724075"/>
                </a:cubicBezTo>
                <a:cubicBezTo>
                  <a:pt x="3713525" y="718241"/>
                  <a:pt x="3719359" y="711678"/>
                  <a:pt x="3725922" y="711678"/>
                </a:cubicBezTo>
                <a:close/>
                <a:moveTo>
                  <a:pt x="3655091" y="711678"/>
                </a:moveTo>
                <a:cubicBezTo>
                  <a:pt x="3662384" y="711678"/>
                  <a:pt x="3668947" y="718241"/>
                  <a:pt x="3668947" y="724075"/>
                </a:cubicBezTo>
                <a:cubicBezTo>
                  <a:pt x="3668947" y="732097"/>
                  <a:pt x="3662384" y="737932"/>
                  <a:pt x="3655091" y="737932"/>
                </a:cubicBezTo>
                <a:cubicBezTo>
                  <a:pt x="3647069" y="737932"/>
                  <a:pt x="3642694" y="732097"/>
                  <a:pt x="3642694" y="724075"/>
                </a:cubicBezTo>
                <a:cubicBezTo>
                  <a:pt x="3642694" y="718241"/>
                  <a:pt x="3647069" y="711678"/>
                  <a:pt x="3655091" y="711678"/>
                </a:cubicBezTo>
                <a:close/>
                <a:moveTo>
                  <a:pt x="3583280" y="711678"/>
                </a:moveTo>
                <a:cubicBezTo>
                  <a:pt x="3591064" y="711678"/>
                  <a:pt x="3598069" y="718241"/>
                  <a:pt x="3598069" y="724075"/>
                </a:cubicBezTo>
                <a:cubicBezTo>
                  <a:pt x="3598069" y="732097"/>
                  <a:pt x="3591064" y="737932"/>
                  <a:pt x="3583280" y="737932"/>
                </a:cubicBezTo>
                <a:cubicBezTo>
                  <a:pt x="3574718" y="737932"/>
                  <a:pt x="3568491" y="732097"/>
                  <a:pt x="3568491" y="724075"/>
                </a:cubicBezTo>
                <a:cubicBezTo>
                  <a:pt x="3568491" y="718241"/>
                  <a:pt x="3574718" y="711678"/>
                  <a:pt x="3583280" y="711678"/>
                </a:cubicBezTo>
                <a:close/>
                <a:moveTo>
                  <a:pt x="3512449" y="711678"/>
                </a:moveTo>
                <a:cubicBezTo>
                  <a:pt x="3520232" y="711678"/>
                  <a:pt x="3527237" y="718241"/>
                  <a:pt x="3527237" y="724075"/>
                </a:cubicBezTo>
                <a:cubicBezTo>
                  <a:pt x="3527237" y="732097"/>
                  <a:pt x="3520232" y="737932"/>
                  <a:pt x="3512449" y="737932"/>
                </a:cubicBezTo>
                <a:cubicBezTo>
                  <a:pt x="3503887" y="737932"/>
                  <a:pt x="3497661" y="732097"/>
                  <a:pt x="3497661" y="724075"/>
                </a:cubicBezTo>
                <a:cubicBezTo>
                  <a:pt x="3497661" y="718241"/>
                  <a:pt x="3503887" y="711678"/>
                  <a:pt x="3512449" y="711678"/>
                </a:cubicBezTo>
                <a:close/>
                <a:moveTo>
                  <a:pt x="3441619" y="711678"/>
                </a:moveTo>
                <a:cubicBezTo>
                  <a:pt x="3450181" y="711678"/>
                  <a:pt x="3456408" y="718241"/>
                  <a:pt x="3456408" y="724075"/>
                </a:cubicBezTo>
                <a:cubicBezTo>
                  <a:pt x="3456408" y="732097"/>
                  <a:pt x="3450181" y="737932"/>
                  <a:pt x="3441619" y="737932"/>
                </a:cubicBezTo>
                <a:cubicBezTo>
                  <a:pt x="3433835" y="737932"/>
                  <a:pt x="3426830" y="732097"/>
                  <a:pt x="3426830" y="724075"/>
                </a:cubicBezTo>
                <a:cubicBezTo>
                  <a:pt x="3426830" y="718241"/>
                  <a:pt x="3433835" y="711678"/>
                  <a:pt x="3441619" y="711678"/>
                </a:cubicBezTo>
                <a:close/>
                <a:moveTo>
                  <a:pt x="3369857" y="711678"/>
                </a:moveTo>
                <a:cubicBezTo>
                  <a:pt x="3377879" y="711678"/>
                  <a:pt x="3382254" y="718241"/>
                  <a:pt x="3382254" y="724075"/>
                </a:cubicBezTo>
                <a:cubicBezTo>
                  <a:pt x="3382254" y="732097"/>
                  <a:pt x="3377879" y="737932"/>
                  <a:pt x="3369857" y="737932"/>
                </a:cubicBezTo>
                <a:cubicBezTo>
                  <a:pt x="3362564" y="737932"/>
                  <a:pt x="3356001" y="732097"/>
                  <a:pt x="3356001" y="724075"/>
                </a:cubicBezTo>
                <a:cubicBezTo>
                  <a:pt x="3356001" y="718241"/>
                  <a:pt x="3362564" y="711678"/>
                  <a:pt x="3369857" y="711678"/>
                </a:cubicBezTo>
                <a:close/>
                <a:moveTo>
                  <a:pt x="3299086" y="711678"/>
                </a:moveTo>
                <a:cubicBezTo>
                  <a:pt x="3305651" y="711678"/>
                  <a:pt x="3311485" y="718241"/>
                  <a:pt x="3311485" y="724075"/>
                </a:cubicBezTo>
                <a:cubicBezTo>
                  <a:pt x="3311485" y="732097"/>
                  <a:pt x="3305651" y="737932"/>
                  <a:pt x="3299086" y="737932"/>
                </a:cubicBezTo>
                <a:cubicBezTo>
                  <a:pt x="3291794" y="737932"/>
                  <a:pt x="3285234" y="732097"/>
                  <a:pt x="3285234" y="724075"/>
                </a:cubicBezTo>
                <a:cubicBezTo>
                  <a:pt x="3285234" y="718241"/>
                  <a:pt x="3291794" y="711678"/>
                  <a:pt x="3299086" y="711678"/>
                </a:cubicBezTo>
                <a:close/>
                <a:moveTo>
                  <a:pt x="3228255" y="711678"/>
                </a:moveTo>
                <a:cubicBezTo>
                  <a:pt x="3234819" y="711678"/>
                  <a:pt x="3240654" y="718241"/>
                  <a:pt x="3240654" y="724075"/>
                </a:cubicBezTo>
                <a:cubicBezTo>
                  <a:pt x="3240654" y="732097"/>
                  <a:pt x="3234819" y="737932"/>
                  <a:pt x="3228255" y="737932"/>
                </a:cubicBezTo>
                <a:cubicBezTo>
                  <a:pt x="3220233" y="737932"/>
                  <a:pt x="3214398" y="732097"/>
                  <a:pt x="3214398" y="724075"/>
                </a:cubicBezTo>
                <a:cubicBezTo>
                  <a:pt x="3214398" y="718241"/>
                  <a:pt x="3220233" y="711678"/>
                  <a:pt x="3228255" y="711678"/>
                </a:cubicBezTo>
                <a:close/>
                <a:moveTo>
                  <a:pt x="3152594" y="711678"/>
                </a:moveTo>
                <a:cubicBezTo>
                  <a:pt x="3159889" y="711678"/>
                  <a:pt x="3166451" y="718241"/>
                  <a:pt x="3166451" y="724075"/>
                </a:cubicBezTo>
                <a:cubicBezTo>
                  <a:pt x="3166451" y="732097"/>
                  <a:pt x="3159889" y="737932"/>
                  <a:pt x="3152594" y="737932"/>
                </a:cubicBezTo>
                <a:cubicBezTo>
                  <a:pt x="3146031" y="737932"/>
                  <a:pt x="3140198" y="732097"/>
                  <a:pt x="3140198" y="725534"/>
                </a:cubicBezTo>
                <a:cubicBezTo>
                  <a:pt x="3140198" y="718241"/>
                  <a:pt x="3146031" y="711678"/>
                  <a:pt x="3152594" y="711678"/>
                </a:cubicBezTo>
                <a:close/>
                <a:moveTo>
                  <a:pt x="3081763" y="711678"/>
                </a:moveTo>
                <a:cubicBezTo>
                  <a:pt x="3089057" y="711678"/>
                  <a:pt x="3095617" y="718241"/>
                  <a:pt x="3095617" y="725534"/>
                </a:cubicBezTo>
                <a:cubicBezTo>
                  <a:pt x="3095617" y="732097"/>
                  <a:pt x="3089057" y="737932"/>
                  <a:pt x="3081763" y="737932"/>
                </a:cubicBezTo>
                <a:cubicBezTo>
                  <a:pt x="3073740" y="737932"/>
                  <a:pt x="3069364" y="732097"/>
                  <a:pt x="3069364" y="725534"/>
                </a:cubicBezTo>
                <a:cubicBezTo>
                  <a:pt x="3069364" y="718241"/>
                  <a:pt x="3073740" y="711678"/>
                  <a:pt x="3081763" y="711678"/>
                </a:cubicBezTo>
                <a:close/>
                <a:moveTo>
                  <a:pt x="3013707" y="711678"/>
                </a:moveTo>
                <a:cubicBezTo>
                  <a:pt x="3021299" y="711678"/>
                  <a:pt x="3028128" y="718241"/>
                  <a:pt x="3028128" y="725534"/>
                </a:cubicBezTo>
                <a:cubicBezTo>
                  <a:pt x="3028128" y="732097"/>
                  <a:pt x="3021299" y="737932"/>
                  <a:pt x="3013707" y="737932"/>
                </a:cubicBezTo>
                <a:cubicBezTo>
                  <a:pt x="3005360" y="737932"/>
                  <a:pt x="2998531" y="732097"/>
                  <a:pt x="2998531" y="725534"/>
                </a:cubicBezTo>
                <a:cubicBezTo>
                  <a:pt x="2998531" y="718241"/>
                  <a:pt x="3005360" y="711678"/>
                  <a:pt x="3013707" y="711678"/>
                </a:cubicBezTo>
                <a:close/>
                <a:moveTo>
                  <a:pt x="2942485" y="711678"/>
                </a:moveTo>
                <a:cubicBezTo>
                  <a:pt x="2951045" y="711678"/>
                  <a:pt x="2957280" y="718241"/>
                  <a:pt x="2957280" y="725534"/>
                </a:cubicBezTo>
                <a:cubicBezTo>
                  <a:pt x="2957280" y="732097"/>
                  <a:pt x="2951045" y="737932"/>
                  <a:pt x="2942485" y="737932"/>
                </a:cubicBezTo>
                <a:cubicBezTo>
                  <a:pt x="2934705" y="737932"/>
                  <a:pt x="2927700" y="732097"/>
                  <a:pt x="2927700" y="725534"/>
                </a:cubicBezTo>
                <a:cubicBezTo>
                  <a:pt x="2927700" y="718241"/>
                  <a:pt x="2934705" y="711678"/>
                  <a:pt x="2942485" y="711678"/>
                </a:cubicBezTo>
                <a:close/>
                <a:moveTo>
                  <a:pt x="1440620" y="711678"/>
                </a:moveTo>
                <a:cubicBezTo>
                  <a:pt x="1447182" y="711678"/>
                  <a:pt x="1453017" y="718683"/>
                  <a:pt x="1453017" y="726466"/>
                </a:cubicBezTo>
                <a:cubicBezTo>
                  <a:pt x="1453017" y="735028"/>
                  <a:pt x="1447182" y="741255"/>
                  <a:pt x="1440620" y="741255"/>
                </a:cubicBezTo>
                <a:cubicBezTo>
                  <a:pt x="1433328" y="741255"/>
                  <a:pt x="1426765" y="735028"/>
                  <a:pt x="1426765" y="726466"/>
                </a:cubicBezTo>
                <a:cubicBezTo>
                  <a:pt x="1426765" y="718683"/>
                  <a:pt x="1433328" y="711678"/>
                  <a:pt x="1440620" y="711678"/>
                </a:cubicBezTo>
                <a:close/>
                <a:moveTo>
                  <a:pt x="1368338" y="711678"/>
                </a:moveTo>
                <a:cubicBezTo>
                  <a:pt x="1376356" y="711678"/>
                  <a:pt x="1382190" y="718683"/>
                  <a:pt x="1382190" y="726466"/>
                </a:cubicBezTo>
                <a:cubicBezTo>
                  <a:pt x="1382190" y="735028"/>
                  <a:pt x="1376356" y="741255"/>
                  <a:pt x="1368338" y="741255"/>
                </a:cubicBezTo>
                <a:cubicBezTo>
                  <a:pt x="1362502" y="741255"/>
                  <a:pt x="1355939" y="735028"/>
                  <a:pt x="1355939" y="726466"/>
                </a:cubicBezTo>
                <a:cubicBezTo>
                  <a:pt x="1355939" y="718683"/>
                  <a:pt x="1362502" y="711678"/>
                  <a:pt x="1368338" y="711678"/>
                </a:cubicBezTo>
                <a:close/>
                <a:moveTo>
                  <a:pt x="1297509" y="711678"/>
                </a:moveTo>
                <a:cubicBezTo>
                  <a:pt x="1305532" y="711678"/>
                  <a:pt x="1311366" y="718683"/>
                  <a:pt x="1311366" y="726466"/>
                </a:cubicBezTo>
                <a:cubicBezTo>
                  <a:pt x="1311366" y="735028"/>
                  <a:pt x="1305532" y="741255"/>
                  <a:pt x="1297509" y="741255"/>
                </a:cubicBezTo>
                <a:cubicBezTo>
                  <a:pt x="1291675" y="741255"/>
                  <a:pt x="1285113" y="735028"/>
                  <a:pt x="1285113" y="726466"/>
                </a:cubicBezTo>
                <a:cubicBezTo>
                  <a:pt x="1285113" y="718683"/>
                  <a:pt x="1291675" y="711678"/>
                  <a:pt x="1297509" y="711678"/>
                </a:cubicBezTo>
                <a:close/>
                <a:moveTo>
                  <a:pt x="1226678" y="711678"/>
                </a:moveTo>
                <a:cubicBezTo>
                  <a:pt x="1233970" y="711678"/>
                  <a:pt x="1240535" y="718683"/>
                  <a:pt x="1240535" y="726466"/>
                </a:cubicBezTo>
                <a:cubicBezTo>
                  <a:pt x="1240535" y="735028"/>
                  <a:pt x="1233970" y="741255"/>
                  <a:pt x="1226678" y="741255"/>
                </a:cubicBezTo>
                <a:cubicBezTo>
                  <a:pt x="1218663" y="741255"/>
                  <a:pt x="1214288" y="735028"/>
                  <a:pt x="1214288" y="726466"/>
                </a:cubicBezTo>
                <a:cubicBezTo>
                  <a:pt x="1214288" y="718683"/>
                  <a:pt x="1218663" y="711678"/>
                  <a:pt x="1226678" y="711678"/>
                </a:cubicBezTo>
                <a:close/>
                <a:moveTo>
                  <a:pt x="1154874" y="711678"/>
                </a:moveTo>
                <a:cubicBezTo>
                  <a:pt x="1162657" y="711678"/>
                  <a:pt x="1169663" y="718683"/>
                  <a:pt x="1169663" y="726466"/>
                </a:cubicBezTo>
                <a:cubicBezTo>
                  <a:pt x="1169663" y="735028"/>
                  <a:pt x="1162657" y="741255"/>
                  <a:pt x="1154874" y="741255"/>
                </a:cubicBezTo>
                <a:cubicBezTo>
                  <a:pt x="1146312" y="741255"/>
                  <a:pt x="1140086" y="735028"/>
                  <a:pt x="1140086" y="726466"/>
                </a:cubicBezTo>
                <a:cubicBezTo>
                  <a:pt x="1140086" y="718683"/>
                  <a:pt x="1146312" y="711678"/>
                  <a:pt x="1154874" y="711678"/>
                </a:cubicBezTo>
                <a:close/>
                <a:moveTo>
                  <a:pt x="1084045" y="711678"/>
                </a:moveTo>
                <a:cubicBezTo>
                  <a:pt x="1091827" y="711678"/>
                  <a:pt x="1098833" y="718683"/>
                  <a:pt x="1098833" y="726466"/>
                </a:cubicBezTo>
                <a:cubicBezTo>
                  <a:pt x="1098833" y="735028"/>
                  <a:pt x="1091827" y="741255"/>
                  <a:pt x="1084045" y="741255"/>
                </a:cubicBezTo>
                <a:cubicBezTo>
                  <a:pt x="1075483" y="741255"/>
                  <a:pt x="1069255" y="735028"/>
                  <a:pt x="1069255" y="726466"/>
                </a:cubicBezTo>
                <a:cubicBezTo>
                  <a:pt x="1069255" y="718683"/>
                  <a:pt x="1075483" y="711678"/>
                  <a:pt x="1084045" y="711678"/>
                </a:cubicBezTo>
                <a:close/>
                <a:moveTo>
                  <a:pt x="1013599" y="711678"/>
                </a:moveTo>
                <a:cubicBezTo>
                  <a:pt x="1021190" y="711678"/>
                  <a:pt x="1028021" y="718683"/>
                  <a:pt x="1028021" y="726466"/>
                </a:cubicBezTo>
                <a:cubicBezTo>
                  <a:pt x="1028021" y="735028"/>
                  <a:pt x="1021190" y="741255"/>
                  <a:pt x="1013599" y="741255"/>
                </a:cubicBezTo>
                <a:cubicBezTo>
                  <a:pt x="1005254" y="741255"/>
                  <a:pt x="998423" y="735028"/>
                  <a:pt x="998423" y="726466"/>
                </a:cubicBezTo>
                <a:cubicBezTo>
                  <a:pt x="998423" y="718683"/>
                  <a:pt x="1005254" y="711678"/>
                  <a:pt x="1013599" y="711678"/>
                </a:cubicBezTo>
                <a:close/>
                <a:moveTo>
                  <a:pt x="941452" y="711678"/>
                </a:moveTo>
                <a:cubicBezTo>
                  <a:pt x="949474" y="711678"/>
                  <a:pt x="953848" y="718683"/>
                  <a:pt x="953848" y="726466"/>
                </a:cubicBezTo>
                <a:cubicBezTo>
                  <a:pt x="953848" y="735028"/>
                  <a:pt x="949474" y="741255"/>
                  <a:pt x="941452" y="741255"/>
                </a:cubicBezTo>
                <a:cubicBezTo>
                  <a:pt x="934159" y="741255"/>
                  <a:pt x="927596" y="735028"/>
                  <a:pt x="927596" y="726466"/>
                </a:cubicBezTo>
                <a:cubicBezTo>
                  <a:pt x="927596" y="718683"/>
                  <a:pt x="934159" y="711678"/>
                  <a:pt x="941452" y="711678"/>
                </a:cubicBezTo>
                <a:close/>
                <a:moveTo>
                  <a:pt x="870620" y="711678"/>
                </a:moveTo>
                <a:cubicBezTo>
                  <a:pt x="877183" y="711678"/>
                  <a:pt x="883018" y="718683"/>
                  <a:pt x="883018" y="726466"/>
                </a:cubicBezTo>
                <a:cubicBezTo>
                  <a:pt x="883018" y="735028"/>
                  <a:pt x="877183" y="741255"/>
                  <a:pt x="870620" y="741255"/>
                </a:cubicBezTo>
                <a:cubicBezTo>
                  <a:pt x="863327" y="741255"/>
                  <a:pt x="856764" y="735028"/>
                  <a:pt x="856764" y="726466"/>
                </a:cubicBezTo>
                <a:cubicBezTo>
                  <a:pt x="856764" y="718683"/>
                  <a:pt x="863327" y="711678"/>
                  <a:pt x="870620" y="711678"/>
                </a:cubicBezTo>
                <a:close/>
                <a:moveTo>
                  <a:pt x="798331" y="711678"/>
                </a:moveTo>
                <a:cubicBezTo>
                  <a:pt x="806354" y="711678"/>
                  <a:pt x="812189" y="718683"/>
                  <a:pt x="812189" y="726466"/>
                </a:cubicBezTo>
                <a:cubicBezTo>
                  <a:pt x="812189" y="735028"/>
                  <a:pt x="806354" y="741255"/>
                  <a:pt x="798331" y="741255"/>
                </a:cubicBezTo>
                <a:cubicBezTo>
                  <a:pt x="792497" y="741255"/>
                  <a:pt x="785934" y="735028"/>
                  <a:pt x="785934" y="726466"/>
                </a:cubicBezTo>
                <a:cubicBezTo>
                  <a:pt x="785934" y="718683"/>
                  <a:pt x="792497" y="711678"/>
                  <a:pt x="798331" y="711678"/>
                </a:cubicBezTo>
                <a:close/>
                <a:moveTo>
                  <a:pt x="724129" y="711678"/>
                </a:moveTo>
                <a:cubicBezTo>
                  <a:pt x="731422" y="711678"/>
                  <a:pt x="737986" y="718683"/>
                  <a:pt x="737986" y="726466"/>
                </a:cubicBezTo>
                <a:cubicBezTo>
                  <a:pt x="737986" y="735028"/>
                  <a:pt x="731422" y="741255"/>
                  <a:pt x="724129" y="741255"/>
                </a:cubicBezTo>
                <a:cubicBezTo>
                  <a:pt x="717565" y="741255"/>
                  <a:pt x="711732" y="735028"/>
                  <a:pt x="711732" y="726466"/>
                </a:cubicBezTo>
                <a:cubicBezTo>
                  <a:pt x="711732" y="718683"/>
                  <a:pt x="717565" y="711678"/>
                  <a:pt x="724129" y="711678"/>
                </a:cubicBezTo>
                <a:close/>
                <a:moveTo>
                  <a:pt x="653298" y="711678"/>
                </a:moveTo>
                <a:cubicBezTo>
                  <a:pt x="660590" y="711678"/>
                  <a:pt x="667154" y="718683"/>
                  <a:pt x="667154" y="726466"/>
                </a:cubicBezTo>
                <a:cubicBezTo>
                  <a:pt x="667154" y="735028"/>
                  <a:pt x="660590" y="741255"/>
                  <a:pt x="653298" y="741255"/>
                </a:cubicBezTo>
                <a:cubicBezTo>
                  <a:pt x="645277" y="741255"/>
                  <a:pt x="640901" y="735028"/>
                  <a:pt x="640901" y="726466"/>
                </a:cubicBezTo>
                <a:cubicBezTo>
                  <a:pt x="640901" y="718683"/>
                  <a:pt x="645277" y="711678"/>
                  <a:pt x="653298" y="711678"/>
                </a:cubicBezTo>
                <a:close/>
                <a:moveTo>
                  <a:pt x="584861" y="711678"/>
                </a:moveTo>
                <a:cubicBezTo>
                  <a:pt x="592644" y="711678"/>
                  <a:pt x="599648" y="718683"/>
                  <a:pt x="599648" y="726466"/>
                </a:cubicBezTo>
                <a:cubicBezTo>
                  <a:pt x="599648" y="735028"/>
                  <a:pt x="592644" y="741255"/>
                  <a:pt x="584861" y="741255"/>
                </a:cubicBezTo>
                <a:cubicBezTo>
                  <a:pt x="576299" y="741255"/>
                  <a:pt x="570071" y="735028"/>
                  <a:pt x="570071" y="726466"/>
                </a:cubicBezTo>
                <a:cubicBezTo>
                  <a:pt x="570071" y="718683"/>
                  <a:pt x="576299" y="711678"/>
                  <a:pt x="584861" y="711678"/>
                </a:cubicBezTo>
                <a:close/>
                <a:moveTo>
                  <a:pt x="513660" y="711678"/>
                </a:moveTo>
                <a:cubicBezTo>
                  <a:pt x="522008" y="711678"/>
                  <a:pt x="528837" y="718683"/>
                  <a:pt x="528837" y="726466"/>
                </a:cubicBezTo>
                <a:cubicBezTo>
                  <a:pt x="528837" y="735028"/>
                  <a:pt x="522008" y="741255"/>
                  <a:pt x="513660" y="741255"/>
                </a:cubicBezTo>
                <a:cubicBezTo>
                  <a:pt x="506071" y="741255"/>
                  <a:pt x="499241" y="735028"/>
                  <a:pt x="499241" y="726466"/>
                </a:cubicBezTo>
                <a:cubicBezTo>
                  <a:pt x="499241" y="718683"/>
                  <a:pt x="506071" y="711678"/>
                  <a:pt x="513660" y="711678"/>
                </a:cubicBezTo>
                <a:close/>
                <a:moveTo>
                  <a:pt x="439826" y="711678"/>
                </a:moveTo>
                <a:cubicBezTo>
                  <a:pt x="448389" y="711678"/>
                  <a:pt x="454616" y="718683"/>
                  <a:pt x="454616" y="726466"/>
                </a:cubicBezTo>
                <a:cubicBezTo>
                  <a:pt x="454616" y="735028"/>
                  <a:pt x="448389" y="741255"/>
                  <a:pt x="439826" y="741255"/>
                </a:cubicBezTo>
                <a:cubicBezTo>
                  <a:pt x="432043" y="741255"/>
                  <a:pt x="425038" y="735028"/>
                  <a:pt x="425038" y="726466"/>
                </a:cubicBezTo>
                <a:cubicBezTo>
                  <a:pt x="425038" y="718683"/>
                  <a:pt x="432043" y="711678"/>
                  <a:pt x="439826" y="711678"/>
                </a:cubicBezTo>
                <a:close/>
                <a:moveTo>
                  <a:pt x="368064" y="711678"/>
                </a:moveTo>
                <a:cubicBezTo>
                  <a:pt x="376085" y="711678"/>
                  <a:pt x="380462" y="718683"/>
                  <a:pt x="380462" y="726466"/>
                </a:cubicBezTo>
                <a:cubicBezTo>
                  <a:pt x="380462" y="735028"/>
                  <a:pt x="376085" y="741255"/>
                  <a:pt x="368064" y="741255"/>
                </a:cubicBezTo>
                <a:cubicBezTo>
                  <a:pt x="360772" y="741255"/>
                  <a:pt x="354207" y="735028"/>
                  <a:pt x="354207" y="726466"/>
                </a:cubicBezTo>
                <a:cubicBezTo>
                  <a:pt x="354207" y="718683"/>
                  <a:pt x="360772" y="711678"/>
                  <a:pt x="368064" y="711678"/>
                </a:cubicBezTo>
                <a:close/>
                <a:moveTo>
                  <a:pt x="297232" y="711678"/>
                </a:moveTo>
                <a:cubicBezTo>
                  <a:pt x="303795" y="711678"/>
                  <a:pt x="309630" y="718683"/>
                  <a:pt x="309630" y="726466"/>
                </a:cubicBezTo>
                <a:cubicBezTo>
                  <a:pt x="309630" y="735028"/>
                  <a:pt x="303795" y="741255"/>
                  <a:pt x="297232" y="741255"/>
                </a:cubicBezTo>
                <a:cubicBezTo>
                  <a:pt x="289939" y="741255"/>
                  <a:pt x="283376" y="735028"/>
                  <a:pt x="283376" y="726466"/>
                </a:cubicBezTo>
                <a:cubicBezTo>
                  <a:pt x="283376" y="718683"/>
                  <a:pt x="289939" y="711678"/>
                  <a:pt x="297232" y="711678"/>
                </a:cubicBezTo>
                <a:close/>
                <a:moveTo>
                  <a:pt x="226403" y="711678"/>
                </a:moveTo>
                <a:cubicBezTo>
                  <a:pt x="232238" y="711678"/>
                  <a:pt x="238801" y="718683"/>
                  <a:pt x="238801" y="726466"/>
                </a:cubicBezTo>
                <a:cubicBezTo>
                  <a:pt x="238801" y="735028"/>
                  <a:pt x="232238" y="741255"/>
                  <a:pt x="226403" y="741255"/>
                </a:cubicBezTo>
                <a:cubicBezTo>
                  <a:pt x="218381" y="741255"/>
                  <a:pt x="212548" y="735028"/>
                  <a:pt x="212548" y="726466"/>
                </a:cubicBezTo>
                <a:cubicBezTo>
                  <a:pt x="212548" y="718683"/>
                  <a:pt x="218381" y="711678"/>
                  <a:pt x="226403" y="711678"/>
                </a:cubicBezTo>
                <a:close/>
                <a:moveTo>
                  <a:pt x="154106" y="711678"/>
                </a:moveTo>
                <a:cubicBezTo>
                  <a:pt x="161398" y="711678"/>
                  <a:pt x="167962" y="718683"/>
                  <a:pt x="167962" y="726466"/>
                </a:cubicBezTo>
                <a:cubicBezTo>
                  <a:pt x="167962" y="735028"/>
                  <a:pt x="161398" y="741255"/>
                  <a:pt x="154106" y="741255"/>
                </a:cubicBezTo>
                <a:cubicBezTo>
                  <a:pt x="147542" y="741255"/>
                  <a:pt x="141708" y="735028"/>
                  <a:pt x="141708" y="726466"/>
                </a:cubicBezTo>
                <a:cubicBezTo>
                  <a:pt x="141708" y="718683"/>
                  <a:pt x="147542" y="711678"/>
                  <a:pt x="154106" y="711678"/>
                </a:cubicBezTo>
                <a:close/>
                <a:moveTo>
                  <a:pt x="4227498" y="640846"/>
                </a:moveTo>
                <a:cubicBezTo>
                  <a:pt x="4236060" y="640846"/>
                  <a:pt x="4242286" y="645221"/>
                  <a:pt x="4242286" y="653243"/>
                </a:cubicBezTo>
                <a:cubicBezTo>
                  <a:pt x="4242286" y="661265"/>
                  <a:pt x="4236060" y="667100"/>
                  <a:pt x="4227498" y="667100"/>
                </a:cubicBezTo>
                <a:cubicBezTo>
                  <a:pt x="4218936" y="667100"/>
                  <a:pt x="4212710" y="661265"/>
                  <a:pt x="4212710" y="653243"/>
                </a:cubicBezTo>
                <a:cubicBezTo>
                  <a:pt x="4212710" y="645221"/>
                  <a:pt x="4218936" y="640846"/>
                  <a:pt x="4227498" y="640846"/>
                </a:cubicBezTo>
                <a:close/>
                <a:moveTo>
                  <a:pt x="4153295" y="640846"/>
                </a:moveTo>
                <a:cubicBezTo>
                  <a:pt x="4161078" y="640846"/>
                  <a:pt x="4168083" y="645221"/>
                  <a:pt x="4168083" y="653243"/>
                </a:cubicBezTo>
                <a:cubicBezTo>
                  <a:pt x="4168083" y="661265"/>
                  <a:pt x="4161078" y="667100"/>
                  <a:pt x="4153295" y="667100"/>
                </a:cubicBezTo>
                <a:cubicBezTo>
                  <a:pt x="4144733" y="667100"/>
                  <a:pt x="4138507" y="661265"/>
                  <a:pt x="4138507" y="653243"/>
                </a:cubicBezTo>
                <a:cubicBezTo>
                  <a:pt x="4138507" y="645221"/>
                  <a:pt x="4144733" y="640846"/>
                  <a:pt x="4153295" y="640846"/>
                </a:cubicBezTo>
                <a:close/>
                <a:moveTo>
                  <a:pt x="4082465" y="640846"/>
                </a:moveTo>
                <a:cubicBezTo>
                  <a:pt x="4090249" y="640846"/>
                  <a:pt x="4097254" y="645221"/>
                  <a:pt x="4097254" y="653243"/>
                </a:cubicBezTo>
                <a:cubicBezTo>
                  <a:pt x="4097254" y="661265"/>
                  <a:pt x="4090249" y="667100"/>
                  <a:pt x="4082465" y="667100"/>
                </a:cubicBezTo>
                <a:cubicBezTo>
                  <a:pt x="4073903" y="667100"/>
                  <a:pt x="4067676" y="661265"/>
                  <a:pt x="4067676" y="653243"/>
                </a:cubicBezTo>
                <a:cubicBezTo>
                  <a:pt x="4067676" y="645221"/>
                  <a:pt x="4073903" y="640846"/>
                  <a:pt x="4082465" y="640846"/>
                </a:cubicBezTo>
                <a:close/>
                <a:moveTo>
                  <a:pt x="4010703" y="640846"/>
                </a:moveTo>
                <a:cubicBezTo>
                  <a:pt x="4017996" y="640846"/>
                  <a:pt x="4023100" y="645221"/>
                  <a:pt x="4023100" y="653243"/>
                </a:cubicBezTo>
                <a:cubicBezTo>
                  <a:pt x="4023100" y="661265"/>
                  <a:pt x="4017996" y="667100"/>
                  <a:pt x="4010703" y="667100"/>
                </a:cubicBezTo>
                <a:cubicBezTo>
                  <a:pt x="4002681" y="667100"/>
                  <a:pt x="3996847" y="661265"/>
                  <a:pt x="3996847" y="653243"/>
                </a:cubicBezTo>
                <a:cubicBezTo>
                  <a:pt x="3996847" y="645221"/>
                  <a:pt x="4002681" y="640846"/>
                  <a:pt x="4010703" y="640846"/>
                </a:cubicBezTo>
                <a:close/>
                <a:moveTo>
                  <a:pt x="3939871" y="640846"/>
                </a:moveTo>
                <a:cubicBezTo>
                  <a:pt x="3946434" y="640846"/>
                  <a:pt x="3952268" y="645221"/>
                  <a:pt x="3952268" y="653243"/>
                </a:cubicBezTo>
                <a:cubicBezTo>
                  <a:pt x="3952268" y="661265"/>
                  <a:pt x="3946434" y="667100"/>
                  <a:pt x="3939871" y="667100"/>
                </a:cubicBezTo>
                <a:cubicBezTo>
                  <a:pt x="3932578" y="667100"/>
                  <a:pt x="3926015" y="661265"/>
                  <a:pt x="3926015" y="653243"/>
                </a:cubicBezTo>
                <a:cubicBezTo>
                  <a:pt x="3926015" y="645221"/>
                  <a:pt x="3932578" y="640846"/>
                  <a:pt x="3939871" y="640846"/>
                </a:cubicBezTo>
                <a:close/>
                <a:moveTo>
                  <a:pt x="3869042" y="640846"/>
                </a:moveTo>
                <a:cubicBezTo>
                  <a:pt x="3875605" y="640846"/>
                  <a:pt x="3881439" y="645221"/>
                  <a:pt x="3881439" y="653243"/>
                </a:cubicBezTo>
                <a:cubicBezTo>
                  <a:pt x="3881439" y="661265"/>
                  <a:pt x="3875605" y="667100"/>
                  <a:pt x="3869042" y="667100"/>
                </a:cubicBezTo>
                <a:cubicBezTo>
                  <a:pt x="3861749" y="667100"/>
                  <a:pt x="3855186" y="661265"/>
                  <a:pt x="3855186" y="653243"/>
                </a:cubicBezTo>
                <a:cubicBezTo>
                  <a:pt x="3855186" y="645221"/>
                  <a:pt x="3861749" y="640846"/>
                  <a:pt x="3869042" y="640846"/>
                </a:cubicBezTo>
                <a:close/>
                <a:moveTo>
                  <a:pt x="3796752" y="640846"/>
                </a:moveTo>
                <a:cubicBezTo>
                  <a:pt x="3804774" y="640846"/>
                  <a:pt x="3810608" y="645221"/>
                  <a:pt x="3810608" y="653243"/>
                </a:cubicBezTo>
                <a:cubicBezTo>
                  <a:pt x="3810608" y="661265"/>
                  <a:pt x="3804774" y="667100"/>
                  <a:pt x="3796752" y="667100"/>
                </a:cubicBezTo>
                <a:cubicBezTo>
                  <a:pt x="3790918" y="667100"/>
                  <a:pt x="3784355" y="661265"/>
                  <a:pt x="3784355" y="653243"/>
                </a:cubicBezTo>
                <a:cubicBezTo>
                  <a:pt x="3784355" y="645221"/>
                  <a:pt x="3790918" y="640846"/>
                  <a:pt x="3796752" y="640846"/>
                </a:cubicBezTo>
                <a:close/>
                <a:moveTo>
                  <a:pt x="3725922" y="640846"/>
                </a:moveTo>
                <a:cubicBezTo>
                  <a:pt x="3733944" y="640846"/>
                  <a:pt x="3739778" y="645221"/>
                  <a:pt x="3739778" y="653243"/>
                </a:cubicBezTo>
                <a:cubicBezTo>
                  <a:pt x="3739778" y="661265"/>
                  <a:pt x="3733944" y="667100"/>
                  <a:pt x="3725922" y="667100"/>
                </a:cubicBezTo>
                <a:cubicBezTo>
                  <a:pt x="3719359" y="667100"/>
                  <a:pt x="3713525" y="661265"/>
                  <a:pt x="3713525" y="653243"/>
                </a:cubicBezTo>
                <a:cubicBezTo>
                  <a:pt x="3713525" y="645221"/>
                  <a:pt x="3719359" y="640846"/>
                  <a:pt x="3725922" y="640846"/>
                </a:cubicBezTo>
                <a:close/>
                <a:moveTo>
                  <a:pt x="3655091" y="640846"/>
                </a:moveTo>
                <a:cubicBezTo>
                  <a:pt x="3662384" y="640846"/>
                  <a:pt x="3668947" y="647409"/>
                  <a:pt x="3668947" y="653243"/>
                </a:cubicBezTo>
                <a:cubicBezTo>
                  <a:pt x="3668947" y="661265"/>
                  <a:pt x="3662384" y="667100"/>
                  <a:pt x="3655091" y="667100"/>
                </a:cubicBezTo>
                <a:cubicBezTo>
                  <a:pt x="3647069" y="667100"/>
                  <a:pt x="3642694" y="661265"/>
                  <a:pt x="3642694" y="653243"/>
                </a:cubicBezTo>
                <a:cubicBezTo>
                  <a:pt x="3642694" y="647409"/>
                  <a:pt x="3647069" y="640846"/>
                  <a:pt x="3655091" y="640846"/>
                </a:cubicBezTo>
                <a:close/>
                <a:moveTo>
                  <a:pt x="3583280" y="640846"/>
                </a:moveTo>
                <a:cubicBezTo>
                  <a:pt x="3591064" y="640846"/>
                  <a:pt x="3598069" y="647409"/>
                  <a:pt x="3598069" y="653243"/>
                </a:cubicBezTo>
                <a:cubicBezTo>
                  <a:pt x="3598069" y="661265"/>
                  <a:pt x="3591064" y="667100"/>
                  <a:pt x="3583280" y="667100"/>
                </a:cubicBezTo>
                <a:cubicBezTo>
                  <a:pt x="3574718" y="667100"/>
                  <a:pt x="3568491" y="661265"/>
                  <a:pt x="3568491" y="653243"/>
                </a:cubicBezTo>
                <a:cubicBezTo>
                  <a:pt x="3568491" y="647409"/>
                  <a:pt x="3574718" y="640846"/>
                  <a:pt x="3583280" y="640846"/>
                </a:cubicBezTo>
                <a:close/>
                <a:moveTo>
                  <a:pt x="3512449" y="640846"/>
                </a:moveTo>
                <a:cubicBezTo>
                  <a:pt x="3520232" y="640846"/>
                  <a:pt x="3527237" y="647409"/>
                  <a:pt x="3527237" y="653243"/>
                </a:cubicBezTo>
                <a:cubicBezTo>
                  <a:pt x="3527237" y="661265"/>
                  <a:pt x="3520232" y="667100"/>
                  <a:pt x="3512449" y="667100"/>
                </a:cubicBezTo>
                <a:cubicBezTo>
                  <a:pt x="3503887" y="667100"/>
                  <a:pt x="3497661" y="661265"/>
                  <a:pt x="3497661" y="653243"/>
                </a:cubicBezTo>
                <a:cubicBezTo>
                  <a:pt x="3497661" y="647409"/>
                  <a:pt x="3503887" y="640846"/>
                  <a:pt x="3512449" y="640846"/>
                </a:cubicBezTo>
                <a:close/>
                <a:moveTo>
                  <a:pt x="3441619" y="640846"/>
                </a:moveTo>
                <a:cubicBezTo>
                  <a:pt x="3450181" y="640846"/>
                  <a:pt x="3456408" y="647409"/>
                  <a:pt x="3456408" y="653243"/>
                </a:cubicBezTo>
                <a:cubicBezTo>
                  <a:pt x="3456408" y="661265"/>
                  <a:pt x="3450181" y="667100"/>
                  <a:pt x="3441619" y="667100"/>
                </a:cubicBezTo>
                <a:cubicBezTo>
                  <a:pt x="3433835" y="667100"/>
                  <a:pt x="3426830" y="661265"/>
                  <a:pt x="3426830" y="653243"/>
                </a:cubicBezTo>
                <a:cubicBezTo>
                  <a:pt x="3426830" y="647409"/>
                  <a:pt x="3433835" y="640846"/>
                  <a:pt x="3441619" y="640846"/>
                </a:cubicBezTo>
                <a:close/>
                <a:moveTo>
                  <a:pt x="3369857" y="640846"/>
                </a:moveTo>
                <a:cubicBezTo>
                  <a:pt x="3377879" y="640846"/>
                  <a:pt x="3382254" y="647409"/>
                  <a:pt x="3382254" y="653243"/>
                </a:cubicBezTo>
                <a:cubicBezTo>
                  <a:pt x="3382254" y="661265"/>
                  <a:pt x="3377879" y="667100"/>
                  <a:pt x="3369857" y="667100"/>
                </a:cubicBezTo>
                <a:cubicBezTo>
                  <a:pt x="3362564" y="667100"/>
                  <a:pt x="3356001" y="661265"/>
                  <a:pt x="3356001" y="653243"/>
                </a:cubicBezTo>
                <a:cubicBezTo>
                  <a:pt x="3356001" y="647409"/>
                  <a:pt x="3362564" y="640846"/>
                  <a:pt x="3369857" y="640846"/>
                </a:cubicBezTo>
                <a:close/>
                <a:moveTo>
                  <a:pt x="3299091" y="640846"/>
                </a:moveTo>
                <a:cubicBezTo>
                  <a:pt x="3305653" y="640846"/>
                  <a:pt x="3311488" y="647409"/>
                  <a:pt x="3311488" y="653243"/>
                </a:cubicBezTo>
                <a:cubicBezTo>
                  <a:pt x="3311488" y="661265"/>
                  <a:pt x="3305653" y="667100"/>
                  <a:pt x="3299091" y="667100"/>
                </a:cubicBezTo>
                <a:cubicBezTo>
                  <a:pt x="3291796" y="667100"/>
                  <a:pt x="3285237" y="661265"/>
                  <a:pt x="3285237" y="653243"/>
                </a:cubicBezTo>
                <a:cubicBezTo>
                  <a:pt x="3285237" y="647409"/>
                  <a:pt x="3291796" y="640846"/>
                  <a:pt x="3299091" y="640846"/>
                </a:cubicBezTo>
                <a:close/>
                <a:moveTo>
                  <a:pt x="3228258" y="640846"/>
                </a:moveTo>
                <a:cubicBezTo>
                  <a:pt x="3234823" y="640846"/>
                  <a:pt x="3240658" y="647409"/>
                  <a:pt x="3240658" y="653243"/>
                </a:cubicBezTo>
                <a:cubicBezTo>
                  <a:pt x="3240658" y="661265"/>
                  <a:pt x="3234823" y="667100"/>
                  <a:pt x="3228258" y="667100"/>
                </a:cubicBezTo>
                <a:cubicBezTo>
                  <a:pt x="3220236" y="667100"/>
                  <a:pt x="3214403" y="661265"/>
                  <a:pt x="3214403" y="653243"/>
                </a:cubicBezTo>
                <a:cubicBezTo>
                  <a:pt x="3214403" y="647409"/>
                  <a:pt x="3220236" y="640846"/>
                  <a:pt x="3228258" y="640846"/>
                </a:cubicBezTo>
                <a:close/>
                <a:moveTo>
                  <a:pt x="3152597" y="640846"/>
                </a:moveTo>
                <a:cubicBezTo>
                  <a:pt x="3159891" y="640846"/>
                  <a:pt x="3166454" y="647409"/>
                  <a:pt x="3166454" y="653243"/>
                </a:cubicBezTo>
                <a:cubicBezTo>
                  <a:pt x="3166454" y="661265"/>
                  <a:pt x="3159891" y="667100"/>
                  <a:pt x="3152597" y="667100"/>
                </a:cubicBezTo>
                <a:cubicBezTo>
                  <a:pt x="3146035" y="667100"/>
                  <a:pt x="3140200" y="661265"/>
                  <a:pt x="3140200" y="653243"/>
                </a:cubicBezTo>
                <a:cubicBezTo>
                  <a:pt x="3140200" y="647409"/>
                  <a:pt x="3146035" y="640846"/>
                  <a:pt x="3152597" y="640846"/>
                </a:cubicBezTo>
                <a:close/>
                <a:moveTo>
                  <a:pt x="3081767" y="640846"/>
                </a:moveTo>
                <a:cubicBezTo>
                  <a:pt x="3089058" y="640846"/>
                  <a:pt x="3095620" y="647409"/>
                  <a:pt x="3095620" y="653243"/>
                </a:cubicBezTo>
                <a:cubicBezTo>
                  <a:pt x="3095620" y="661265"/>
                  <a:pt x="3089058" y="667100"/>
                  <a:pt x="3081767" y="667100"/>
                </a:cubicBezTo>
                <a:cubicBezTo>
                  <a:pt x="3073743" y="667100"/>
                  <a:pt x="3069366" y="661265"/>
                  <a:pt x="3069366" y="653243"/>
                </a:cubicBezTo>
                <a:cubicBezTo>
                  <a:pt x="3069366" y="647409"/>
                  <a:pt x="3073743" y="640846"/>
                  <a:pt x="3081767" y="640846"/>
                </a:cubicBezTo>
                <a:close/>
                <a:moveTo>
                  <a:pt x="3013710" y="640846"/>
                </a:moveTo>
                <a:cubicBezTo>
                  <a:pt x="3021299" y="640846"/>
                  <a:pt x="3028129" y="647409"/>
                  <a:pt x="3028129" y="653243"/>
                </a:cubicBezTo>
                <a:cubicBezTo>
                  <a:pt x="3028129" y="661265"/>
                  <a:pt x="3021299" y="667100"/>
                  <a:pt x="3013710" y="667100"/>
                </a:cubicBezTo>
                <a:cubicBezTo>
                  <a:pt x="3005363" y="667100"/>
                  <a:pt x="2998534" y="661265"/>
                  <a:pt x="2998534" y="653243"/>
                </a:cubicBezTo>
                <a:cubicBezTo>
                  <a:pt x="2998534" y="647409"/>
                  <a:pt x="3005363" y="640846"/>
                  <a:pt x="3013710" y="640846"/>
                </a:cubicBezTo>
                <a:close/>
                <a:moveTo>
                  <a:pt x="2942488" y="640846"/>
                </a:moveTo>
                <a:cubicBezTo>
                  <a:pt x="2951049" y="640846"/>
                  <a:pt x="2957280" y="647409"/>
                  <a:pt x="2957280" y="653243"/>
                </a:cubicBezTo>
                <a:cubicBezTo>
                  <a:pt x="2957280" y="661265"/>
                  <a:pt x="2951049" y="667100"/>
                  <a:pt x="2942488" y="667100"/>
                </a:cubicBezTo>
                <a:cubicBezTo>
                  <a:pt x="2934708" y="667100"/>
                  <a:pt x="2927703" y="661265"/>
                  <a:pt x="2927703" y="653243"/>
                </a:cubicBezTo>
                <a:cubicBezTo>
                  <a:pt x="2927703" y="647409"/>
                  <a:pt x="2934708" y="640846"/>
                  <a:pt x="2942488" y="640846"/>
                </a:cubicBezTo>
                <a:close/>
                <a:moveTo>
                  <a:pt x="2868288" y="640846"/>
                </a:moveTo>
                <a:cubicBezTo>
                  <a:pt x="2876853" y="640846"/>
                  <a:pt x="2883082" y="647409"/>
                  <a:pt x="2883082" y="653243"/>
                </a:cubicBezTo>
                <a:cubicBezTo>
                  <a:pt x="2883082" y="661265"/>
                  <a:pt x="2876853" y="667100"/>
                  <a:pt x="2868288" y="667100"/>
                </a:cubicBezTo>
                <a:cubicBezTo>
                  <a:pt x="2860506" y="667100"/>
                  <a:pt x="2853498" y="661265"/>
                  <a:pt x="2853498" y="653243"/>
                </a:cubicBezTo>
                <a:cubicBezTo>
                  <a:pt x="2853498" y="647409"/>
                  <a:pt x="2860506" y="640846"/>
                  <a:pt x="2868288" y="640846"/>
                </a:cubicBezTo>
                <a:close/>
                <a:moveTo>
                  <a:pt x="2796532" y="640846"/>
                </a:moveTo>
                <a:cubicBezTo>
                  <a:pt x="2804550" y="640846"/>
                  <a:pt x="2808926" y="647409"/>
                  <a:pt x="2808926" y="653243"/>
                </a:cubicBezTo>
                <a:cubicBezTo>
                  <a:pt x="2808926" y="661265"/>
                  <a:pt x="2804550" y="667100"/>
                  <a:pt x="2796532" y="667100"/>
                </a:cubicBezTo>
                <a:cubicBezTo>
                  <a:pt x="2789237" y="667100"/>
                  <a:pt x="2782673" y="661265"/>
                  <a:pt x="2782673" y="653243"/>
                </a:cubicBezTo>
                <a:cubicBezTo>
                  <a:pt x="2782673" y="647409"/>
                  <a:pt x="2789237" y="640846"/>
                  <a:pt x="2796532" y="640846"/>
                </a:cubicBezTo>
                <a:close/>
                <a:moveTo>
                  <a:pt x="2725692" y="640846"/>
                </a:moveTo>
                <a:cubicBezTo>
                  <a:pt x="2731527" y="640846"/>
                  <a:pt x="2738097" y="647409"/>
                  <a:pt x="2738097" y="653243"/>
                </a:cubicBezTo>
                <a:cubicBezTo>
                  <a:pt x="2738097" y="661265"/>
                  <a:pt x="2731527" y="667100"/>
                  <a:pt x="2725692" y="667100"/>
                </a:cubicBezTo>
                <a:cubicBezTo>
                  <a:pt x="2717681" y="667100"/>
                  <a:pt x="2711843" y="661265"/>
                  <a:pt x="2711843" y="653243"/>
                </a:cubicBezTo>
                <a:cubicBezTo>
                  <a:pt x="2711843" y="647409"/>
                  <a:pt x="2717681" y="640846"/>
                  <a:pt x="2725692" y="640846"/>
                </a:cubicBezTo>
                <a:close/>
                <a:moveTo>
                  <a:pt x="2654867" y="640846"/>
                </a:moveTo>
                <a:cubicBezTo>
                  <a:pt x="2660705" y="640846"/>
                  <a:pt x="2667266" y="647409"/>
                  <a:pt x="2667266" y="653243"/>
                </a:cubicBezTo>
                <a:cubicBezTo>
                  <a:pt x="2667266" y="661265"/>
                  <a:pt x="2660705" y="667100"/>
                  <a:pt x="2654867" y="667100"/>
                </a:cubicBezTo>
                <a:cubicBezTo>
                  <a:pt x="2646847" y="667100"/>
                  <a:pt x="2641013" y="661265"/>
                  <a:pt x="2641013" y="653243"/>
                </a:cubicBezTo>
                <a:cubicBezTo>
                  <a:pt x="2641013" y="647409"/>
                  <a:pt x="2646847" y="640846"/>
                  <a:pt x="2654867" y="640846"/>
                </a:cubicBezTo>
                <a:close/>
                <a:moveTo>
                  <a:pt x="2582577" y="640846"/>
                </a:moveTo>
                <a:cubicBezTo>
                  <a:pt x="2589870" y="640846"/>
                  <a:pt x="2596432" y="647409"/>
                  <a:pt x="2596432" y="654702"/>
                </a:cubicBezTo>
                <a:cubicBezTo>
                  <a:pt x="2596432" y="661265"/>
                  <a:pt x="2589870" y="667100"/>
                  <a:pt x="2582577" y="667100"/>
                </a:cubicBezTo>
                <a:cubicBezTo>
                  <a:pt x="2576016" y="667100"/>
                  <a:pt x="2570181" y="661265"/>
                  <a:pt x="2570181" y="654702"/>
                </a:cubicBezTo>
                <a:cubicBezTo>
                  <a:pt x="2570181" y="647409"/>
                  <a:pt x="2576016" y="640846"/>
                  <a:pt x="2582577" y="640846"/>
                </a:cubicBezTo>
                <a:close/>
                <a:moveTo>
                  <a:pt x="1728254" y="640846"/>
                </a:moveTo>
                <a:cubicBezTo>
                  <a:pt x="1736820" y="640846"/>
                  <a:pt x="1743044" y="647409"/>
                  <a:pt x="1743044" y="654702"/>
                </a:cubicBezTo>
                <a:cubicBezTo>
                  <a:pt x="1743044" y="661265"/>
                  <a:pt x="1736820" y="667100"/>
                  <a:pt x="1728254" y="667100"/>
                </a:cubicBezTo>
                <a:cubicBezTo>
                  <a:pt x="1719691" y="667100"/>
                  <a:pt x="1713464" y="661265"/>
                  <a:pt x="1713464" y="654702"/>
                </a:cubicBezTo>
                <a:cubicBezTo>
                  <a:pt x="1713464" y="647409"/>
                  <a:pt x="1719691" y="640846"/>
                  <a:pt x="1728254" y="640846"/>
                </a:cubicBezTo>
                <a:close/>
                <a:moveTo>
                  <a:pt x="1657423" y="640846"/>
                </a:moveTo>
                <a:cubicBezTo>
                  <a:pt x="1665208" y="640846"/>
                  <a:pt x="1672215" y="647409"/>
                  <a:pt x="1672215" y="654702"/>
                </a:cubicBezTo>
                <a:cubicBezTo>
                  <a:pt x="1672215" y="661265"/>
                  <a:pt x="1665208" y="667100"/>
                  <a:pt x="1657423" y="667100"/>
                </a:cubicBezTo>
                <a:cubicBezTo>
                  <a:pt x="1648867" y="667100"/>
                  <a:pt x="1642644" y="661265"/>
                  <a:pt x="1642644" y="654702"/>
                </a:cubicBezTo>
                <a:cubicBezTo>
                  <a:pt x="1642644" y="647409"/>
                  <a:pt x="1648867" y="640846"/>
                  <a:pt x="1657423" y="640846"/>
                </a:cubicBezTo>
                <a:close/>
                <a:moveTo>
                  <a:pt x="1582290" y="640846"/>
                </a:moveTo>
                <a:cubicBezTo>
                  <a:pt x="1589584" y="640846"/>
                  <a:pt x="1594694" y="647409"/>
                  <a:pt x="1594694" y="654702"/>
                </a:cubicBezTo>
                <a:cubicBezTo>
                  <a:pt x="1594694" y="661265"/>
                  <a:pt x="1589584" y="667100"/>
                  <a:pt x="1582290" y="667100"/>
                </a:cubicBezTo>
                <a:cubicBezTo>
                  <a:pt x="1574268" y="667100"/>
                  <a:pt x="1568435" y="661265"/>
                  <a:pt x="1568435" y="654702"/>
                </a:cubicBezTo>
                <a:cubicBezTo>
                  <a:pt x="1568435" y="647409"/>
                  <a:pt x="1574268" y="640846"/>
                  <a:pt x="1582290" y="640846"/>
                </a:cubicBezTo>
                <a:close/>
                <a:moveTo>
                  <a:pt x="1512190" y="640846"/>
                </a:moveTo>
                <a:cubicBezTo>
                  <a:pt x="1518025" y="640846"/>
                  <a:pt x="1523859" y="647409"/>
                  <a:pt x="1523859" y="654702"/>
                </a:cubicBezTo>
                <a:cubicBezTo>
                  <a:pt x="1523859" y="661265"/>
                  <a:pt x="1518025" y="667100"/>
                  <a:pt x="1512190" y="667100"/>
                </a:cubicBezTo>
                <a:cubicBezTo>
                  <a:pt x="1504169" y="667100"/>
                  <a:pt x="1497604" y="662724"/>
                  <a:pt x="1497604" y="654702"/>
                </a:cubicBezTo>
                <a:cubicBezTo>
                  <a:pt x="1497604" y="647409"/>
                  <a:pt x="1504169" y="640846"/>
                  <a:pt x="1512190" y="640846"/>
                </a:cubicBezTo>
                <a:close/>
                <a:moveTo>
                  <a:pt x="1440623" y="640846"/>
                </a:moveTo>
                <a:cubicBezTo>
                  <a:pt x="1447182" y="640846"/>
                  <a:pt x="1453017" y="647409"/>
                  <a:pt x="1453017" y="654702"/>
                </a:cubicBezTo>
                <a:cubicBezTo>
                  <a:pt x="1453017" y="662724"/>
                  <a:pt x="1447182" y="667100"/>
                  <a:pt x="1440623" y="667100"/>
                </a:cubicBezTo>
                <a:cubicBezTo>
                  <a:pt x="1433331" y="667100"/>
                  <a:pt x="1426767" y="662724"/>
                  <a:pt x="1426767" y="654702"/>
                </a:cubicBezTo>
                <a:cubicBezTo>
                  <a:pt x="1426767" y="647409"/>
                  <a:pt x="1433331" y="640846"/>
                  <a:pt x="1440623" y="640846"/>
                </a:cubicBezTo>
                <a:close/>
                <a:moveTo>
                  <a:pt x="1368339" y="640846"/>
                </a:moveTo>
                <a:cubicBezTo>
                  <a:pt x="1376363" y="640846"/>
                  <a:pt x="1382194" y="647409"/>
                  <a:pt x="1382194" y="654702"/>
                </a:cubicBezTo>
                <a:cubicBezTo>
                  <a:pt x="1382194" y="662724"/>
                  <a:pt x="1376363" y="667100"/>
                  <a:pt x="1368339" y="667100"/>
                </a:cubicBezTo>
                <a:cubicBezTo>
                  <a:pt x="1362505" y="667100"/>
                  <a:pt x="1355943" y="662724"/>
                  <a:pt x="1355943" y="654702"/>
                </a:cubicBezTo>
                <a:cubicBezTo>
                  <a:pt x="1355943" y="647409"/>
                  <a:pt x="1362505" y="640846"/>
                  <a:pt x="1368339" y="640846"/>
                </a:cubicBezTo>
                <a:close/>
                <a:moveTo>
                  <a:pt x="1297512" y="640846"/>
                </a:moveTo>
                <a:cubicBezTo>
                  <a:pt x="1305535" y="640846"/>
                  <a:pt x="1311369" y="647409"/>
                  <a:pt x="1311369" y="654702"/>
                </a:cubicBezTo>
                <a:cubicBezTo>
                  <a:pt x="1311369" y="662724"/>
                  <a:pt x="1305535" y="667100"/>
                  <a:pt x="1297512" y="667100"/>
                </a:cubicBezTo>
                <a:cubicBezTo>
                  <a:pt x="1291678" y="667100"/>
                  <a:pt x="1285116" y="662724"/>
                  <a:pt x="1285116" y="654702"/>
                </a:cubicBezTo>
                <a:cubicBezTo>
                  <a:pt x="1285116" y="647409"/>
                  <a:pt x="1291678" y="640846"/>
                  <a:pt x="1297512" y="640846"/>
                </a:cubicBezTo>
                <a:close/>
                <a:moveTo>
                  <a:pt x="1226680" y="640846"/>
                </a:moveTo>
                <a:cubicBezTo>
                  <a:pt x="1233973" y="640846"/>
                  <a:pt x="1240537" y="647409"/>
                  <a:pt x="1240537" y="654702"/>
                </a:cubicBezTo>
                <a:cubicBezTo>
                  <a:pt x="1240537" y="662724"/>
                  <a:pt x="1233973" y="667100"/>
                  <a:pt x="1226680" y="667100"/>
                </a:cubicBezTo>
                <a:cubicBezTo>
                  <a:pt x="1218667" y="667100"/>
                  <a:pt x="1214291" y="662724"/>
                  <a:pt x="1214291" y="654702"/>
                </a:cubicBezTo>
                <a:cubicBezTo>
                  <a:pt x="1214291" y="647409"/>
                  <a:pt x="1218667" y="640846"/>
                  <a:pt x="1226680" y="640846"/>
                </a:cubicBezTo>
                <a:close/>
                <a:moveTo>
                  <a:pt x="1154878" y="640846"/>
                </a:moveTo>
                <a:cubicBezTo>
                  <a:pt x="1162660" y="640846"/>
                  <a:pt x="1169666" y="647409"/>
                  <a:pt x="1169666" y="654702"/>
                </a:cubicBezTo>
                <a:cubicBezTo>
                  <a:pt x="1169666" y="662724"/>
                  <a:pt x="1162660" y="667100"/>
                  <a:pt x="1154878" y="667100"/>
                </a:cubicBezTo>
                <a:cubicBezTo>
                  <a:pt x="1146318" y="667100"/>
                  <a:pt x="1140088" y="662724"/>
                  <a:pt x="1140088" y="654702"/>
                </a:cubicBezTo>
                <a:cubicBezTo>
                  <a:pt x="1140088" y="647409"/>
                  <a:pt x="1146318" y="640846"/>
                  <a:pt x="1154878" y="640846"/>
                </a:cubicBezTo>
                <a:close/>
                <a:moveTo>
                  <a:pt x="1084051" y="640846"/>
                </a:moveTo>
                <a:cubicBezTo>
                  <a:pt x="1091834" y="640846"/>
                  <a:pt x="1098838" y="647409"/>
                  <a:pt x="1098838" y="654702"/>
                </a:cubicBezTo>
                <a:cubicBezTo>
                  <a:pt x="1098838" y="662724"/>
                  <a:pt x="1091834" y="667100"/>
                  <a:pt x="1084051" y="667100"/>
                </a:cubicBezTo>
                <a:cubicBezTo>
                  <a:pt x="1075486" y="667100"/>
                  <a:pt x="1069261" y="662724"/>
                  <a:pt x="1069261" y="654702"/>
                </a:cubicBezTo>
                <a:cubicBezTo>
                  <a:pt x="1069261" y="647409"/>
                  <a:pt x="1075486" y="640846"/>
                  <a:pt x="1084051" y="640846"/>
                </a:cubicBezTo>
                <a:close/>
                <a:moveTo>
                  <a:pt x="1013010" y="640846"/>
                </a:moveTo>
                <a:cubicBezTo>
                  <a:pt x="1020306" y="640846"/>
                  <a:pt x="1024682" y="647409"/>
                  <a:pt x="1024682" y="654702"/>
                </a:cubicBezTo>
                <a:cubicBezTo>
                  <a:pt x="1024682" y="662724"/>
                  <a:pt x="1020306" y="667100"/>
                  <a:pt x="1013010" y="667100"/>
                </a:cubicBezTo>
                <a:cubicBezTo>
                  <a:pt x="1004989" y="667100"/>
                  <a:pt x="998429" y="662724"/>
                  <a:pt x="998429" y="654702"/>
                </a:cubicBezTo>
                <a:cubicBezTo>
                  <a:pt x="998429" y="647409"/>
                  <a:pt x="1004989" y="640846"/>
                  <a:pt x="1013010" y="640846"/>
                </a:cubicBezTo>
                <a:close/>
                <a:moveTo>
                  <a:pt x="941457" y="640846"/>
                </a:moveTo>
                <a:cubicBezTo>
                  <a:pt x="948018" y="640846"/>
                  <a:pt x="953852" y="647409"/>
                  <a:pt x="953852" y="654702"/>
                </a:cubicBezTo>
                <a:cubicBezTo>
                  <a:pt x="953852" y="662724"/>
                  <a:pt x="948018" y="667100"/>
                  <a:pt x="941457" y="667100"/>
                </a:cubicBezTo>
                <a:cubicBezTo>
                  <a:pt x="934166" y="667100"/>
                  <a:pt x="927599" y="662724"/>
                  <a:pt x="927599" y="654702"/>
                </a:cubicBezTo>
                <a:cubicBezTo>
                  <a:pt x="927599" y="647409"/>
                  <a:pt x="934166" y="640846"/>
                  <a:pt x="941457" y="640846"/>
                </a:cubicBezTo>
                <a:close/>
                <a:moveTo>
                  <a:pt x="870622" y="640846"/>
                </a:moveTo>
                <a:cubicBezTo>
                  <a:pt x="877190" y="640846"/>
                  <a:pt x="883024" y="647409"/>
                  <a:pt x="883024" y="654702"/>
                </a:cubicBezTo>
                <a:cubicBezTo>
                  <a:pt x="883024" y="662724"/>
                  <a:pt x="877190" y="667100"/>
                  <a:pt x="870622" y="667100"/>
                </a:cubicBezTo>
                <a:cubicBezTo>
                  <a:pt x="863332" y="667100"/>
                  <a:pt x="856770" y="662724"/>
                  <a:pt x="856770" y="654702"/>
                </a:cubicBezTo>
                <a:cubicBezTo>
                  <a:pt x="856770" y="647409"/>
                  <a:pt x="863332" y="640846"/>
                  <a:pt x="870622" y="640846"/>
                </a:cubicBezTo>
                <a:close/>
                <a:moveTo>
                  <a:pt x="798337" y="640846"/>
                </a:moveTo>
                <a:cubicBezTo>
                  <a:pt x="806358" y="640846"/>
                  <a:pt x="812191" y="647851"/>
                  <a:pt x="812191" y="655635"/>
                </a:cubicBezTo>
                <a:cubicBezTo>
                  <a:pt x="812191" y="664197"/>
                  <a:pt x="806358" y="670424"/>
                  <a:pt x="798337" y="670424"/>
                </a:cubicBezTo>
                <a:cubicBezTo>
                  <a:pt x="792503" y="670424"/>
                  <a:pt x="785937" y="664197"/>
                  <a:pt x="785937" y="655635"/>
                </a:cubicBezTo>
                <a:cubicBezTo>
                  <a:pt x="785937" y="647851"/>
                  <a:pt x="792503" y="640846"/>
                  <a:pt x="798337" y="640846"/>
                </a:cubicBezTo>
                <a:close/>
                <a:moveTo>
                  <a:pt x="724134" y="640846"/>
                </a:moveTo>
                <a:cubicBezTo>
                  <a:pt x="731428" y="640846"/>
                  <a:pt x="737989" y="647851"/>
                  <a:pt x="737989" y="655635"/>
                </a:cubicBezTo>
                <a:cubicBezTo>
                  <a:pt x="737989" y="664197"/>
                  <a:pt x="731428" y="670424"/>
                  <a:pt x="724134" y="670424"/>
                </a:cubicBezTo>
                <a:cubicBezTo>
                  <a:pt x="717567" y="670424"/>
                  <a:pt x="711735" y="664197"/>
                  <a:pt x="711735" y="655635"/>
                </a:cubicBezTo>
                <a:cubicBezTo>
                  <a:pt x="711735" y="647851"/>
                  <a:pt x="717567" y="640846"/>
                  <a:pt x="724134" y="640846"/>
                </a:cubicBezTo>
                <a:close/>
                <a:moveTo>
                  <a:pt x="653301" y="640846"/>
                </a:moveTo>
                <a:cubicBezTo>
                  <a:pt x="660594" y="640846"/>
                  <a:pt x="667160" y="647851"/>
                  <a:pt x="667160" y="655635"/>
                </a:cubicBezTo>
                <a:cubicBezTo>
                  <a:pt x="667160" y="664197"/>
                  <a:pt x="660594" y="670424"/>
                  <a:pt x="653301" y="670424"/>
                </a:cubicBezTo>
                <a:cubicBezTo>
                  <a:pt x="645283" y="670424"/>
                  <a:pt x="640907" y="664197"/>
                  <a:pt x="640907" y="655635"/>
                </a:cubicBezTo>
                <a:cubicBezTo>
                  <a:pt x="640907" y="647851"/>
                  <a:pt x="645283" y="640846"/>
                  <a:pt x="653301" y="640846"/>
                </a:cubicBezTo>
                <a:close/>
                <a:moveTo>
                  <a:pt x="584864" y="640846"/>
                </a:moveTo>
                <a:cubicBezTo>
                  <a:pt x="592646" y="640846"/>
                  <a:pt x="599651" y="647851"/>
                  <a:pt x="599651" y="655635"/>
                </a:cubicBezTo>
                <a:cubicBezTo>
                  <a:pt x="599651" y="664197"/>
                  <a:pt x="592646" y="670424"/>
                  <a:pt x="584864" y="670424"/>
                </a:cubicBezTo>
                <a:cubicBezTo>
                  <a:pt x="576304" y="670424"/>
                  <a:pt x="570075" y="664197"/>
                  <a:pt x="570075" y="655635"/>
                </a:cubicBezTo>
                <a:cubicBezTo>
                  <a:pt x="570075" y="647851"/>
                  <a:pt x="576304" y="640846"/>
                  <a:pt x="584864" y="640846"/>
                </a:cubicBezTo>
                <a:close/>
                <a:moveTo>
                  <a:pt x="513663" y="640846"/>
                </a:moveTo>
                <a:cubicBezTo>
                  <a:pt x="522010" y="640846"/>
                  <a:pt x="528843" y="647851"/>
                  <a:pt x="528843" y="655635"/>
                </a:cubicBezTo>
                <a:cubicBezTo>
                  <a:pt x="528843" y="664197"/>
                  <a:pt x="522010" y="670424"/>
                  <a:pt x="513663" y="670424"/>
                </a:cubicBezTo>
                <a:cubicBezTo>
                  <a:pt x="506076" y="670424"/>
                  <a:pt x="499246" y="664197"/>
                  <a:pt x="499246" y="655635"/>
                </a:cubicBezTo>
                <a:cubicBezTo>
                  <a:pt x="499246" y="647851"/>
                  <a:pt x="506076" y="640846"/>
                  <a:pt x="513663" y="640846"/>
                </a:cubicBezTo>
                <a:close/>
                <a:moveTo>
                  <a:pt x="439832" y="640846"/>
                </a:moveTo>
                <a:cubicBezTo>
                  <a:pt x="448391" y="640846"/>
                  <a:pt x="454622" y="647851"/>
                  <a:pt x="454622" y="655635"/>
                </a:cubicBezTo>
                <a:cubicBezTo>
                  <a:pt x="454622" y="664197"/>
                  <a:pt x="448391" y="670424"/>
                  <a:pt x="439832" y="670424"/>
                </a:cubicBezTo>
                <a:cubicBezTo>
                  <a:pt x="432049" y="670424"/>
                  <a:pt x="425044" y="664197"/>
                  <a:pt x="425044" y="655635"/>
                </a:cubicBezTo>
                <a:cubicBezTo>
                  <a:pt x="425044" y="647851"/>
                  <a:pt x="432049" y="640846"/>
                  <a:pt x="439832" y="640846"/>
                </a:cubicBezTo>
                <a:close/>
                <a:moveTo>
                  <a:pt x="368070" y="640846"/>
                </a:moveTo>
                <a:cubicBezTo>
                  <a:pt x="376088" y="640846"/>
                  <a:pt x="380465" y="647851"/>
                  <a:pt x="380465" y="655635"/>
                </a:cubicBezTo>
                <a:cubicBezTo>
                  <a:pt x="380465" y="664197"/>
                  <a:pt x="376088" y="670424"/>
                  <a:pt x="368070" y="670424"/>
                </a:cubicBezTo>
                <a:cubicBezTo>
                  <a:pt x="360777" y="670424"/>
                  <a:pt x="354211" y="664197"/>
                  <a:pt x="354211" y="655635"/>
                </a:cubicBezTo>
                <a:cubicBezTo>
                  <a:pt x="354211" y="647851"/>
                  <a:pt x="360777" y="640846"/>
                  <a:pt x="368070" y="640846"/>
                </a:cubicBezTo>
                <a:close/>
                <a:moveTo>
                  <a:pt x="297235" y="640846"/>
                </a:moveTo>
                <a:cubicBezTo>
                  <a:pt x="303798" y="640846"/>
                  <a:pt x="309631" y="647851"/>
                  <a:pt x="309631" y="655635"/>
                </a:cubicBezTo>
                <a:cubicBezTo>
                  <a:pt x="309631" y="664197"/>
                  <a:pt x="303798" y="670424"/>
                  <a:pt x="297235" y="670424"/>
                </a:cubicBezTo>
                <a:cubicBezTo>
                  <a:pt x="289944" y="670424"/>
                  <a:pt x="283379" y="664197"/>
                  <a:pt x="283379" y="655635"/>
                </a:cubicBezTo>
                <a:cubicBezTo>
                  <a:pt x="283379" y="647851"/>
                  <a:pt x="289944" y="640846"/>
                  <a:pt x="297235" y="640846"/>
                </a:cubicBezTo>
                <a:close/>
                <a:moveTo>
                  <a:pt x="4082465" y="570017"/>
                </a:moveTo>
                <a:cubicBezTo>
                  <a:pt x="4090249" y="570017"/>
                  <a:pt x="4097254" y="576244"/>
                  <a:pt x="4097254" y="584805"/>
                </a:cubicBezTo>
                <a:cubicBezTo>
                  <a:pt x="4097254" y="593367"/>
                  <a:pt x="4090249" y="599594"/>
                  <a:pt x="4082465" y="599594"/>
                </a:cubicBezTo>
                <a:cubicBezTo>
                  <a:pt x="4073903" y="599594"/>
                  <a:pt x="4067676" y="593367"/>
                  <a:pt x="4067676" y="584805"/>
                </a:cubicBezTo>
                <a:cubicBezTo>
                  <a:pt x="4067676" y="576244"/>
                  <a:pt x="4073903" y="570017"/>
                  <a:pt x="4082465" y="570017"/>
                </a:cubicBezTo>
                <a:close/>
                <a:moveTo>
                  <a:pt x="4010703" y="570017"/>
                </a:moveTo>
                <a:cubicBezTo>
                  <a:pt x="4017996" y="570017"/>
                  <a:pt x="4023100" y="576244"/>
                  <a:pt x="4023100" y="584805"/>
                </a:cubicBezTo>
                <a:cubicBezTo>
                  <a:pt x="4023100" y="593367"/>
                  <a:pt x="4017996" y="599594"/>
                  <a:pt x="4010703" y="599594"/>
                </a:cubicBezTo>
                <a:cubicBezTo>
                  <a:pt x="4002681" y="599594"/>
                  <a:pt x="3996847" y="593367"/>
                  <a:pt x="3996847" y="584805"/>
                </a:cubicBezTo>
                <a:cubicBezTo>
                  <a:pt x="3996847" y="576244"/>
                  <a:pt x="4002681" y="570017"/>
                  <a:pt x="4010703" y="570017"/>
                </a:cubicBezTo>
                <a:close/>
                <a:moveTo>
                  <a:pt x="3939871" y="570017"/>
                </a:moveTo>
                <a:cubicBezTo>
                  <a:pt x="3946434" y="570017"/>
                  <a:pt x="3952268" y="576244"/>
                  <a:pt x="3952268" y="584805"/>
                </a:cubicBezTo>
                <a:cubicBezTo>
                  <a:pt x="3952268" y="593367"/>
                  <a:pt x="3946434" y="599594"/>
                  <a:pt x="3939871" y="599594"/>
                </a:cubicBezTo>
                <a:cubicBezTo>
                  <a:pt x="3932578" y="599594"/>
                  <a:pt x="3926015" y="593367"/>
                  <a:pt x="3926015" y="584805"/>
                </a:cubicBezTo>
                <a:cubicBezTo>
                  <a:pt x="3926015" y="576244"/>
                  <a:pt x="3932578" y="570017"/>
                  <a:pt x="3939871" y="570017"/>
                </a:cubicBezTo>
                <a:close/>
                <a:moveTo>
                  <a:pt x="3869042" y="570017"/>
                </a:moveTo>
                <a:cubicBezTo>
                  <a:pt x="3875605" y="570017"/>
                  <a:pt x="3881439" y="576244"/>
                  <a:pt x="3881439" y="584805"/>
                </a:cubicBezTo>
                <a:cubicBezTo>
                  <a:pt x="3881439" y="593367"/>
                  <a:pt x="3875605" y="599594"/>
                  <a:pt x="3869042" y="599594"/>
                </a:cubicBezTo>
                <a:cubicBezTo>
                  <a:pt x="3861749" y="599594"/>
                  <a:pt x="3855186" y="593367"/>
                  <a:pt x="3855186" y="584805"/>
                </a:cubicBezTo>
                <a:cubicBezTo>
                  <a:pt x="3855186" y="576244"/>
                  <a:pt x="3861749" y="570017"/>
                  <a:pt x="3869042" y="570017"/>
                </a:cubicBezTo>
                <a:close/>
                <a:moveTo>
                  <a:pt x="3796752" y="570017"/>
                </a:moveTo>
                <a:cubicBezTo>
                  <a:pt x="3804774" y="570017"/>
                  <a:pt x="3810608" y="576244"/>
                  <a:pt x="3810608" y="584805"/>
                </a:cubicBezTo>
                <a:cubicBezTo>
                  <a:pt x="3810608" y="593367"/>
                  <a:pt x="3804774" y="599594"/>
                  <a:pt x="3796752" y="599594"/>
                </a:cubicBezTo>
                <a:cubicBezTo>
                  <a:pt x="3790918" y="599594"/>
                  <a:pt x="3784355" y="593367"/>
                  <a:pt x="3784355" y="584805"/>
                </a:cubicBezTo>
                <a:cubicBezTo>
                  <a:pt x="3784355" y="576244"/>
                  <a:pt x="3790918" y="570017"/>
                  <a:pt x="3796752" y="570017"/>
                </a:cubicBezTo>
                <a:close/>
                <a:moveTo>
                  <a:pt x="3725922" y="570017"/>
                </a:moveTo>
                <a:cubicBezTo>
                  <a:pt x="3733944" y="570017"/>
                  <a:pt x="3739778" y="576244"/>
                  <a:pt x="3739778" y="584805"/>
                </a:cubicBezTo>
                <a:cubicBezTo>
                  <a:pt x="3739778" y="593367"/>
                  <a:pt x="3733944" y="599594"/>
                  <a:pt x="3725922" y="599594"/>
                </a:cubicBezTo>
                <a:cubicBezTo>
                  <a:pt x="3719359" y="599594"/>
                  <a:pt x="3713525" y="593367"/>
                  <a:pt x="3713525" y="584805"/>
                </a:cubicBezTo>
                <a:cubicBezTo>
                  <a:pt x="3713525" y="576244"/>
                  <a:pt x="3719359" y="570017"/>
                  <a:pt x="3725922" y="570017"/>
                </a:cubicBezTo>
                <a:close/>
                <a:moveTo>
                  <a:pt x="3655091" y="570017"/>
                </a:moveTo>
                <a:cubicBezTo>
                  <a:pt x="3662384" y="570017"/>
                  <a:pt x="3668947" y="574392"/>
                  <a:pt x="3668947" y="582414"/>
                </a:cubicBezTo>
                <a:cubicBezTo>
                  <a:pt x="3668947" y="590436"/>
                  <a:pt x="3662384" y="596271"/>
                  <a:pt x="3655091" y="596271"/>
                </a:cubicBezTo>
                <a:cubicBezTo>
                  <a:pt x="3647069" y="596271"/>
                  <a:pt x="3642694" y="590436"/>
                  <a:pt x="3642694" y="582414"/>
                </a:cubicBezTo>
                <a:cubicBezTo>
                  <a:pt x="3642694" y="574392"/>
                  <a:pt x="3647069" y="570017"/>
                  <a:pt x="3655091" y="570017"/>
                </a:cubicBezTo>
                <a:close/>
                <a:moveTo>
                  <a:pt x="3583280" y="570017"/>
                </a:moveTo>
                <a:cubicBezTo>
                  <a:pt x="3591064" y="570017"/>
                  <a:pt x="3598069" y="574392"/>
                  <a:pt x="3598069" y="582414"/>
                </a:cubicBezTo>
                <a:cubicBezTo>
                  <a:pt x="3598069" y="590436"/>
                  <a:pt x="3591064" y="596271"/>
                  <a:pt x="3583280" y="596271"/>
                </a:cubicBezTo>
                <a:cubicBezTo>
                  <a:pt x="3574718" y="596271"/>
                  <a:pt x="3568491" y="590436"/>
                  <a:pt x="3568491" y="582414"/>
                </a:cubicBezTo>
                <a:cubicBezTo>
                  <a:pt x="3568491" y="574392"/>
                  <a:pt x="3574718" y="570017"/>
                  <a:pt x="3583280" y="570017"/>
                </a:cubicBezTo>
                <a:close/>
                <a:moveTo>
                  <a:pt x="3512449" y="570017"/>
                </a:moveTo>
                <a:cubicBezTo>
                  <a:pt x="3520232" y="570017"/>
                  <a:pt x="3527237" y="574392"/>
                  <a:pt x="3527237" y="582414"/>
                </a:cubicBezTo>
                <a:cubicBezTo>
                  <a:pt x="3527237" y="590436"/>
                  <a:pt x="3520232" y="596271"/>
                  <a:pt x="3512449" y="596271"/>
                </a:cubicBezTo>
                <a:cubicBezTo>
                  <a:pt x="3503887" y="596271"/>
                  <a:pt x="3497661" y="590436"/>
                  <a:pt x="3497661" y="582414"/>
                </a:cubicBezTo>
                <a:cubicBezTo>
                  <a:pt x="3497661" y="574392"/>
                  <a:pt x="3503887" y="570017"/>
                  <a:pt x="3512449" y="570017"/>
                </a:cubicBezTo>
                <a:close/>
                <a:moveTo>
                  <a:pt x="3441619" y="570017"/>
                </a:moveTo>
                <a:cubicBezTo>
                  <a:pt x="3450181" y="570017"/>
                  <a:pt x="3456408" y="574392"/>
                  <a:pt x="3456408" y="582414"/>
                </a:cubicBezTo>
                <a:cubicBezTo>
                  <a:pt x="3456408" y="590436"/>
                  <a:pt x="3450181" y="596271"/>
                  <a:pt x="3441619" y="596271"/>
                </a:cubicBezTo>
                <a:cubicBezTo>
                  <a:pt x="3433835" y="596271"/>
                  <a:pt x="3426830" y="590436"/>
                  <a:pt x="3426830" y="582414"/>
                </a:cubicBezTo>
                <a:cubicBezTo>
                  <a:pt x="3426830" y="574392"/>
                  <a:pt x="3433835" y="570017"/>
                  <a:pt x="3441619" y="570017"/>
                </a:cubicBezTo>
                <a:close/>
                <a:moveTo>
                  <a:pt x="3369857" y="570017"/>
                </a:moveTo>
                <a:cubicBezTo>
                  <a:pt x="3377879" y="570017"/>
                  <a:pt x="3382254" y="574392"/>
                  <a:pt x="3382254" y="582414"/>
                </a:cubicBezTo>
                <a:cubicBezTo>
                  <a:pt x="3382254" y="590436"/>
                  <a:pt x="3377879" y="596271"/>
                  <a:pt x="3369857" y="596271"/>
                </a:cubicBezTo>
                <a:cubicBezTo>
                  <a:pt x="3362564" y="596271"/>
                  <a:pt x="3356001" y="590436"/>
                  <a:pt x="3356001" y="582414"/>
                </a:cubicBezTo>
                <a:cubicBezTo>
                  <a:pt x="3356001" y="574392"/>
                  <a:pt x="3362564" y="570017"/>
                  <a:pt x="3369857" y="570017"/>
                </a:cubicBezTo>
                <a:close/>
                <a:moveTo>
                  <a:pt x="3299091" y="570017"/>
                </a:moveTo>
                <a:cubicBezTo>
                  <a:pt x="3305656" y="570017"/>
                  <a:pt x="3311491" y="574392"/>
                  <a:pt x="3311491" y="582414"/>
                </a:cubicBezTo>
                <a:cubicBezTo>
                  <a:pt x="3311491" y="590436"/>
                  <a:pt x="3305656" y="596271"/>
                  <a:pt x="3299091" y="596271"/>
                </a:cubicBezTo>
                <a:cubicBezTo>
                  <a:pt x="3291802" y="596271"/>
                  <a:pt x="3285240" y="590436"/>
                  <a:pt x="3285240" y="582414"/>
                </a:cubicBezTo>
                <a:cubicBezTo>
                  <a:pt x="3285240" y="574392"/>
                  <a:pt x="3291802" y="570017"/>
                  <a:pt x="3299091" y="570017"/>
                </a:cubicBezTo>
                <a:close/>
                <a:moveTo>
                  <a:pt x="3226803" y="570017"/>
                </a:moveTo>
                <a:cubicBezTo>
                  <a:pt x="3234823" y="570017"/>
                  <a:pt x="3240660" y="574392"/>
                  <a:pt x="3240660" y="582414"/>
                </a:cubicBezTo>
                <a:cubicBezTo>
                  <a:pt x="3240660" y="590436"/>
                  <a:pt x="3234823" y="596271"/>
                  <a:pt x="3226803" y="596271"/>
                </a:cubicBezTo>
                <a:cubicBezTo>
                  <a:pt x="3220242" y="596271"/>
                  <a:pt x="3214406" y="590436"/>
                  <a:pt x="3214406" y="582414"/>
                </a:cubicBezTo>
                <a:cubicBezTo>
                  <a:pt x="3214406" y="574392"/>
                  <a:pt x="3220242" y="570017"/>
                  <a:pt x="3226803" y="570017"/>
                </a:cubicBezTo>
                <a:close/>
                <a:moveTo>
                  <a:pt x="3152600" y="570017"/>
                </a:moveTo>
                <a:cubicBezTo>
                  <a:pt x="3159892" y="570017"/>
                  <a:pt x="3166454" y="574392"/>
                  <a:pt x="3166454" y="582414"/>
                </a:cubicBezTo>
                <a:cubicBezTo>
                  <a:pt x="3166454" y="590436"/>
                  <a:pt x="3159892" y="596271"/>
                  <a:pt x="3152600" y="596271"/>
                </a:cubicBezTo>
                <a:cubicBezTo>
                  <a:pt x="3146037" y="596271"/>
                  <a:pt x="3140203" y="590436"/>
                  <a:pt x="3140203" y="582414"/>
                </a:cubicBezTo>
                <a:cubicBezTo>
                  <a:pt x="3140203" y="574392"/>
                  <a:pt x="3146037" y="570017"/>
                  <a:pt x="3152600" y="570017"/>
                </a:cubicBezTo>
                <a:close/>
                <a:moveTo>
                  <a:pt x="3081770" y="570017"/>
                </a:moveTo>
                <a:cubicBezTo>
                  <a:pt x="3089064" y="570017"/>
                  <a:pt x="3095622" y="575851"/>
                  <a:pt x="3095622" y="582414"/>
                </a:cubicBezTo>
                <a:cubicBezTo>
                  <a:pt x="3095622" y="590436"/>
                  <a:pt x="3089064" y="596271"/>
                  <a:pt x="3081770" y="596271"/>
                </a:cubicBezTo>
                <a:cubicBezTo>
                  <a:pt x="3073746" y="596271"/>
                  <a:pt x="3069369" y="590436"/>
                  <a:pt x="3069369" y="582414"/>
                </a:cubicBezTo>
                <a:cubicBezTo>
                  <a:pt x="3069369" y="575851"/>
                  <a:pt x="3073746" y="570017"/>
                  <a:pt x="3081770" y="570017"/>
                </a:cubicBezTo>
                <a:close/>
                <a:moveTo>
                  <a:pt x="3013712" y="570017"/>
                </a:moveTo>
                <a:cubicBezTo>
                  <a:pt x="3021305" y="570017"/>
                  <a:pt x="3028132" y="575851"/>
                  <a:pt x="3028132" y="582414"/>
                </a:cubicBezTo>
                <a:cubicBezTo>
                  <a:pt x="3028132" y="590436"/>
                  <a:pt x="3021305" y="596271"/>
                  <a:pt x="3013712" y="596271"/>
                </a:cubicBezTo>
                <a:cubicBezTo>
                  <a:pt x="3005366" y="596271"/>
                  <a:pt x="2998537" y="590436"/>
                  <a:pt x="2998537" y="582414"/>
                </a:cubicBezTo>
                <a:cubicBezTo>
                  <a:pt x="2998537" y="575851"/>
                  <a:pt x="3005366" y="570017"/>
                  <a:pt x="3013712" y="570017"/>
                </a:cubicBezTo>
                <a:close/>
                <a:moveTo>
                  <a:pt x="2942491" y="570017"/>
                </a:moveTo>
                <a:cubicBezTo>
                  <a:pt x="2951049" y="570017"/>
                  <a:pt x="2957285" y="575851"/>
                  <a:pt x="2957285" y="582414"/>
                </a:cubicBezTo>
                <a:cubicBezTo>
                  <a:pt x="2957285" y="590436"/>
                  <a:pt x="2951049" y="596271"/>
                  <a:pt x="2942491" y="596271"/>
                </a:cubicBezTo>
                <a:cubicBezTo>
                  <a:pt x="2934710" y="596271"/>
                  <a:pt x="2927705" y="590436"/>
                  <a:pt x="2927705" y="582414"/>
                </a:cubicBezTo>
                <a:cubicBezTo>
                  <a:pt x="2927705" y="575851"/>
                  <a:pt x="2934710" y="570017"/>
                  <a:pt x="2942491" y="570017"/>
                </a:cubicBezTo>
                <a:close/>
                <a:moveTo>
                  <a:pt x="2868288" y="570017"/>
                </a:moveTo>
                <a:cubicBezTo>
                  <a:pt x="2876856" y="570017"/>
                  <a:pt x="2883082" y="575851"/>
                  <a:pt x="2883082" y="582414"/>
                </a:cubicBezTo>
                <a:cubicBezTo>
                  <a:pt x="2883082" y="590436"/>
                  <a:pt x="2876856" y="596271"/>
                  <a:pt x="2868288" y="596271"/>
                </a:cubicBezTo>
                <a:cubicBezTo>
                  <a:pt x="2860506" y="596271"/>
                  <a:pt x="2853502" y="590436"/>
                  <a:pt x="2853502" y="582414"/>
                </a:cubicBezTo>
                <a:cubicBezTo>
                  <a:pt x="2853502" y="575851"/>
                  <a:pt x="2860506" y="570017"/>
                  <a:pt x="2868288" y="570017"/>
                </a:cubicBezTo>
                <a:close/>
                <a:moveTo>
                  <a:pt x="2796532" y="570017"/>
                </a:moveTo>
                <a:cubicBezTo>
                  <a:pt x="2804552" y="570017"/>
                  <a:pt x="2808931" y="575851"/>
                  <a:pt x="2808931" y="582414"/>
                </a:cubicBezTo>
                <a:cubicBezTo>
                  <a:pt x="2808931" y="590436"/>
                  <a:pt x="2804552" y="596271"/>
                  <a:pt x="2796532" y="596271"/>
                </a:cubicBezTo>
                <a:cubicBezTo>
                  <a:pt x="2789240" y="596271"/>
                  <a:pt x="2782675" y="590436"/>
                  <a:pt x="2782675" y="582414"/>
                </a:cubicBezTo>
                <a:cubicBezTo>
                  <a:pt x="2782675" y="575851"/>
                  <a:pt x="2789240" y="570017"/>
                  <a:pt x="2796532" y="570017"/>
                </a:cubicBezTo>
                <a:close/>
                <a:moveTo>
                  <a:pt x="2725695" y="570017"/>
                </a:moveTo>
                <a:cubicBezTo>
                  <a:pt x="2731529" y="570017"/>
                  <a:pt x="2738097" y="575851"/>
                  <a:pt x="2738097" y="582414"/>
                </a:cubicBezTo>
                <a:cubicBezTo>
                  <a:pt x="2738097" y="590436"/>
                  <a:pt x="2731529" y="596271"/>
                  <a:pt x="2725695" y="596271"/>
                </a:cubicBezTo>
                <a:cubicBezTo>
                  <a:pt x="2717681" y="596271"/>
                  <a:pt x="2711843" y="590436"/>
                  <a:pt x="2711843" y="582414"/>
                </a:cubicBezTo>
                <a:cubicBezTo>
                  <a:pt x="2711843" y="575851"/>
                  <a:pt x="2717681" y="570017"/>
                  <a:pt x="2725695" y="570017"/>
                </a:cubicBezTo>
                <a:close/>
                <a:moveTo>
                  <a:pt x="2654867" y="570017"/>
                </a:moveTo>
                <a:cubicBezTo>
                  <a:pt x="2660705" y="570017"/>
                  <a:pt x="2667266" y="575851"/>
                  <a:pt x="2667266" y="582414"/>
                </a:cubicBezTo>
                <a:cubicBezTo>
                  <a:pt x="2667266" y="590436"/>
                  <a:pt x="2660705" y="596271"/>
                  <a:pt x="2654867" y="596271"/>
                </a:cubicBezTo>
                <a:cubicBezTo>
                  <a:pt x="2646847" y="596271"/>
                  <a:pt x="2641013" y="590436"/>
                  <a:pt x="2641013" y="582414"/>
                </a:cubicBezTo>
                <a:cubicBezTo>
                  <a:pt x="2641013" y="575851"/>
                  <a:pt x="2646847" y="570017"/>
                  <a:pt x="2654867" y="570017"/>
                </a:cubicBezTo>
                <a:close/>
                <a:moveTo>
                  <a:pt x="2582580" y="570017"/>
                </a:moveTo>
                <a:cubicBezTo>
                  <a:pt x="2589873" y="570017"/>
                  <a:pt x="2596435" y="575851"/>
                  <a:pt x="2596435" y="582414"/>
                </a:cubicBezTo>
                <a:cubicBezTo>
                  <a:pt x="2596435" y="590436"/>
                  <a:pt x="2589873" y="596271"/>
                  <a:pt x="2582580" y="596271"/>
                </a:cubicBezTo>
                <a:cubicBezTo>
                  <a:pt x="2576018" y="596271"/>
                  <a:pt x="2570184" y="590436"/>
                  <a:pt x="2570184" y="582414"/>
                </a:cubicBezTo>
                <a:cubicBezTo>
                  <a:pt x="2570184" y="575851"/>
                  <a:pt x="2576018" y="570017"/>
                  <a:pt x="2582580" y="570017"/>
                </a:cubicBezTo>
                <a:close/>
                <a:moveTo>
                  <a:pt x="2511026" y="570017"/>
                </a:moveTo>
                <a:cubicBezTo>
                  <a:pt x="2519047" y="570017"/>
                  <a:pt x="2525610" y="575851"/>
                  <a:pt x="2525610" y="582414"/>
                </a:cubicBezTo>
                <a:cubicBezTo>
                  <a:pt x="2525610" y="590436"/>
                  <a:pt x="2519047" y="596271"/>
                  <a:pt x="2511026" y="596271"/>
                </a:cubicBezTo>
                <a:cubicBezTo>
                  <a:pt x="2505193" y="596271"/>
                  <a:pt x="2499358" y="590436"/>
                  <a:pt x="2499358" y="582414"/>
                </a:cubicBezTo>
                <a:cubicBezTo>
                  <a:pt x="2499358" y="575851"/>
                  <a:pt x="2505193" y="570017"/>
                  <a:pt x="2511026" y="570017"/>
                </a:cubicBezTo>
                <a:close/>
                <a:moveTo>
                  <a:pt x="2440921" y="570017"/>
                </a:moveTo>
                <a:cubicBezTo>
                  <a:pt x="2448943" y="570017"/>
                  <a:pt x="2454778" y="575851"/>
                  <a:pt x="2454778" y="582414"/>
                </a:cubicBezTo>
                <a:cubicBezTo>
                  <a:pt x="2454778" y="590436"/>
                  <a:pt x="2448943" y="596271"/>
                  <a:pt x="2440921" y="596271"/>
                </a:cubicBezTo>
                <a:cubicBezTo>
                  <a:pt x="2433632" y="596271"/>
                  <a:pt x="2428525" y="590436"/>
                  <a:pt x="2428525" y="582414"/>
                </a:cubicBezTo>
                <a:cubicBezTo>
                  <a:pt x="2428525" y="575851"/>
                  <a:pt x="2433632" y="570017"/>
                  <a:pt x="2440921" y="570017"/>
                </a:cubicBezTo>
                <a:close/>
                <a:moveTo>
                  <a:pt x="2369108" y="570017"/>
                </a:moveTo>
                <a:cubicBezTo>
                  <a:pt x="2377669" y="570017"/>
                  <a:pt x="2383896" y="575851"/>
                  <a:pt x="2383896" y="582414"/>
                </a:cubicBezTo>
                <a:cubicBezTo>
                  <a:pt x="2383896" y="590436"/>
                  <a:pt x="2377669" y="596271"/>
                  <a:pt x="2369108" y="596271"/>
                </a:cubicBezTo>
                <a:cubicBezTo>
                  <a:pt x="2361324" y="596271"/>
                  <a:pt x="2354319" y="590436"/>
                  <a:pt x="2354319" y="582414"/>
                </a:cubicBezTo>
                <a:cubicBezTo>
                  <a:pt x="2354319" y="575851"/>
                  <a:pt x="2361324" y="570017"/>
                  <a:pt x="2369108" y="570017"/>
                </a:cubicBezTo>
                <a:close/>
                <a:moveTo>
                  <a:pt x="2298275" y="570017"/>
                </a:moveTo>
                <a:cubicBezTo>
                  <a:pt x="2306839" y="570017"/>
                  <a:pt x="2313064" y="575851"/>
                  <a:pt x="2313064" y="582414"/>
                </a:cubicBezTo>
                <a:cubicBezTo>
                  <a:pt x="2313064" y="590436"/>
                  <a:pt x="2306839" y="596271"/>
                  <a:pt x="2298275" y="596271"/>
                </a:cubicBezTo>
                <a:cubicBezTo>
                  <a:pt x="2290494" y="596271"/>
                  <a:pt x="2283487" y="590436"/>
                  <a:pt x="2283487" y="582414"/>
                </a:cubicBezTo>
                <a:cubicBezTo>
                  <a:pt x="2283487" y="575851"/>
                  <a:pt x="2290494" y="570017"/>
                  <a:pt x="2298275" y="570017"/>
                </a:cubicBezTo>
                <a:close/>
                <a:moveTo>
                  <a:pt x="2226512" y="570017"/>
                </a:moveTo>
                <a:cubicBezTo>
                  <a:pt x="2234534" y="570017"/>
                  <a:pt x="2238911" y="575851"/>
                  <a:pt x="2238911" y="582414"/>
                </a:cubicBezTo>
                <a:cubicBezTo>
                  <a:pt x="2238911" y="590436"/>
                  <a:pt x="2234534" y="596271"/>
                  <a:pt x="2226512" y="596271"/>
                </a:cubicBezTo>
                <a:cubicBezTo>
                  <a:pt x="2218490" y="596271"/>
                  <a:pt x="2212655" y="590436"/>
                  <a:pt x="2212655" y="582414"/>
                </a:cubicBezTo>
                <a:cubicBezTo>
                  <a:pt x="2212655" y="575851"/>
                  <a:pt x="2218490" y="570017"/>
                  <a:pt x="2226512" y="570017"/>
                </a:cubicBezTo>
                <a:close/>
                <a:moveTo>
                  <a:pt x="2155680" y="570017"/>
                </a:moveTo>
                <a:cubicBezTo>
                  <a:pt x="2161514" y="570017"/>
                  <a:pt x="2168079" y="575851"/>
                  <a:pt x="2168079" y="582414"/>
                </a:cubicBezTo>
                <a:cubicBezTo>
                  <a:pt x="2168079" y="590436"/>
                  <a:pt x="2161514" y="596271"/>
                  <a:pt x="2155680" y="596271"/>
                </a:cubicBezTo>
                <a:cubicBezTo>
                  <a:pt x="2147658" y="596271"/>
                  <a:pt x="2141823" y="590436"/>
                  <a:pt x="2141823" y="582414"/>
                </a:cubicBezTo>
                <a:cubicBezTo>
                  <a:pt x="2141823" y="575851"/>
                  <a:pt x="2147658" y="570017"/>
                  <a:pt x="2155680" y="570017"/>
                </a:cubicBezTo>
                <a:close/>
                <a:moveTo>
                  <a:pt x="2084846" y="570017"/>
                </a:moveTo>
                <a:cubicBezTo>
                  <a:pt x="2090680" y="570017"/>
                  <a:pt x="2097246" y="575851"/>
                  <a:pt x="2097246" y="582414"/>
                </a:cubicBezTo>
                <a:cubicBezTo>
                  <a:pt x="2097246" y="590436"/>
                  <a:pt x="2090680" y="596271"/>
                  <a:pt x="2084846" y="596271"/>
                </a:cubicBezTo>
                <a:cubicBezTo>
                  <a:pt x="2076824" y="596271"/>
                  <a:pt x="2070989" y="590436"/>
                  <a:pt x="2070989" y="582414"/>
                </a:cubicBezTo>
                <a:cubicBezTo>
                  <a:pt x="2070989" y="575851"/>
                  <a:pt x="2076824" y="570017"/>
                  <a:pt x="2084846" y="570017"/>
                </a:cubicBezTo>
                <a:close/>
                <a:moveTo>
                  <a:pt x="2011831" y="570017"/>
                </a:moveTo>
                <a:cubicBezTo>
                  <a:pt x="2019854" y="570017"/>
                  <a:pt x="2026416" y="575851"/>
                  <a:pt x="2026416" y="582414"/>
                </a:cubicBezTo>
                <a:cubicBezTo>
                  <a:pt x="2026416" y="590436"/>
                  <a:pt x="2019854" y="596271"/>
                  <a:pt x="2011831" y="596271"/>
                </a:cubicBezTo>
                <a:cubicBezTo>
                  <a:pt x="2005997" y="596271"/>
                  <a:pt x="2000163" y="590436"/>
                  <a:pt x="2000163" y="582414"/>
                </a:cubicBezTo>
                <a:cubicBezTo>
                  <a:pt x="2000163" y="575851"/>
                  <a:pt x="2005997" y="570017"/>
                  <a:pt x="2011831" y="570017"/>
                </a:cubicBezTo>
                <a:close/>
                <a:moveTo>
                  <a:pt x="1938359" y="570017"/>
                </a:moveTo>
                <a:cubicBezTo>
                  <a:pt x="1946379" y="570017"/>
                  <a:pt x="1952216" y="575851"/>
                  <a:pt x="1952216" y="583873"/>
                </a:cubicBezTo>
                <a:cubicBezTo>
                  <a:pt x="1952216" y="590436"/>
                  <a:pt x="1946379" y="596271"/>
                  <a:pt x="1938359" y="596271"/>
                </a:cubicBezTo>
                <a:cubicBezTo>
                  <a:pt x="1932525" y="596271"/>
                  <a:pt x="1925962" y="590436"/>
                  <a:pt x="1925962" y="583873"/>
                </a:cubicBezTo>
                <a:cubicBezTo>
                  <a:pt x="1925962" y="575851"/>
                  <a:pt x="1932525" y="570017"/>
                  <a:pt x="1938359" y="570017"/>
                </a:cubicBezTo>
                <a:close/>
                <a:moveTo>
                  <a:pt x="1867522" y="570017"/>
                </a:moveTo>
                <a:cubicBezTo>
                  <a:pt x="1875545" y="570017"/>
                  <a:pt x="1881382" y="575851"/>
                  <a:pt x="1881382" y="583873"/>
                </a:cubicBezTo>
                <a:cubicBezTo>
                  <a:pt x="1881382" y="590436"/>
                  <a:pt x="1875545" y="596271"/>
                  <a:pt x="1867522" y="596271"/>
                </a:cubicBezTo>
                <a:cubicBezTo>
                  <a:pt x="1860229" y="596271"/>
                  <a:pt x="1855124" y="590436"/>
                  <a:pt x="1855124" y="583873"/>
                </a:cubicBezTo>
                <a:cubicBezTo>
                  <a:pt x="1855124" y="575851"/>
                  <a:pt x="1860229" y="570017"/>
                  <a:pt x="1867522" y="570017"/>
                </a:cubicBezTo>
                <a:close/>
                <a:moveTo>
                  <a:pt x="1799082" y="570017"/>
                </a:moveTo>
                <a:cubicBezTo>
                  <a:pt x="1807643" y="570017"/>
                  <a:pt x="1813871" y="575851"/>
                  <a:pt x="1813871" y="583873"/>
                </a:cubicBezTo>
                <a:cubicBezTo>
                  <a:pt x="1813871" y="590436"/>
                  <a:pt x="1807643" y="596271"/>
                  <a:pt x="1799082" y="596271"/>
                </a:cubicBezTo>
                <a:cubicBezTo>
                  <a:pt x="1790521" y="596271"/>
                  <a:pt x="1784295" y="590436"/>
                  <a:pt x="1784295" y="583873"/>
                </a:cubicBezTo>
                <a:cubicBezTo>
                  <a:pt x="1784295" y="575851"/>
                  <a:pt x="1790521" y="570017"/>
                  <a:pt x="1799082" y="570017"/>
                </a:cubicBezTo>
                <a:close/>
                <a:moveTo>
                  <a:pt x="1728257" y="570017"/>
                </a:moveTo>
                <a:cubicBezTo>
                  <a:pt x="1736820" y="570017"/>
                  <a:pt x="1743046" y="575851"/>
                  <a:pt x="1743046" y="583873"/>
                </a:cubicBezTo>
                <a:cubicBezTo>
                  <a:pt x="1743046" y="590436"/>
                  <a:pt x="1736820" y="596271"/>
                  <a:pt x="1728257" y="596271"/>
                </a:cubicBezTo>
                <a:cubicBezTo>
                  <a:pt x="1719694" y="596271"/>
                  <a:pt x="1713467" y="590436"/>
                  <a:pt x="1713467" y="583873"/>
                </a:cubicBezTo>
                <a:cubicBezTo>
                  <a:pt x="1713467" y="575851"/>
                  <a:pt x="1719694" y="570017"/>
                  <a:pt x="1728257" y="570017"/>
                </a:cubicBezTo>
                <a:close/>
                <a:moveTo>
                  <a:pt x="1657426" y="570017"/>
                </a:moveTo>
                <a:cubicBezTo>
                  <a:pt x="1665210" y="570017"/>
                  <a:pt x="1672218" y="575851"/>
                  <a:pt x="1672218" y="583873"/>
                </a:cubicBezTo>
                <a:cubicBezTo>
                  <a:pt x="1672218" y="590436"/>
                  <a:pt x="1665210" y="596271"/>
                  <a:pt x="1657426" y="596271"/>
                </a:cubicBezTo>
                <a:cubicBezTo>
                  <a:pt x="1648867" y="596271"/>
                  <a:pt x="1642647" y="590436"/>
                  <a:pt x="1642647" y="583873"/>
                </a:cubicBezTo>
                <a:cubicBezTo>
                  <a:pt x="1642647" y="575851"/>
                  <a:pt x="1648867" y="570017"/>
                  <a:pt x="1657426" y="570017"/>
                </a:cubicBezTo>
                <a:close/>
                <a:moveTo>
                  <a:pt x="1582294" y="570017"/>
                </a:moveTo>
                <a:cubicBezTo>
                  <a:pt x="1589587" y="570017"/>
                  <a:pt x="1594694" y="575851"/>
                  <a:pt x="1594694" y="583873"/>
                </a:cubicBezTo>
                <a:cubicBezTo>
                  <a:pt x="1594694" y="590436"/>
                  <a:pt x="1589587" y="596271"/>
                  <a:pt x="1582294" y="596271"/>
                </a:cubicBezTo>
                <a:cubicBezTo>
                  <a:pt x="1574271" y="596271"/>
                  <a:pt x="1568438" y="590436"/>
                  <a:pt x="1568438" y="583873"/>
                </a:cubicBezTo>
                <a:cubicBezTo>
                  <a:pt x="1568438" y="575851"/>
                  <a:pt x="1574271" y="570017"/>
                  <a:pt x="1582294" y="570017"/>
                </a:cubicBezTo>
                <a:close/>
                <a:moveTo>
                  <a:pt x="1512190" y="570017"/>
                </a:moveTo>
                <a:cubicBezTo>
                  <a:pt x="1518025" y="570017"/>
                  <a:pt x="1523859" y="575851"/>
                  <a:pt x="1523859" y="583873"/>
                </a:cubicBezTo>
                <a:cubicBezTo>
                  <a:pt x="1523859" y="590436"/>
                  <a:pt x="1518025" y="596271"/>
                  <a:pt x="1512190" y="596271"/>
                </a:cubicBezTo>
                <a:cubicBezTo>
                  <a:pt x="1504169" y="596271"/>
                  <a:pt x="1497607" y="590436"/>
                  <a:pt x="1497607" y="583873"/>
                </a:cubicBezTo>
                <a:cubicBezTo>
                  <a:pt x="1497607" y="575851"/>
                  <a:pt x="1504169" y="570017"/>
                  <a:pt x="1512190" y="570017"/>
                </a:cubicBezTo>
                <a:close/>
                <a:moveTo>
                  <a:pt x="1440623" y="570017"/>
                </a:moveTo>
                <a:cubicBezTo>
                  <a:pt x="1447188" y="570017"/>
                  <a:pt x="1453020" y="575851"/>
                  <a:pt x="1453020" y="583873"/>
                </a:cubicBezTo>
                <a:cubicBezTo>
                  <a:pt x="1453020" y="590436"/>
                  <a:pt x="1447188" y="596271"/>
                  <a:pt x="1440623" y="596271"/>
                </a:cubicBezTo>
                <a:cubicBezTo>
                  <a:pt x="1433333" y="596271"/>
                  <a:pt x="1426771" y="590436"/>
                  <a:pt x="1426771" y="583873"/>
                </a:cubicBezTo>
                <a:cubicBezTo>
                  <a:pt x="1426771" y="575851"/>
                  <a:pt x="1433333" y="570017"/>
                  <a:pt x="1440623" y="570017"/>
                </a:cubicBezTo>
                <a:close/>
                <a:moveTo>
                  <a:pt x="1368341" y="570017"/>
                </a:moveTo>
                <a:cubicBezTo>
                  <a:pt x="1376363" y="570017"/>
                  <a:pt x="1382194" y="575851"/>
                  <a:pt x="1382194" y="583873"/>
                </a:cubicBezTo>
                <a:cubicBezTo>
                  <a:pt x="1382194" y="590436"/>
                  <a:pt x="1376363" y="596271"/>
                  <a:pt x="1368341" y="596271"/>
                </a:cubicBezTo>
                <a:cubicBezTo>
                  <a:pt x="1362508" y="596271"/>
                  <a:pt x="1355945" y="590436"/>
                  <a:pt x="1355945" y="583873"/>
                </a:cubicBezTo>
                <a:cubicBezTo>
                  <a:pt x="1355945" y="575851"/>
                  <a:pt x="1362508" y="570017"/>
                  <a:pt x="1368341" y="570017"/>
                </a:cubicBezTo>
                <a:close/>
                <a:moveTo>
                  <a:pt x="1297515" y="570017"/>
                </a:moveTo>
                <a:cubicBezTo>
                  <a:pt x="1305535" y="570017"/>
                  <a:pt x="1311369" y="575851"/>
                  <a:pt x="1311369" y="583873"/>
                </a:cubicBezTo>
                <a:cubicBezTo>
                  <a:pt x="1311369" y="590436"/>
                  <a:pt x="1305535" y="596271"/>
                  <a:pt x="1297515" y="596271"/>
                </a:cubicBezTo>
                <a:cubicBezTo>
                  <a:pt x="1291680" y="596271"/>
                  <a:pt x="1285116" y="590436"/>
                  <a:pt x="1285116" y="583873"/>
                </a:cubicBezTo>
                <a:cubicBezTo>
                  <a:pt x="1285116" y="575851"/>
                  <a:pt x="1289492" y="570017"/>
                  <a:pt x="1297515" y="570017"/>
                </a:cubicBezTo>
                <a:close/>
                <a:moveTo>
                  <a:pt x="1226680" y="570017"/>
                </a:moveTo>
                <a:cubicBezTo>
                  <a:pt x="1233973" y="570017"/>
                  <a:pt x="1240537" y="575851"/>
                  <a:pt x="1240537" y="583873"/>
                </a:cubicBezTo>
                <a:cubicBezTo>
                  <a:pt x="1240537" y="590436"/>
                  <a:pt x="1233973" y="596271"/>
                  <a:pt x="1226680" y="596271"/>
                </a:cubicBezTo>
                <a:cubicBezTo>
                  <a:pt x="1218671" y="596271"/>
                  <a:pt x="1214296" y="590436"/>
                  <a:pt x="1214296" y="583873"/>
                </a:cubicBezTo>
                <a:cubicBezTo>
                  <a:pt x="1214296" y="575851"/>
                  <a:pt x="1218671" y="570017"/>
                  <a:pt x="1226680" y="570017"/>
                </a:cubicBezTo>
                <a:close/>
                <a:moveTo>
                  <a:pt x="1154879" y="570017"/>
                </a:moveTo>
                <a:cubicBezTo>
                  <a:pt x="1162662" y="570017"/>
                  <a:pt x="1169669" y="575851"/>
                  <a:pt x="1169669" y="583873"/>
                </a:cubicBezTo>
                <a:cubicBezTo>
                  <a:pt x="1169669" y="590436"/>
                  <a:pt x="1162662" y="596271"/>
                  <a:pt x="1154879" y="596271"/>
                </a:cubicBezTo>
                <a:cubicBezTo>
                  <a:pt x="1146319" y="596271"/>
                  <a:pt x="1140090" y="590436"/>
                  <a:pt x="1140090" y="583873"/>
                </a:cubicBezTo>
                <a:cubicBezTo>
                  <a:pt x="1140090" y="575851"/>
                  <a:pt x="1146319" y="570017"/>
                  <a:pt x="1154879" y="570017"/>
                </a:cubicBezTo>
                <a:close/>
                <a:moveTo>
                  <a:pt x="1084053" y="570017"/>
                </a:moveTo>
                <a:cubicBezTo>
                  <a:pt x="1091836" y="570017"/>
                  <a:pt x="1098840" y="575851"/>
                  <a:pt x="1098840" y="583873"/>
                </a:cubicBezTo>
                <a:cubicBezTo>
                  <a:pt x="1098840" y="590436"/>
                  <a:pt x="1091836" y="596271"/>
                  <a:pt x="1084053" y="596271"/>
                </a:cubicBezTo>
                <a:cubicBezTo>
                  <a:pt x="1075487" y="596271"/>
                  <a:pt x="1069263" y="590436"/>
                  <a:pt x="1069263" y="583873"/>
                </a:cubicBezTo>
                <a:cubicBezTo>
                  <a:pt x="1069263" y="575851"/>
                  <a:pt x="1075487" y="570017"/>
                  <a:pt x="1084053" y="570017"/>
                </a:cubicBezTo>
                <a:close/>
                <a:moveTo>
                  <a:pt x="1013010" y="570017"/>
                </a:moveTo>
                <a:cubicBezTo>
                  <a:pt x="1020306" y="570017"/>
                  <a:pt x="1024682" y="575851"/>
                  <a:pt x="1024682" y="583873"/>
                </a:cubicBezTo>
                <a:cubicBezTo>
                  <a:pt x="1024682" y="590436"/>
                  <a:pt x="1020306" y="596271"/>
                  <a:pt x="1013010" y="596271"/>
                </a:cubicBezTo>
                <a:cubicBezTo>
                  <a:pt x="1004991" y="596271"/>
                  <a:pt x="998433" y="590436"/>
                  <a:pt x="998433" y="583873"/>
                </a:cubicBezTo>
                <a:cubicBezTo>
                  <a:pt x="998433" y="575851"/>
                  <a:pt x="1004991" y="570017"/>
                  <a:pt x="1013010" y="570017"/>
                </a:cubicBezTo>
                <a:close/>
                <a:moveTo>
                  <a:pt x="941458" y="570017"/>
                </a:moveTo>
                <a:cubicBezTo>
                  <a:pt x="948019" y="570017"/>
                  <a:pt x="953857" y="575851"/>
                  <a:pt x="953857" y="583873"/>
                </a:cubicBezTo>
                <a:cubicBezTo>
                  <a:pt x="953857" y="590436"/>
                  <a:pt x="948019" y="596271"/>
                  <a:pt x="941458" y="596271"/>
                </a:cubicBezTo>
                <a:cubicBezTo>
                  <a:pt x="934166" y="596271"/>
                  <a:pt x="927601" y="590436"/>
                  <a:pt x="927601" y="583873"/>
                </a:cubicBezTo>
                <a:cubicBezTo>
                  <a:pt x="927601" y="575851"/>
                  <a:pt x="934166" y="570017"/>
                  <a:pt x="941458" y="570017"/>
                </a:cubicBezTo>
                <a:close/>
                <a:moveTo>
                  <a:pt x="870626" y="570017"/>
                </a:moveTo>
                <a:cubicBezTo>
                  <a:pt x="877192" y="570017"/>
                  <a:pt x="883027" y="575851"/>
                  <a:pt x="883027" y="583873"/>
                </a:cubicBezTo>
                <a:cubicBezTo>
                  <a:pt x="883027" y="590436"/>
                  <a:pt x="877192" y="596271"/>
                  <a:pt x="870626" y="596271"/>
                </a:cubicBezTo>
                <a:cubicBezTo>
                  <a:pt x="863333" y="596271"/>
                  <a:pt x="856772" y="591895"/>
                  <a:pt x="856772" y="583873"/>
                </a:cubicBezTo>
                <a:cubicBezTo>
                  <a:pt x="856772" y="575851"/>
                  <a:pt x="863333" y="570017"/>
                  <a:pt x="870626" y="570017"/>
                </a:cubicBezTo>
                <a:close/>
                <a:moveTo>
                  <a:pt x="798340" y="570017"/>
                </a:moveTo>
                <a:cubicBezTo>
                  <a:pt x="806360" y="570017"/>
                  <a:pt x="812193" y="575851"/>
                  <a:pt x="812193" y="583873"/>
                </a:cubicBezTo>
                <a:cubicBezTo>
                  <a:pt x="812193" y="591895"/>
                  <a:pt x="806360" y="596271"/>
                  <a:pt x="798340" y="596271"/>
                </a:cubicBezTo>
                <a:cubicBezTo>
                  <a:pt x="792504" y="596271"/>
                  <a:pt x="785941" y="591895"/>
                  <a:pt x="785941" y="583873"/>
                </a:cubicBezTo>
                <a:cubicBezTo>
                  <a:pt x="785941" y="575851"/>
                  <a:pt x="792504" y="570017"/>
                  <a:pt x="798340" y="570017"/>
                </a:cubicBezTo>
                <a:close/>
                <a:moveTo>
                  <a:pt x="724135" y="570017"/>
                </a:moveTo>
                <a:cubicBezTo>
                  <a:pt x="731429" y="570017"/>
                  <a:pt x="737991" y="575851"/>
                  <a:pt x="737991" y="583873"/>
                </a:cubicBezTo>
                <a:cubicBezTo>
                  <a:pt x="737991" y="591895"/>
                  <a:pt x="731429" y="596271"/>
                  <a:pt x="724135" y="596271"/>
                </a:cubicBezTo>
                <a:cubicBezTo>
                  <a:pt x="717571" y="596271"/>
                  <a:pt x="711737" y="591895"/>
                  <a:pt x="711737" y="583873"/>
                </a:cubicBezTo>
                <a:cubicBezTo>
                  <a:pt x="711737" y="575851"/>
                  <a:pt x="717571" y="570017"/>
                  <a:pt x="724135" y="570017"/>
                </a:cubicBezTo>
                <a:close/>
                <a:moveTo>
                  <a:pt x="653306" y="570017"/>
                </a:moveTo>
                <a:cubicBezTo>
                  <a:pt x="660598" y="570017"/>
                  <a:pt x="667161" y="575851"/>
                  <a:pt x="667161" y="583873"/>
                </a:cubicBezTo>
                <a:cubicBezTo>
                  <a:pt x="667161" y="591895"/>
                  <a:pt x="660598" y="596271"/>
                  <a:pt x="653306" y="596271"/>
                </a:cubicBezTo>
                <a:cubicBezTo>
                  <a:pt x="645286" y="596271"/>
                  <a:pt x="640910" y="591895"/>
                  <a:pt x="640910" y="583873"/>
                </a:cubicBezTo>
                <a:cubicBezTo>
                  <a:pt x="640910" y="575851"/>
                  <a:pt x="645286" y="570017"/>
                  <a:pt x="653306" y="570017"/>
                </a:cubicBezTo>
                <a:close/>
                <a:moveTo>
                  <a:pt x="584865" y="570017"/>
                </a:moveTo>
                <a:cubicBezTo>
                  <a:pt x="592648" y="570017"/>
                  <a:pt x="599654" y="575851"/>
                  <a:pt x="599654" y="583873"/>
                </a:cubicBezTo>
                <a:cubicBezTo>
                  <a:pt x="599654" y="591895"/>
                  <a:pt x="592648" y="596271"/>
                  <a:pt x="584865" y="596271"/>
                </a:cubicBezTo>
                <a:cubicBezTo>
                  <a:pt x="576307" y="596271"/>
                  <a:pt x="570076" y="591895"/>
                  <a:pt x="570076" y="583873"/>
                </a:cubicBezTo>
                <a:cubicBezTo>
                  <a:pt x="570076" y="575851"/>
                  <a:pt x="576307" y="570017"/>
                  <a:pt x="584865" y="570017"/>
                </a:cubicBezTo>
                <a:close/>
                <a:moveTo>
                  <a:pt x="513668" y="570017"/>
                </a:moveTo>
                <a:cubicBezTo>
                  <a:pt x="522015" y="570017"/>
                  <a:pt x="528846" y="575851"/>
                  <a:pt x="528846" y="583873"/>
                </a:cubicBezTo>
                <a:cubicBezTo>
                  <a:pt x="528846" y="591895"/>
                  <a:pt x="522015" y="596271"/>
                  <a:pt x="513668" y="596271"/>
                </a:cubicBezTo>
                <a:cubicBezTo>
                  <a:pt x="506076" y="596271"/>
                  <a:pt x="499248" y="591895"/>
                  <a:pt x="499248" y="583873"/>
                </a:cubicBezTo>
                <a:cubicBezTo>
                  <a:pt x="499248" y="575851"/>
                  <a:pt x="506076" y="570017"/>
                  <a:pt x="513668" y="570017"/>
                </a:cubicBezTo>
                <a:close/>
                <a:moveTo>
                  <a:pt x="439833" y="570017"/>
                </a:moveTo>
                <a:cubicBezTo>
                  <a:pt x="448394" y="570017"/>
                  <a:pt x="454623" y="575851"/>
                  <a:pt x="454623" y="583873"/>
                </a:cubicBezTo>
                <a:cubicBezTo>
                  <a:pt x="454623" y="591895"/>
                  <a:pt x="448394" y="596271"/>
                  <a:pt x="439833" y="596271"/>
                </a:cubicBezTo>
                <a:cubicBezTo>
                  <a:pt x="432049" y="596271"/>
                  <a:pt x="425044" y="591895"/>
                  <a:pt x="425044" y="583873"/>
                </a:cubicBezTo>
                <a:cubicBezTo>
                  <a:pt x="425044" y="575851"/>
                  <a:pt x="432049" y="570017"/>
                  <a:pt x="439833" y="570017"/>
                </a:cubicBezTo>
                <a:close/>
                <a:moveTo>
                  <a:pt x="368072" y="570017"/>
                </a:moveTo>
                <a:cubicBezTo>
                  <a:pt x="376089" y="570017"/>
                  <a:pt x="380467" y="575851"/>
                  <a:pt x="380467" y="583873"/>
                </a:cubicBezTo>
                <a:cubicBezTo>
                  <a:pt x="380467" y="591895"/>
                  <a:pt x="376089" y="596271"/>
                  <a:pt x="368072" y="596271"/>
                </a:cubicBezTo>
                <a:cubicBezTo>
                  <a:pt x="360778" y="596271"/>
                  <a:pt x="354211" y="591895"/>
                  <a:pt x="354211" y="583873"/>
                </a:cubicBezTo>
                <a:cubicBezTo>
                  <a:pt x="354211" y="575851"/>
                  <a:pt x="360778" y="570017"/>
                  <a:pt x="368072" y="570017"/>
                </a:cubicBezTo>
                <a:close/>
                <a:moveTo>
                  <a:pt x="3081772" y="499186"/>
                </a:moveTo>
                <a:cubicBezTo>
                  <a:pt x="3089064" y="499186"/>
                  <a:pt x="3095622" y="503561"/>
                  <a:pt x="3095622" y="511583"/>
                </a:cubicBezTo>
                <a:cubicBezTo>
                  <a:pt x="3095622" y="518876"/>
                  <a:pt x="3089064" y="525440"/>
                  <a:pt x="3081772" y="525440"/>
                </a:cubicBezTo>
                <a:cubicBezTo>
                  <a:pt x="3073748" y="525440"/>
                  <a:pt x="3069372" y="518876"/>
                  <a:pt x="3069372" y="511583"/>
                </a:cubicBezTo>
                <a:cubicBezTo>
                  <a:pt x="3069372" y="503561"/>
                  <a:pt x="3073748" y="499186"/>
                  <a:pt x="3081772" y="499186"/>
                </a:cubicBezTo>
                <a:close/>
                <a:moveTo>
                  <a:pt x="3013712" y="499186"/>
                </a:moveTo>
                <a:cubicBezTo>
                  <a:pt x="3021305" y="499186"/>
                  <a:pt x="3028135" y="503561"/>
                  <a:pt x="3028135" y="511583"/>
                </a:cubicBezTo>
                <a:cubicBezTo>
                  <a:pt x="3028135" y="518876"/>
                  <a:pt x="3021305" y="525440"/>
                  <a:pt x="3013712" y="525440"/>
                </a:cubicBezTo>
                <a:cubicBezTo>
                  <a:pt x="3005368" y="525440"/>
                  <a:pt x="2998539" y="518876"/>
                  <a:pt x="2998539" y="511583"/>
                </a:cubicBezTo>
                <a:cubicBezTo>
                  <a:pt x="2998539" y="503561"/>
                  <a:pt x="3005368" y="499186"/>
                  <a:pt x="3013712" y="499186"/>
                </a:cubicBezTo>
                <a:close/>
                <a:moveTo>
                  <a:pt x="2942491" y="499186"/>
                </a:moveTo>
                <a:cubicBezTo>
                  <a:pt x="2951052" y="499186"/>
                  <a:pt x="2957285" y="503561"/>
                  <a:pt x="2957285" y="511583"/>
                </a:cubicBezTo>
                <a:cubicBezTo>
                  <a:pt x="2957285" y="518876"/>
                  <a:pt x="2951052" y="525440"/>
                  <a:pt x="2942491" y="525440"/>
                </a:cubicBezTo>
                <a:cubicBezTo>
                  <a:pt x="2934710" y="525440"/>
                  <a:pt x="2927705" y="518876"/>
                  <a:pt x="2927705" y="511583"/>
                </a:cubicBezTo>
                <a:cubicBezTo>
                  <a:pt x="2927705" y="503561"/>
                  <a:pt x="2934710" y="499186"/>
                  <a:pt x="2942491" y="499186"/>
                </a:cubicBezTo>
                <a:close/>
                <a:moveTo>
                  <a:pt x="2868291" y="499186"/>
                </a:moveTo>
                <a:cubicBezTo>
                  <a:pt x="2876856" y="499186"/>
                  <a:pt x="2883082" y="503561"/>
                  <a:pt x="2883082" y="511583"/>
                </a:cubicBezTo>
                <a:cubicBezTo>
                  <a:pt x="2883082" y="518876"/>
                  <a:pt x="2876856" y="525440"/>
                  <a:pt x="2868291" y="525440"/>
                </a:cubicBezTo>
                <a:cubicBezTo>
                  <a:pt x="2860509" y="525440"/>
                  <a:pt x="2853502" y="518876"/>
                  <a:pt x="2853502" y="511583"/>
                </a:cubicBezTo>
                <a:cubicBezTo>
                  <a:pt x="2853502" y="503561"/>
                  <a:pt x="2860509" y="499186"/>
                  <a:pt x="2868291" y="499186"/>
                </a:cubicBezTo>
                <a:close/>
                <a:moveTo>
                  <a:pt x="2796533" y="499186"/>
                </a:moveTo>
                <a:cubicBezTo>
                  <a:pt x="2804555" y="499186"/>
                  <a:pt x="2808931" y="503561"/>
                  <a:pt x="2808931" y="511583"/>
                </a:cubicBezTo>
                <a:cubicBezTo>
                  <a:pt x="2808931" y="518876"/>
                  <a:pt x="2804555" y="525440"/>
                  <a:pt x="2796533" y="525440"/>
                </a:cubicBezTo>
                <a:cubicBezTo>
                  <a:pt x="2789240" y="525440"/>
                  <a:pt x="2782678" y="518876"/>
                  <a:pt x="2782678" y="511583"/>
                </a:cubicBezTo>
                <a:cubicBezTo>
                  <a:pt x="2782678" y="503561"/>
                  <a:pt x="2789240" y="499186"/>
                  <a:pt x="2796533" y="499186"/>
                </a:cubicBezTo>
                <a:close/>
                <a:moveTo>
                  <a:pt x="2725695" y="499186"/>
                </a:moveTo>
                <a:cubicBezTo>
                  <a:pt x="2731532" y="499186"/>
                  <a:pt x="2738097" y="503561"/>
                  <a:pt x="2738097" y="511583"/>
                </a:cubicBezTo>
                <a:cubicBezTo>
                  <a:pt x="2738097" y="518876"/>
                  <a:pt x="2731532" y="525440"/>
                  <a:pt x="2725695" y="525440"/>
                </a:cubicBezTo>
                <a:cubicBezTo>
                  <a:pt x="2717681" y="525440"/>
                  <a:pt x="2711846" y="518876"/>
                  <a:pt x="2711846" y="511583"/>
                </a:cubicBezTo>
                <a:cubicBezTo>
                  <a:pt x="2711846" y="503561"/>
                  <a:pt x="2717681" y="499186"/>
                  <a:pt x="2725695" y="499186"/>
                </a:cubicBezTo>
                <a:close/>
                <a:moveTo>
                  <a:pt x="2654870" y="499186"/>
                </a:moveTo>
                <a:cubicBezTo>
                  <a:pt x="2660705" y="499186"/>
                  <a:pt x="2667266" y="503561"/>
                  <a:pt x="2667266" y="511583"/>
                </a:cubicBezTo>
                <a:cubicBezTo>
                  <a:pt x="2667266" y="518876"/>
                  <a:pt x="2660705" y="525440"/>
                  <a:pt x="2654870" y="525440"/>
                </a:cubicBezTo>
                <a:cubicBezTo>
                  <a:pt x="2646847" y="525440"/>
                  <a:pt x="2641013" y="518876"/>
                  <a:pt x="2641013" y="511583"/>
                </a:cubicBezTo>
                <a:cubicBezTo>
                  <a:pt x="2641013" y="503561"/>
                  <a:pt x="2646847" y="499186"/>
                  <a:pt x="2654870" y="499186"/>
                </a:cubicBezTo>
                <a:close/>
                <a:moveTo>
                  <a:pt x="2582580" y="499186"/>
                </a:moveTo>
                <a:cubicBezTo>
                  <a:pt x="2589873" y="499186"/>
                  <a:pt x="2596435" y="503561"/>
                  <a:pt x="2596435" y="511583"/>
                </a:cubicBezTo>
                <a:cubicBezTo>
                  <a:pt x="2596435" y="518876"/>
                  <a:pt x="2589873" y="525440"/>
                  <a:pt x="2582580" y="525440"/>
                </a:cubicBezTo>
                <a:cubicBezTo>
                  <a:pt x="2576018" y="525440"/>
                  <a:pt x="2570184" y="518876"/>
                  <a:pt x="2570184" y="511583"/>
                </a:cubicBezTo>
                <a:cubicBezTo>
                  <a:pt x="2570184" y="503561"/>
                  <a:pt x="2576018" y="499186"/>
                  <a:pt x="2582580" y="499186"/>
                </a:cubicBezTo>
                <a:close/>
                <a:moveTo>
                  <a:pt x="2511026" y="499186"/>
                </a:moveTo>
                <a:cubicBezTo>
                  <a:pt x="2519047" y="499186"/>
                  <a:pt x="2525610" y="503561"/>
                  <a:pt x="2525610" y="511583"/>
                </a:cubicBezTo>
                <a:cubicBezTo>
                  <a:pt x="2525610" y="518876"/>
                  <a:pt x="2519047" y="525440"/>
                  <a:pt x="2511026" y="525440"/>
                </a:cubicBezTo>
                <a:cubicBezTo>
                  <a:pt x="2505194" y="525440"/>
                  <a:pt x="2499361" y="518876"/>
                  <a:pt x="2499361" y="511583"/>
                </a:cubicBezTo>
                <a:cubicBezTo>
                  <a:pt x="2499361" y="503561"/>
                  <a:pt x="2503735" y="499186"/>
                  <a:pt x="2511026" y="499186"/>
                </a:cubicBezTo>
                <a:close/>
                <a:moveTo>
                  <a:pt x="2440924" y="499186"/>
                </a:moveTo>
                <a:cubicBezTo>
                  <a:pt x="2448944" y="499186"/>
                  <a:pt x="2454781" y="505020"/>
                  <a:pt x="2454781" y="511583"/>
                </a:cubicBezTo>
                <a:cubicBezTo>
                  <a:pt x="2454781" y="518876"/>
                  <a:pt x="2448944" y="525440"/>
                  <a:pt x="2440924" y="525440"/>
                </a:cubicBezTo>
                <a:cubicBezTo>
                  <a:pt x="2433632" y="525440"/>
                  <a:pt x="2428527" y="518876"/>
                  <a:pt x="2428527" y="511583"/>
                </a:cubicBezTo>
                <a:cubicBezTo>
                  <a:pt x="2428527" y="505020"/>
                  <a:pt x="2433632" y="499186"/>
                  <a:pt x="2440924" y="499186"/>
                </a:cubicBezTo>
                <a:close/>
                <a:moveTo>
                  <a:pt x="2369108" y="499186"/>
                </a:moveTo>
                <a:cubicBezTo>
                  <a:pt x="2377672" y="499186"/>
                  <a:pt x="2383898" y="505020"/>
                  <a:pt x="2383898" y="511583"/>
                </a:cubicBezTo>
                <a:cubicBezTo>
                  <a:pt x="2383898" y="518876"/>
                  <a:pt x="2377672" y="525440"/>
                  <a:pt x="2369108" y="525440"/>
                </a:cubicBezTo>
                <a:cubicBezTo>
                  <a:pt x="2361327" y="525440"/>
                  <a:pt x="2354319" y="518876"/>
                  <a:pt x="2354319" y="511583"/>
                </a:cubicBezTo>
                <a:cubicBezTo>
                  <a:pt x="2354319" y="505020"/>
                  <a:pt x="2361327" y="499186"/>
                  <a:pt x="2369108" y="499186"/>
                </a:cubicBezTo>
                <a:close/>
                <a:moveTo>
                  <a:pt x="2298278" y="499186"/>
                </a:moveTo>
                <a:cubicBezTo>
                  <a:pt x="2306839" y="499186"/>
                  <a:pt x="2313066" y="505020"/>
                  <a:pt x="2313066" y="511583"/>
                </a:cubicBezTo>
                <a:cubicBezTo>
                  <a:pt x="2313066" y="518876"/>
                  <a:pt x="2306839" y="525440"/>
                  <a:pt x="2298278" y="525440"/>
                </a:cubicBezTo>
                <a:cubicBezTo>
                  <a:pt x="2290494" y="525440"/>
                  <a:pt x="2283488" y="518876"/>
                  <a:pt x="2283488" y="511583"/>
                </a:cubicBezTo>
                <a:cubicBezTo>
                  <a:pt x="2283488" y="505020"/>
                  <a:pt x="2290494" y="499186"/>
                  <a:pt x="2298278" y="499186"/>
                </a:cubicBezTo>
                <a:close/>
                <a:moveTo>
                  <a:pt x="2226514" y="499186"/>
                </a:moveTo>
                <a:cubicBezTo>
                  <a:pt x="2234534" y="499186"/>
                  <a:pt x="2238914" y="505020"/>
                  <a:pt x="2238914" y="511583"/>
                </a:cubicBezTo>
                <a:cubicBezTo>
                  <a:pt x="2238914" y="518876"/>
                  <a:pt x="2234534" y="525440"/>
                  <a:pt x="2226514" y="525440"/>
                </a:cubicBezTo>
                <a:cubicBezTo>
                  <a:pt x="2218492" y="525440"/>
                  <a:pt x="2212655" y="518876"/>
                  <a:pt x="2212655" y="511583"/>
                </a:cubicBezTo>
                <a:cubicBezTo>
                  <a:pt x="2212655" y="505020"/>
                  <a:pt x="2218492" y="499186"/>
                  <a:pt x="2226514" y="499186"/>
                </a:cubicBezTo>
                <a:close/>
                <a:moveTo>
                  <a:pt x="2155680" y="499186"/>
                </a:moveTo>
                <a:cubicBezTo>
                  <a:pt x="2161514" y="499186"/>
                  <a:pt x="2168079" y="505020"/>
                  <a:pt x="2168079" y="511583"/>
                </a:cubicBezTo>
                <a:cubicBezTo>
                  <a:pt x="2168079" y="518876"/>
                  <a:pt x="2161514" y="525440"/>
                  <a:pt x="2155680" y="525440"/>
                </a:cubicBezTo>
                <a:cubicBezTo>
                  <a:pt x="2147658" y="525440"/>
                  <a:pt x="2141823" y="518876"/>
                  <a:pt x="2141823" y="511583"/>
                </a:cubicBezTo>
                <a:cubicBezTo>
                  <a:pt x="2141823" y="505020"/>
                  <a:pt x="2147658" y="499186"/>
                  <a:pt x="2155680" y="499186"/>
                </a:cubicBezTo>
                <a:close/>
                <a:moveTo>
                  <a:pt x="2084846" y="499186"/>
                </a:moveTo>
                <a:cubicBezTo>
                  <a:pt x="2090680" y="499186"/>
                  <a:pt x="2097246" y="505020"/>
                  <a:pt x="2097246" y="511583"/>
                </a:cubicBezTo>
                <a:cubicBezTo>
                  <a:pt x="2097246" y="518876"/>
                  <a:pt x="2090680" y="525440"/>
                  <a:pt x="2084846" y="525440"/>
                </a:cubicBezTo>
                <a:cubicBezTo>
                  <a:pt x="2076824" y="525440"/>
                  <a:pt x="2070991" y="518876"/>
                  <a:pt x="2070991" y="511583"/>
                </a:cubicBezTo>
                <a:cubicBezTo>
                  <a:pt x="2070991" y="505020"/>
                  <a:pt x="2076824" y="499186"/>
                  <a:pt x="2084846" y="499186"/>
                </a:cubicBezTo>
                <a:close/>
                <a:moveTo>
                  <a:pt x="2011831" y="499186"/>
                </a:moveTo>
                <a:cubicBezTo>
                  <a:pt x="2019855" y="499186"/>
                  <a:pt x="2026416" y="505020"/>
                  <a:pt x="2026416" y="511583"/>
                </a:cubicBezTo>
                <a:cubicBezTo>
                  <a:pt x="2026416" y="518876"/>
                  <a:pt x="2019855" y="525440"/>
                  <a:pt x="2011831" y="525440"/>
                </a:cubicBezTo>
                <a:cubicBezTo>
                  <a:pt x="2005998" y="525440"/>
                  <a:pt x="2000165" y="518876"/>
                  <a:pt x="2000165" y="511583"/>
                </a:cubicBezTo>
                <a:cubicBezTo>
                  <a:pt x="2000165" y="505020"/>
                  <a:pt x="2005998" y="499186"/>
                  <a:pt x="2011831" y="499186"/>
                </a:cubicBezTo>
                <a:close/>
                <a:moveTo>
                  <a:pt x="1938362" y="499186"/>
                </a:moveTo>
                <a:cubicBezTo>
                  <a:pt x="1946382" y="499186"/>
                  <a:pt x="1952216" y="505020"/>
                  <a:pt x="1952216" y="511583"/>
                </a:cubicBezTo>
                <a:cubicBezTo>
                  <a:pt x="1952216" y="518876"/>
                  <a:pt x="1946382" y="525440"/>
                  <a:pt x="1938362" y="525440"/>
                </a:cubicBezTo>
                <a:cubicBezTo>
                  <a:pt x="1932525" y="525440"/>
                  <a:pt x="1925965" y="518876"/>
                  <a:pt x="1925965" y="511583"/>
                </a:cubicBezTo>
                <a:cubicBezTo>
                  <a:pt x="1925965" y="505020"/>
                  <a:pt x="1932525" y="499186"/>
                  <a:pt x="1938362" y="499186"/>
                </a:cubicBezTo>
                <a:close/>
                <a:moveTo>
                  <a:pt x="1867525" y="499186"/>
                </a:moveTo>
                <a:cubicBezTo>
                  <a:pt x="1875547" y="499186"/>
                  <a:pt x="1881384" y="505020"/>
                  <a:pt x="1881384" y="511583"/>
                </a:cubicBezTo>
                <a:cubicBezTo>
                  <a:pt x="1881384" y="518876"/>
                  <a:pt x="1875547" y="525440"/>
                  <a:pt x="1867525" y="525440"/>
                </a:cubicBezTo>
                <a:cubicBezTo>
                  <a:pt x="1860232" y="525440"/>
                  <a:pt x="1855126" y="518876"/>
                  <a:pt x="1855126" y="511583"/>
                </a:cubicBezTo>
                <a:cubicBezTo>
                  <a:pt x="1855126" y="505020"/>
                  <a:pt x="1860232" y="499186"/>
                  <a:pt x="1867525" y="499186"/>
                </a:cubicBezTo>
                <a:close/>
                <a:moveTo>
                  <a:pt x="1799085" y="499186"/>
                </a:moveTo>
                <a:cubicBezTo>
                  <a:pt x="1807644" y="499186"/>
                  <a:pt x="1813871" y="505020"/>
                  <a:pt x="1813871" y="511583"/>
                </a:cubicBezTo>
                <a:cubicBezTo>
                  <a:pt x="1813871" y="518876"/>
                  <a:pt x="1807644" y="525440"/>
                  <a:pt x="1799085" y="525440"/>
                </a:cubicBezTo>
                <a:cubicBezTo>
                  <a:pt x="1790521" y="525440"/>
                  <a:pt x="1784295" y="518876"/>
                  <a:pt x="1784295" y="511583"/>
                </a:cubicBezTo>
                <a:cubicBezTo>
                  <a:pt x="1784295" y="505020"/>
                  <a:pt x="1790521" y="499186"/>
                  <a:pt x="1799085" y="499186"/>
                </a:cubicBezTo>
                <a:close/>
                <a:moveTo>
                  <a:pt x="1728257" y="499186"/>
                </a:moveTo>
                <a:cubicBezTo>
                  <a:pt x="1736822" y="499186"/>
                  <a:pt x="1743046" y="505020"/>
                  <a:pt x="1743046" y="511583"/>
                </a:cubicBezTo>
                <a:cubicBezTo>
                  <a:pt x="1743046" y="518876"/>
                  <a:pt x="1736822" y="525440"/>
                  <a:pt x="1728257" y="525440"/>
                </a:cubicBezTo>
                <a:cubicBezTo>
                  <a:pt x="1719694" y="525440"/>
                  <a:pt x="1713469" y="518876"/>
                  <a:pt x="1713469" y="511583"/>
                </a:cubicBezTo>
                <a:cubicBezTo>
                  <a:pt x="1713469" y="505020"/>
                  <a:pt x="1719694" y="499186"/>
                  <a:pt x="1728257" y="499186"/>
                </a:cubicBezTo>
                <a:close/>
                <a:moveTo>
                  <a:pt x="1657426" y="499186"/>
                </a:moveTo>
                <a:cubicBezTo>
                  <a:pt x="1665210" y="499186"/>
                  <a:pt x="1672218" y="505020"/>
                  <a:pt x="1672218" y="511583"/>
                </a:cubicBezTo>
                <a:cubicBezTo>
                  <a:pt x="1672218" y="518876"/>
                  <a:pt x="1665210" y="525440"/>
                  <a:pt x="1657426" y="525440"/>
                </a:cubicBezTo>
                <a:cubicBezTo>
                  <a:pt x="1648867" y="525440"/>
                  <a:pt x="1642647" y="518876"/>
                  <a:pt x="1642647" y="511583"/>
                </a:cubicBezTo>
                <a:cubicBezTo>
                  <a:pt x="1642647" y="505020"/>
                  <a:pt x="1648867" y="499186"/>
                  <a:pt x="1657426" y="499186"/>
                </a:cubicBezTo>
                <a:close/>
                <a:moveTo>
                  <a:pt x="1582294" y="499186"/>
                </a:moveTo>
                <a:cubicBezTo>
                  <a:pt x="1589590" y="499186"/>
                  <a:pt x="1594694" y="505020"/>
                  <a:pt x="1594694" y="511583"/>
                </a:cubicBezTo>
                <a:cubicBezTo>
                  <a:pt x="1594694" y="518876"/>
                  <a:pt x="1589590" y="525440"/>
                  <a:pt x="1582294" y="525440"/>
                </a:cubicBezTo>
                <a:cubicBezTo>
                  <a:pt x="1574271" y="525440"/>
                  <a:pt x="1568438" y="518876"/>
                  <a:pt x="1568438" y="511583"/>
                </a:cubicBezTo>
                <a:cubicBezTo>
                  <a:pt x="1568438" y="505020"/>
                  <a:pt x="1574271" y="499186"/>
                  <a:pt x="1582294" y="499186"/>
                </a:cubicBezTo>
                <a:close/>
                <a:moveTo>
                  <a:pt x="1512192" y="499186"/>
                </a:moveTo>
                <a:cubicBezTo>
                  <a:pt x="1518025" y="499186"/>
                  <a:pt x="1523862" y="505020"/>
                  <a:pt x="1523862" y="511583"/>
                </a:cubicBezTo>
                <a:cubicBezTo>
                  <a:pt x="1523862" y="518876"/>
                  <a:pt x="1518025" y="525440"/>
                  <a:pt x="1512192" y="525440"/>
                </a:cubicBezTo>
                <a:cubicBezTo>
                  <a:pt x="1504169" y="525440"/>
                  <a:pt x="1497607" y="518876"/>
                  <a:pt x="1497607" y="511583"/>
                </a:cubicBezTo>
                <a:cubicBezTo>
                  <a:pt x="1497607" y="505020"/>
                  <a:pt x="1504169" y="499186"/>
                  <a:pt x="1512192" y="499186"/>
                </a:cubicBezTo>
                <a:close/>
                <a:moveTo>
                  <a:pt x="1440623" y="499186"/>
                </a:moveTo>
                <a:cubicBezTo>
                  <a:pt x="1447188" y="499186"/>
                  <a:pt x="1453023" y="505020"/>
                  <a:pt x="1453023" y="511583"/>
                </a:cubicBezTo>
                <a:cubicBezTo>
                  <a:pt x="1453023" y="518876"/>
                  <a:pt x="1447188" y="525440"/>
                  <a:pt x="1440623" y="525440"/>
                </a:cubicBezTo>
                <a:cubicBezTo>
                  <a:pt x="1433333" y="525440"/>
                  <a:pt x="1426771" y="518876"/>
                  <a:pt x="1426771" y="511583"/>
                </a:cubicBezTo>
                <a:cubicBezTo>
                  <a:pt x="1426771" y="505020"/>
                  <a:pt x="1433333" y="499186"/>
                  <a:pt x="1440623" y="499186"/>
                </a:cubicBezTo>
                <a:close/>
                <a:moveTo>
                  <a:pt x="1368341" y="499186"/>
                </a:moveTo>
                <a:cubicBezTo>
                  <a:pt x="1376363" y="499186"/>
                  <a:pt x="1382196" y="505020"/>
                  <a:pt x="1382196" y="511583"/>
                </a:cubicBezTo>
                <a:cubicBezTo>
                  <a:pt x="1382196" y="518876"/>
                  <a:pt x="1376363" y="525440"/>
                  <a:pt x="1368341" y="525440"/>
                </a:cubicBezTo>
                <a:cubicBezTo>
                  <a:pt x="1362508" y="525440"/>
                  <a:pt x="1355948" y="518876"/>
                  <a:pt x="1355948" y="511583"/>
                </a:cubicBezTo>
                <a:cubicBezTo>
                  <a:pt x="1355948" y="505020"/>
                  <a:pt x="1362508" y="499186"/>
                  <a:pt x="1368341" y="499186"/>
                </a:cubicBezTo>
                <a:close/>
                <a:moveTo>
                  <a:pt x="1297515" y="499186"/>
                </a:moveTo>
                <a:cubicBezTo>
                  <a:pt x="1305538" y="499186"/>
                  <a:pt x="1311369" y="505020"/>
                  <a:pt x="1311369" y="513042"/>
                </a:cubicBezTo>
                <a:cubicBezTo>
                  <a:pt x="1311369" y="518876"/>
                  <a:pt x="1305538" y="525440"/>
                  <a:pt x="1297515" y="525440"/>
                </a:cubicBezTo>
                <a:cubicBezTo>
                  <a:pt x="1289492" y="525440"/>
                  <a:pt x="1285118" y="518876"/>
                  <a:pt x="1285118" y="513042"/>
                </a:cubicBezTo>
                <a:cubicBezTo>
                  <a:pt x="1285118" y="505020"/>
                  <a:pt x="1289492" y="499186"/>
                  <a:pt x="1297515" y="499186"/>
                </a:cubicBezTo>
                <a:close/>
                <a:moveTo>
                  <a:pt x="1225700" y="499186"/>
                </a:moveTo>
                <a:cubicBezTo>
                  <a:pt x="1233484" y="499186"/>
                  <a:pt x="1240491" y="505020"/>
                  <a:pt x="1240491" y="513042"/>
                </a:cubicBezTo>
                <a:cubicBezTo>
                  <a:pt x="1240491" y="518876"/>
                  <a:pt x="1233484" y="525440"/>
                  <a:pt x="1225700" y="525440"/>
                </a:cubicBezTo>
                <a:cubicBezTo>
                  <a:pt x="1217156" y="525440"/>
                  <a:pt x="1210925" y="518876"/>
                  <a:pt x="1210925" y="513042"/>
                </a:cubicBezTo>
                <a:cubicBezTo>
                  <a:pt x="1210925" y="505020"/>
                  <a:pt x="1217156" y="499186"/>
                  <a:pt x="1225700" y="499186"/>
                </a:cubicBezTo>
                <a:close/>
                <a:moveTo>
                  <a:pt x="1154881" y="499186"/>
                </a:moveTo>
                <a:cubicBezTo>
                  <a:pt x="1162665" y="499186"/>
                  <a:pt x="1169669" y="505020"/>
                  <a:pt x="1169669" y="513042"/>
                </a:cubicBezTo>
                <a:cubicBezTo>
                  <a:pt x="1169669" y="518876"/>
                  <a:pt x="1162665" y="525440"/>
                  <a:pt x="1154881" y="525440"/>
                </a:cubicBezTo>
                <a:cubicBezTo>
                  <a:pt x="1146323" y="525440"/>
                  <a:pt x="1140095" y="518876"/>
                  <a:pt x="1140095" y="513042"/>
                </a:cubicBezTo>
                <a:cubicBezTo>
                  <a:pt x="1140095" y="505020"/>
                  <a:pt x="1146323" y="499186"/>
                  <a:pt x="1154881" y="499186"/>
                </a:cubicBezTo>
                <a:close/>
                <a:moveTo>
                  <a:pt x="1084053" y="499186"/>
                </a:moveTo>
                <a:cubicBezTo>
                  <a:pt x="1091836" y="499186"/>
                  <a:pt x="1098842" y="505020"/>
                  <a:pt x="1098842" y="513042"/>
                </a:cubicBezTo>
                <a:cubicBezTo>
                  <a:pt x="1098842" y="518876"/>
                  <a:pt x="1091836" y="525440"/>
                  <a:pt x="1084053" y="525440"/>
                </a:cubicBezTo>
                <a:cubicBezTo>
                  <a:pt x="1075492" y="525440"/>
                  <a:pt x="1069267" y="518876"/>
                  <a:pt x="1069267" y="513042"/>
                </a:cubicBezTo>
                <a:cubicBezTo>
                  <a:pt x="1069267" y="505020"/>
                  <a:pt x="1075492" y="499186"/>
                  <a:pt x="1084053" y="499186"/>
                </a:cubicBezTo>
                <a:close/>
                <a:moveTo>
                  <a:pt x="1013012" y="499186"/>
                </a:moveTo>
                <a:cubicBezTo>
                  <a:pt x="1020310" y="499186"/>
                  <a:pt x="1024685" y="505020"/>
                  <a:pt x="1024685" y="513042"/>
                </a:cubicBezTo>
                <a:cubicBezTo>
                  <a:pt x="1024685" y="518876"/>
                  <a:pt x="1020310" y="525440"/>
                  <a:pt x="1013012" y="525440"/>
                </a:cubicBezTo>
                <a:cubicBezTo>
                  <a:pt x="1004998" y="525440"/>
                  <a:pt x="998433" y="518876"/>
                  <a:pt x="998433" y="513042"/>
                </a:cubicBezTo>
                <a:cubicBezTo>
                  <a:pt x="998433" y="505020"/>
                  <a:pt x="1004998" y="499186"/>
                  <a:pt x="1013012" y="499186"/>
                </a:cubicBezTo>
                <a:close/>
                <a:moveTo>
                  <a:pt x="941461" y="499186"/>
                </a:moveTo>
                <a:cubicBezTo>
                  <a:pt x="948026" y="499186"/>
                  <a:pt x="953861" y="505020"/>
                  <a:pt x="953861" y="513042"/>
                </a:cubicBezTo>
                <a:cubicBezTo>
                  <a:pt x="953861" y="518876"/>
                  <a:pt x="948026" y="525440"/>
                  <a:pt x="941461" y="525440"/>
                </a:cubicBezTo>
                <a:cubicBezTo>
                  <a:pt x="934167" y="525440"/>
                  <a:pt x="927607" y="518876"/>
                  <a:pt x="927607" y="513042"/>
                </a:cubicBezTo>
                <a:cubicBezTo>
                  <a:pt x="927607" y="505020"/>
                  <a:pt x="934167" y="499186"/>
                  <a:pt x="941461" y="499186"/>
                </a:cubicBezTo>
                <a:close/>
                <a:moveTo>
                  <a:pt x="870626" y="499186"/>
                </a:moveTo>
                <a:cubicBezTo>
                  <a:pt x="877192" y="499186"/>
                  <a:pt x="883027" y="505020"/>
                  <a:pt x="883027" y="513042"/>
                </a:cubicBezTo>
                <a:cubicBezTo>
                  <a:pt x="883027" y="518876"/>
                  <a:pt x="877192" y="525440"/>
                  <a:pt x="870626" y="525440"/>
                </a:cubicBezTo>
                <a:cubicBezTo>
                  <a:pt x="863340" y="525440"/>
                  <a:pt x="856774" y="518876"/>
                  <a:pt x="856774" y="513042"/>
                </a:cubicBezTo>
                <a:cubicBezTo>
                  <a:pt x="856774" y="505020"/>
                  <a:pt x="863340" y="499186"/>
                  <a:pt x="870626" y="499186"/>
                </a:cubicBezTo>
                <a:close/>
                <a:moveTo>
                  <a:pt x="798340" y="499186"/>
                </a:moveTo>
                <a:cubicBezTo>
                  <a:pt x="806362" y="499186"/>
                  <a:pt x="812196" y="505020"/>
                  <a:pt x="812196" y="513042"/>
                </a:cubicBezTo>
                <a:cubicBezTo>
                  <a:pt x="812196" y="518876"/>
                  <a:pt x="806362" y="525440"/>
                  <a:pt x="798340" y="525440"/>
                </a:cubicBezTo>
                <a:cubicBezTo>
                  <a:pt x="792508" y="525440"/>
                  <a:pt x="785941" y="518876"/>
                  <a:pt x="785941" y="513042"/>
                </a:cubicBezTo>
                <a:cubicBezTo>
                  <a:pt x="785941" y="505020"/>
                  <a:pt x="792508" y="499186"/>
                  <a:pt x="798340" y="499186"/>
                </a:cubicBezTo>
                <a:close/>
                <a:moveTo>
                  <a:pt x="724135" y="499186"/>
                </a:moveTo>
                <a:cubicBezTo>
                  <a:pt x="731429" y="499186"/>
                  <a:pt x="737991" y="505020"/>
                  <a:pt x="737991" y="513042"/>
                </a:cubicBezTo>
                <a:cubicBezTo>
                  <a:pt x="737991" y="518876"/>
                  <a:pt x="731429" y="525440"/>
                  <a:pt x="724135" y="525440"/>
                </a:cubicBezTo>
                <a:cubicBezTo>
                  <a:pt x="717574" y="525440"/>
                  <a:pt x="711744" y="518876"/>
                  <a:pt x="711744" y="513042"/>
                </a:cubicBezTo>
                <a:cubicBezTo>
                  <a:pt x="711744" y="505020"/>
                  <a:pt x="717574" y="499186"/>
                  <a:pt x="724135" y="499186"/>
                </a:cubicBezTo>
                <a:close/>
                <a:moveTo>
                  <a:pt x="653306" y="499186"/>
                </a:moveTo>
                <a:cubicBezTo>
                  <a:pt x="660598" y="499186"/>
                  <a:pt x="667164" y="505020"/>
                  <a:pt x="667164" y="513042"/>
                </a:cubicBezTo>
                <a:cubicBezTo>
                  <a:pt x="667164" y="518876"/>
                  <a:pt x="660598" y="525440"/>
                  <a:pt x="653306" y="525440"/>
                </a:cubicBezTo>
                <a:cubicBezTo>
                  <a:pt x="645287" y="525440"/>
                  <a:pt x="640910" y="518876"/>
                  <a:pt x="640910" y="513042"/>
                </a:cubicBezTo>
                <a:cubicBezTo>
                  <a:pt x="640910" y="505020"/>
                  <a:pt x="645287" y="499186"/>
                  <a:pt x="653306" y="499186"/>
                </a:cubicBezTo>
                <a:close/>
                <a:moveTo>
                  <a:pt x="584869" y="499186"/>
                </a:moveTo>
                <a:cubicBezTo>
                  <a:pt x="592652" y="499186"/>
                  <a:pt x="599654" y="505020"/>
                  <a:pt x="599654" y="513042"/>
                </a:cubicBezTo>
                <a:cubicBezTo>
                  <a:pt x="599654" y="518876"/>
                  <a:pt x="592652" y="525440"/>
                  <a:pt x="584869" y="525440"/>
                </a:cubicBezTo>
                <a:cubicBezTo>
                  <a:pt x="576309" y="525440"/>
                  <a:pt x="570076" y="518876"/>
                  <a:pt x="570076" y="513042"/>
                </a:cubicBezTo>
                <a:cubicBezTo>
                  <a:pt x="570076" y="505020"/>
                  <a:pt x="576309" y="499186"/>
                  <a:pt x="584869" y="499186"/>
                </a:cubicBezTo>
                <a:close/>
                <a:moveTo>
                  <a:pt x="513670" y="499186"/>
                </a:moveTo>
                <a:cubicBezTo>
                  <a:pt x="522020" y="499186"/>
                  <a:pt x="528846" y="505020"/>
                  <a:pt x="528846" y="513042"/>
                </a:cubicBezTo>
                <a:cubicBezTo>
                  <a:pt x="528846" y="518876"/>
                  <a:pt x="522020" y="525440"/>
                  <a:pt x="513670" y="525440"/>
                </a:cubicBezTo>
                <a:cubicBezTo>
                  <a:pt x="506076" y="525440"/>
                  <a:pt x="499248" y="518876"/>
                  <a:pt x="499248" y="513042"/>
                </a:cubicBezTo>
                <a:cubicBezTo>
                  <a:pt x="499248" y="505020"/>
                  <a:pt x="506076" y="499186"/>
                  <a:pt x="513670" y="499186"/>
                </a:cubicBezTo>
                <a:close/>
                <a:moveTo>
                  <a:pt x="3939871" y="495814"/>
                </a:moveTo>
                <a:cubicBezTo>
                  <a:pt x="3946434" y="495814"/>
                  <a:pt x="3952268" y="502041"/>
                  <a:pt x="3952268" y="510602"/>
                </a:cubicBezTo>
                <a:cubicBezTo>
                  <a:pt x="3952268" y="518386"/>
                  <a:pt x="3946434" y="525391"/>
                  <a:pt x="3939871" y="525391"/>
                </a:cubicBezTo>
                <a:cubicBezTo>
                  <a:pt x="3932578" y="525391"/>
                  <a:pt x="3926015" y="518386"/>
                  <a:pt x="3926015" y="510602"/>
                </a:cubicBezTo>
                <a:cubicBezTo>
                  <a:pt x="3926015" y="502041"/>
                  <a:pt x="3932578" y="495814"/>
                  <a:pt x="3939871" y="495814"/>
                </a:cubicBezTo>
                <a:close/>
                <a:moveTo>
                  <a:pt x="3869042" y="495814"/>
                </a:moveTo>
                <a:cubicBezTo>
                  <a:pt x="3875605" y="495814"/>
                  <a:pt x="3881439" y="502041"/>
                  <a:pt x="3881439" y="510602"/>
                </a:cubicBezTo>
                <a:cubicBezTo>
                  <a:pt x="3881439" y="518386"/>
                  <a:pt x="3875605" y="525391"/>
                  <a:pt x="3869042" y="525391"/>
                </a:cubicBezTo>
                <a:cubicBezTo>
                  <a:pt x="3861749" y="525391"/>
                  <a:pt x="3855186" y="518386"/>
                  <a:pt x="3855186" y="510602"/>
                </a:cubicBezTo>
                <a:cubicBezTo>
                  <a:pt x="3855186" y="502041"/>
                  <a:pt x="3861749" y="495814"/>
                  <a:pt x="3869042" y="495814"/>
                </a:cubicBezTo>
                <a:close/>
                <a:moveTo>
                  <a:pt x="3796752" y="495814"/>
                </a:moveTo>
                <a:cubicBezTo>
                  <a:pt x="3804774" y="495814"/>
                  <a:pt x="3810608" y="502041"/>
                  <a:pt x="3810608" y="510602"/>
                </a:cubicBezTo>
                <a:cubicBezTo>
                  <a:pt x="3810608" y="518386"/>
                  <a:pt x="3804774" y="525391"/>
                  <a:pt x="3796752" y="525391"/>
                </a:cubicBezTo>
                <a:cubicBezTo>
                  <a:pt x="3790918" y="525391"/>
                  <a:pt x="3784355" y="518386"/>
                  <a:pt x="3784355" y="510602"/>
                </a:cubicBezTo>
                <a:cubicBezTo>
                  <a:pt x="3784355" y="502041"/>
                  <a:pt x="3790918" y="495814"/>
                  <a:pt x="3796752" y="495814"/>
                </a:cubicBezTo>
                <a:close/>
                <a:moveTo>
                  <a:pt x="3725922" y="495814"/>
                </a:moveTo>
                <a:cubicBezTo>
                  <a:pt x="3733944" y="495814"/>
                  <a:pt x="3739778" y="502041"/>
                  <a:pt x="3739778" y="510602"/>
                </a:cubicBezTo>
                <a:cubicBezTo>
                  <a:pt x="3739778" y="518386"/>
                  <a:pt x="3733944" y="525391"/>
                  <a:pt x="3725922" y="525391"/>
                </a:cubicBezTo>
                <a:cubicBezTo>
                  <a:pt x="3719359" y="525391"/>
                  <a:pt x="3713525" y="518386"/>
                  <a:pt x="3713525" y="510602"/>
                </a:cubicBezTo>
                <a:cubicBezTo>
                  <a:pt x="3713525" y="502041"/>
                  <a:pt x="3719359" y="495814"/>
                  <a:pt x="3725922" y="495814"/>
                </a:cubicBezTo>
                <a:close/>
                <a:moveTo>
                  <a:pt x="3655091" y="495814"/>
                </a:moveTo>
                <a:cubicBezTo>
                  <a:pt x="3662384" y="495814"/>
                  <a:pt x="3668947" y="502041"/>
                  <a:pt x="3668947" y="510602"/>
                </a:cubicBezTo>
                <a:cubicBezTo>
                  <a:pt x="3668947" y="518386"/>
                  <a:pt x="3662384" y="525391"/>
                  <a:pt x="3655091" y="525391"/>
                </a:cubicBezTo>
                <a:cubicBezTo>
                  <a:pt x="3647069" y="525391"/>
                  <a:pt x="3642694" y="518386"/>
                  <a:pt x="3642694" y="510602"/>
                </a:cubicBezTo>
                <a:cubicBezTo>
                  <a:pt x="3642694" y="502041"/>
                  <a:pt x="3647069" y="495814"/>
                  <a:pt x="3655091" y="495814"/>
                </a:cubicBezTo>
                <a:close/>
                <a:moveTo>
                  <a:pt x="3583280" y="495814"/>
                </a:moveTo>
                <a:cubicBezTo>
                  <a:pt x="3591064" y="495814"/>
                  <a:pt x="3598069" y="502041"/>
                  <a:pt x="3598069" y="510602"/>
                </a:cubicBezTo>
                <a:cubicBezTo>
                  <a:pt x="3598069" y="518386"/>
                  <a:pt x="3591064" y="525391"/>
                  <a:pt x="3583280" y="525391"/>
                </a:cubicBezTo>
                <a:cubicBezTo>
                  <a:pt x="3574718" y="525391"/>
                  <a:pt x="3568491" y="518386"/>
                  <a:pt x="3568491" y="510602"/>
                </a:cubicBezTo>
                <a:cubicBezTo>
                  <a:pt x="3568491" y="502041"/>
                  <a:pt x="3574718" y="495814"/>
                  <a:pt x="3583280" y="495814"/>
                </a:cubicBezTo>
                <a:close/>
                <a:moveTo>
                  <a:pt x="3512449" y="495814"/>
                </a:moveTo>
                <a:cubicBezTo>
                  <a:pt x="3520232" y="495814"/>
                  <a:pt x="3527237" y="502041"/>
                  <a:pt x="3527237" y="510602"/>
                </a:cubicBezTo>
                <a:cubicBezTo>
                  <a:pt x="3527237" y="518386"/>
                  <a:pt x="3520232" y="525391"/>
                  <a:pt x="3512449" y="525391"/>
                </a:cubicBezTo>
                <a:cubicBezTo>
                  <a:pt x="3503887" y="525391"/>
                  <a:pt x="3497661" y="518386"/>
                  <a:pt x="3497661" y="510602"/>
                </a:cubicBezTo>
                <a:cubicBezTo>
                  <a:pt x="3497661" y="502041"/>
                  <a:pt x="3503887" y="495814"/>
                  <a:pt x="3512449" y="495814"/>
                </a:cubicBezTo>
                <a:close/>
                <a:moveTo>
                  <a:pt x="3440686" y="495814"/>
                </a:moveTo>
                <a:cubicBezTo>
                  <a:pt x="3448708" y="495814"/>
                  <a:pt x="3453083" y="502041"/>
                  <a:pt x="3453083" y="510602"/>
                </a:cubicBezTo>
                <a:cubicBezTo>
                  <a:pt x="3453083" y="518386"/>
                  <a:pt x="3448708" y="525391"/>
                  <a:pt x="3440686" y="525391"/>
                </a:cubicBezTo>
                <a:cubicBezTo>
                  <a:pt x="3433393" y="525391"/>
                  <a:pt x="3426830" y="518386"/>
                  <a:pt x="3426830" y="510602"/>
                </a:cubicBezTo>
                <a:cubicBezTo>
                  <a:pt x="3426830" y="502041"/>
                  <a:pt x="3433393" y="495814"/>
                  <a:pt x="3440686" y="495814"/>
                </a:cubicBezTo>
                <a:close/>
                <a:moveTo>
                  <a:pt x="3369857" y="495814"/>
                </a:moveTo>
                <a:cubicBezTo>
                  <a:pt x="3376420" y="495814"/>
                  <a:pt x="3382254" y="502041"/>
                  <a:pt x="3382254" y="510602"/>
                </a:cubicBezTo>
                <a:cubicBezTo>
                  <a:pt x="3382254" y="518386"/>
                  <a:pt x="3376420" y="525391"/>
                  <a:pt x="3369857" y="525391"/>
                </a:cubicBezTo>
                <a:cubicBezTo>
                  <a:pt x="3362564" y="525391"/>
                  <a:pt x="3356001" y="518386"/>
                  <a:pt x="3356001" y="510602"/>
                </a:cubicBezTo>
                <a:cubicBezTo>
                  <a:pt x="3356001" y="502041"/>
                  <a:pt x="3362564" y="495814"/>
                  <a:pt x="3369857" y="495814"/>
                </a:cubicBezTo>
                <a:close/>
                <a:moveTo>
                  <a:pt x="3299094" y="495814"/>
                </a:moveTo>
                <a:cubicBezTo>
                  <a:pt x="3305656" y="495814"/>
                  <a:pt x="3311491" y="502041"/>
                  <a:pt x="3311491" y="510602"/>
                </a:cubicBezTo>
                <a:cubicBezTo>
                  <a:pt x="3311491" y="518386"/>
                  <a:pt x="3305656" y="525391"/>
                  <a:pt x="3299094" y="525391"/>
                </a:cubicBezTo>
                <a:cubicBezTo>
                  <a:pt x="3291802" y="525391"/>
                  <a:pt x="3285240" y="518386"/>
                  <a:pt x="3285240" y="510602"/>
                </a:cubicBezTo>
                <a:cubicBezTo>
                  <a:pt x="3285240" y="502041"/>
                  <a:pt x="3291802" y="495814"/>
                  <a:pt x="3299094" y="495814"/>
                </a:cubicBezTo>
                <a:close/>
                <a:moveTo>
                  <a:pt x="3226805" y="495814"/>
                </a:moveTo>
                <a:cubicBezTo>
                  <a:pt x="3234825" y="495814"/>
                  <a:pt x="3240660" y="502041"/>
                  <a:pt x="3240660" y="510602"/>
                </a:cubicBezTo>
                <a:cubicBezTo>
                  <a:pt x="3240660" y="518386"/>
                  <a:pt x="3234825" y="525391"/>
                  <a:pt x="3226805" y="525391"/>
                </a:cubicBezTo>
                <a:cubicBezTo>
                  <a:pt x="3220242" y="525391"/>
                  <a:pt x="3214406" y="518386"/>
                  <a:pt x="3214406" y="510602"/>
                </a:cubicBezTo>
                <a:cubicBezTo>
                  <a:pt x="3214406" y="502041"/>
                  <a:pt x="3220242" y="495814"/>
                  <a:pt x="3226805" y="495814"/>
                </a:cubicBezTo>
                <a:close/>
                <a:moveTo>
                  <a:pt x="3152602" y="495814"/>
                </a:moveTo>
                <a:cubicBezTo>
                  <a:pt x="3159895" y="495814"/>
                  <a:pt x="3166454" y="502041"/>
                  <a:pt x="3166454" y="510602"/>
                </a:cubicBezTo>
                <a:cubicBezTo>
                  <a:pt x="3166454" y="518386"/>
                  <a:pt x="3159895" y="525391"/>
                  <a:pt x="3152602" y="525391"/>
                </a:cubicBezTo>
                <a:cubicBezTo>
                  <a:pt x="3146038" y="525391"/>
                  <a:pt x="3140203" y="518386"/>
                  <a:pt x="3140203" y="510602"/>
                </a:cubicBezTo>
                <a:cubicBezTo>
                  <a:pt x="3140203" y="502041"/>
                  <a:pt x="3146038" y="495814"/>
                  <a:pt x="3152602" y="495814"/>
                </a:cubicBezTo>
                <a:close/>
                <a:moveTo>
                  <a:pt x="2439944" y="428356"/>
                </a:moveTo>
                <a:cubicBezTo>
                  <a:pt x="2448502" y="428356"/>
                  <a:pt x="2454729" y="432731"/>
                  <a:pt x="2454729" y="440753"/>
                </a:cubicBezTo>
                <a:cubicBezTo>
                  <a:pt x="2454729" y="448046"/>
                  <a:pt x="2448502" y="454610"/>
                  <a:pt x="2439944" y="454610"/>
                </a:cubicBezTo>
                <a:cubicBezTo>
                  <a:pt x="2432159" y="454610"/>
                  <a:pt x="2425156" y="448046"/>
                  <a:pt x="2425156" y="440753"/>
                </a:cubicBezTo>
                <a:cubicBezTo>
                  <a:pt x="2425156" y="432731"/>
                  <a:pt x="2432159" y="428356"/>
                  <a:pt x="2439944" y="428356"/>
                </a:cubicBezTo>
                <a:close/>
                <a:moveTo>
                  <a:pt x="2369110" y="428356"/>
                </a:moveTo>
                <a:cubicBezTo>
                  <a:pt x="2377672" y="428356"/>
                  <a:pt x="2383898" y="432731"/>
                  <a:pt x="2383898" y="440753"/>
                </a:cubicBezTo>
                <a:cubicBezTo>
                  <a:pt x="2383898" y="448046"/>
                  <a:pt x="2377672" y="454610"/>
                  <a:pt x="2369110" y="454610"/>
                </a:cubicBezTo>
                <a:cubicBezTo>
                  <a:pt x="2361327" y="454610"/>
                  <a:pt x="2354319" y="448046"/>
                  <a:pt x="2354319" y="440753"/>
                </a:cubicBezTo>
                <a:cubicBezTo>
                  <a:pt x="2354319" y="432731"/>
                  <a:pt x="2361327" y="428356"/>
                  <a:pt x="2369110" y="428356"/>
                </a:cubicBezTo>
                <a:close/>
                <a:moveTo>
                  <a:pt x="2298278" y="428356"/>
                </a:moveTo>
                <a:cubicBezTo>
                  <a:pt x="2306842" y="428356"/>
                  <a:pt x="2313066" y="432731"/>
                  <a:pt x="2313066" y="440753"/>
                </a:cubicBezTo>
                <a:cubicBezTo>
                  <a:pt x="2313066" y="448046"/>
                  <a:pt x="2306842" y="454610"/>
                  <a:pt x="2298278" y="454610"/>
                </a:cubicBezTo>
                <a:cubicBezTo>
                  <a:pt x="2290494" y="454610"/>
                  <a:pt x="2283490" y="448046"/>
                  <a:pt x="2283490" y="440753"/>
                </a:cubicBezTo>
                <a:cubicBezTo>
                  <a:pt x="2283490" y="432731"/>
                  <a:pt x="2290494" y="428356"/>
                  <a:pt x="2298278" y="428356"/>
                </a:cubicBezTo>
                <a:close/>
                <a:moveTo>
                  <a:pt x="2226514" y="428356"/>
                </a:moveTo>
                <a:cubicBezTo>
                  <a:pt x="2234537" y="428356"/>
                  <a:pt x="2238914" y="432731"/>
                  <a:pt x="2238914" y="440753"/>
                </a:cubicBezTo>
                <a:cubicBezTo>
                  <a:pt x="2238914" y="448046"/>
                  <a:pt x="2234537" y="454610"/>
                  <a:pt x="2226514" y="454610"/>
                </a:cubicBezTo>
                <a:cubicBezTo>
                  <a:pt x="2218492" y="454610"/>
                  <a:pt x="2212656" y="448046"/>
                  <a:pt x="2212656" y="440753"/>
                </a:cubicBezTo>
                <a:cubicBezTo>
                  <a:pt x="2212656" y="432731"/>
                  <a:pt x="2218492" y="428356"/>
                  <a:pt x="2226514" y="428356"/>
                </a:cubicBezTo>
                <a:close/>
                <a:moveTo>
                  <a:pt x="2155682" y="428356"/>
                </a:moveTo>
                <a:cubicBezTo>
                  <a:pt x="2161517" y="428356"/>
                  <a:pt x="2168079" y="432731"/>
                  <a:pt x="2168079" y="440753"/>
                </a:cubicBezTo>
                <a:cubicBezTo>
                  <a:pt x="2168079" y="448046"/>
                  <a:pt x="2161517" y="454610"/>
                  <a:pt x="2155682" y="454610"/>
                </a:cubicBezTo>
                <a:cubicBezTo>
                  <a:pt x="2147658" y="454610"/>
                  <a:pt x="2141825" y="448046"/>
                  <a:pt x="2141825" y="440753"/>
                </a:cubicBezTo>
                <a:cubicBezTo>
                  <a:pt x="2141825" y="432731"/>
                  <a:pt x="2147658" y="428356"/>
                  <a:pt x="2155682" y="428356"/>
                </a:cubicBezTo>
                <a:close/>
                <a:moveTo>
                  <a:pt x="2084846" y="428356"/>
                </a:moveTo>
                <a:cubicBezTo>
                  <a:pt x="2090682" y="428356"/>
                  <a:pt x="2097246" y="432731"/>
                  <a:pt x="2097246" y="440753"/>
                </a:cubicBezTo>
                <a:cubicBezTo>
                  <a:pt x="2097246" y="448046"/>
                  <a:pt x="2090682" y="454610"/>
                  <a:pt x="2084846" y="454610"/>
                </a:cubicBezTo>
                <a:cubicBezTo>
                  <a:pt x="2076827" y="454610"/>
                  <a:pt x="2070991" y="448046"/>
                  <a:pt x="2070991" y="440753"/>
                </a:cubicBezTo>
                <a:cubicBezTo>
                  <a:pt x="2070991" y="432731"/>
                  <a:pt x="2076827" y="428356"/>
                  <a:pt x="2084846" y="428356"/>
                </a:cubicBezTo>
                <a:close/>
                <a:moveTo>
                  <a:pt x="2011832" y="428356"/>
                </a:moveTo>
                <a:cubicBezTo>
                  <a:pt x="2019855" y="428356"/>
                  <a:pt x="2026418" y="432731"/>
                  <a:pt x="2026418" y="440753"/>
                </a:cubicBezTo>
                <a:cubicBezTo>
                  <a:pt x="2026418" y="448046"/>
                  <a:pt x="2019855" y="454610"/>
                  <a:pt x="2011832" y="454610"/>
                </a:cubicBezTo>
                <a:cubicBezTo>
                  <a:pt x="2005999" y="454610"/>
                  <a:pt x="2000165" y="448046"/>
                  <a:pt x="2000165" y="440753"/>
                </a:cubicBezTo>
                <a:cubicBezTo>
                  <a:pt x="2000165" y="432731"/>
                  <a:pt x="2005999" y="428356"/>
                  <a:pt x="2011832" y="428356"/>
                </a:cubicBezTo>
                <a:close/>
                <a:moveTo>
                  <a:pt x="1938362" y="428356"/>
                </a:moveTo>
                <a:cubicBezTo>
                  <a:pt x="1946382" y="428356"/>
                  <a:pt x="1952216" y="432731"/>
                  <a:pt x="1952216" y="440753"/>
                </a:cubicBezTo>
                <a:cubicBezTo>
                  <a:pt x="1952216" y="448046"/>
                  <a:pt x="1946382" y="454610"/>
                  <a:pt x="1938362" y="454610"/>
                </a:cubicBezTo>
                <a:cubicBezTo>
                  <a:pt x="1932525" y="454610"/>
                  <a:pt x="1925965" y="448046"/>
                  <a:pt x="1925965" y="440753"/>
                </a:cubicBezTo>
                <a:cubicBezTo>
                  <a:pt x="1925965" y="432731"/>
                  <a:pt x="1932525" y="428356"/>
                  <a:pt x="1938362" y="428356"/>
                </a:cubicBezTo>
                <a:close/>
                <a:moveTo>
                  <a:pt x="1867525" y="428356"/>
                </a:moveTo>
                <a:cubicBezTo>
                  <a:pt x="1875547" y="428356"/>
                  <a:pt x="1881384" y="432731"/>
                  <a:pt x="1881384" y="440753"/>
                </a:cubicBezTo>
                <a:cubicBezTo>
                  <a:pt x="1881384" y="448046"/>
                  <a:pt x="1875547" y="454610"/>
                  <a:pt x="1867525" y="454610"/>
                </a:cubicBezTo>
                <a:cubicBezTo>
                  <a:pt x="1860232" y="454610"/>
                  <a:pt x="1855126" y="448046"/>
                  <a:pt x="1855126" y="440753"/>
                </a:cubicBezTo>
                <a:cubicBezTo>
                  <a:pt x="1855126" y="432731"/>
                  <a:pt x="1860232" y="428356"/>
                  <a:pt x="1867525" y="428356"/>
                </a:cubicBezTo>
                <a:close/>
                <a:moveTo>
                  <a:pt x="1799085" y="428356"/>
                </a:moveTo>
                <a:cubicBezTo>
                  <a:pt x="1807644" y="428356"/>
                  <a:pt x="1813873" y="434190"/>
                  <a:pt x="1813873" y="440753"/>
                </a:cubicBezTo>
                <a:cubicBezTo>
                  <a:pt x="1813873" y="448046"/>
                  <a:pt x="1807644" y="454610"/>
                  <a:pt x="1799085" y="454610"/>
                </a:cubicBezTo>
                <a:cubicBezTo>
                  <a:pt x="1790521" y="454610"/>
                  <a:pt x="1784298" y="448046"/>
                  <a:pt x="1784298" y="440753"/>
                </a:cubicBezTo>
                <a:cubicBezTo>
                  <a:pt x="1784298" y="434190"/>
                  <a:pt x="1790521" y="428356"/>
                  <a:pt x="1799085" y="428356"/>
                </a:cubicBezTo>
                <a:close/>
                <a:moveTo>
                  <a:pt x="1728260" y="428356"/>
                </a:moveTo>
                <a:cubicBezTo>
                  <a:pt x="1736822" y="428356"/>
                  <a:pt x="1743046" y="434190"/>
                  <a:pt x="1743046" y="440753"/>
                </a:cubicBezTo>
                <a:cubicBezTo>
                  <a:pt x="1743046" y="448046"/>
                  <a:pt x="1736822" y="454610"/>
                  <a:pt x="1728260" y="454610"/>
                </a:cubicBezTo>
                <a:cubicBezTo>
                  <a:pt x="1719694" y="454610"/>
                  <a:pt x="1713469" y="448046"/>
                  <a:pt x="1713469" y="440753"/>
                </a:cubicBezTo>
                <a:cubicBezTo>
                  <a:pt x="1713469" y="434190"/>
                  <a:pt x="1719694" y="428356"/>
                  <a:pt x="1728260" y="428356"/>
                </a:cubicBezTo>
                <a:close/>
                <a:moveTo>
                  <a:pt x="1657426" y="428356"/>
                </a:moveTo>
                <a:cubicBezTo>
                  <a:pt x="1665212" y="428356"/>
                  <a:pt x="1672218" y="434190"/>
                  <a:pt x="1672218" y="440753"/>
                </a:cubicBezTo>
                <a:cubicBezTo>
                  <a:pt x="1672218" y="448046"/>
                  <a:pt x="1665212" y="454610"/>
                  <a:pt x="1657426" y="454610"/>
                </a:cubicBezTo>
                <a:cubicBezTo>
                  <a:pt x="1648870" y="454610"/>
                  <a:pt x="1642647" y="448046"/>
                  <a:pt x="1642647" y="440753"/>
                </a:cubicBezTo>
                <a:cubicBezTo>
                  <a:pt x="1642647" y="434190"/>
                  <a:pt x="1648870" y="428356"/>
                  <a:pt x="1657426" y="428356"/>
                </a:cubicBezTo>
                <a:close/>
                <a:moveTo>
                  <a:pt x="1582294" y="428356"/>
                </a:moveTo>
                <a:cubicBezTo>
                  <a:pt x="1589590" y="428356"/>
                  <a:pt x="1594697" y="434190"/>
                  <a:pt x="1594697" y="440753"/>
                </a:cubicBezTo>
                <a:cubicBezTo>
                  <a:pt x="1594697" y="448046"/>
                  <a:pt x="1589590" y="454610"/>
                  <a:pt x="1582294" y="454610"/>
                </a:cubicBezTo>
                <a:cubicBezTo>
                  <a:pt x="1574274" y="454610"/>
                  <a:pt x="1568438" y="448046"/>
                  <a:pt x="1568438" y="440753"/>
                </a:cubicBezTo>
                <a:cubicBezTo>
                  <a:pt x="1568438" y="434190"/>
                  <a:pt x="1574274" y="428356"/>
                  <a:pt x="1582294" y="428356"/>
                </a:cubicBezTo>
                <a:close/>
                <a:moveTo>
                  <a:pt x="1512195" y="428356"/>
                </a:moveTo>
                <a:cubicBezTo>
                  <a:pt x="1518027" y="428356"/>
                  <a:pt x="1523862" y="434190"/>
                  <a:pt x="1523862" y="440753"/>
                </a:cubicBezTo>
                <a:cubicBezTo>
                  <a:pt x="1523862" y="448046"/>
                  <a:pt x="1518027" y="454610"/>
                  <a:pt x="1512195" y="454610"/>
                </a:cubicBezTo>
                <a:cubicBezTo>
                  <a:pt x="1504171" y="454610"/>
                  <a:pt x="1497610" y="448046"/>
                  <a:pt x="1497610" y="440753"/>
                </a:cubicBezTo>
                <a:cubicBezTo>
                  <a:pt x="1497610" y="434190"/>
                  <a:pt x="1504171" y="428356"/>
                  <a:pt x="1512195" y="428356"/>
                </a:cubicBezTo>
                <a:close/>
                <a:moveTo>
                  <a:pt x="1439171" y="428356"/>
                </a:moveTo>
                <a:cubicBezTo>
                  <a:pt x="1447188" y="428356"/>
                  <a:pt x="1453023" y="434190"/>
                  <a:pt x="1453023" y="440753"/>
                </a:cubicBezTo>
                <a:cubicBezTo>
                  <a:pt x="1453023" y="448046"/>
                  <a:pt x="1447188" y="454610"/>
                  <a:pt x="1439171" y="454610"/>
                </a:cubicBezTo>
                <a:cubicBezTo>
                  <a:pt x="1433336" y="454610"/>
                  <a:pt x="1426771" y="448046"/>
                  <a:pt x="1426771" y="440753"/>
                </a:cubicBezTo>
                <a:cubicBezTo>
                  <a:pt x="1426771" y="434190"/>
                  <a:pt x="1433336" y="428356"/>
                  <a:pt x="1439171" y="428356"/>
                </a:cubicBezTo>
                <a:close/>
                <a:moveTo>
                  <a:pt x="1368344" y="428356"/>
                </a:moveTo>
                <a:cubicBezTo>
                  <a:pt x="1376365" y="428356"/>
                  <a:pt x="1382196" y="434190"/>
                  <a:pt x="1382196" y="440753"/>
                </a:cubicBezTo>
                <a:cubicBezTo>
                  <a:pt x="1382196" y="448046"/>
                  <a:pt x="1376365" y="454610"/>
                  <a:pt x="1368344" y="454610"/>
                </a:cubicBezTo>
                <a:cubicBezTo>
                  <a:pt x="1362508" y="454610"/>
                  <a:pt x="1355948" y="448046"/>
                  <a:pt x="1355948" y="440753"/>
                </a:cubicBezTo>
                <a:cubicBezTo>
                  <a:pt x="1355948" y="434190"/>
                  <a:pt x="1362508" y="428356"/>
                  <a:pt x="1368344" y="428356"/>
                </a:cubicBezTo>
                <a:close/>
                <a:moveTo>
                  <a:pt x="1297515" y="428356"/>
                </a:moveTo>
                <a:cubicBezTo>
                  <a:pt x="1305538" y="428356"/>
                  <a:pt x="1311372" y="434190"/>
                  <a:pt x="1311372" y="440753"/>
                </a:cubicBezTo>
                <a:cubicBezTo>
                  <a:pt x="1311372" y="448046"/>
                  <a:pt x="1305538" y="454610"/>
                  <a:pt x="1297515" y="454610"/>
                </a:cubicBezTo>
                <a:cubicBezTo>
                  <a:pt x="1289495" y="454610"/>
                  <a:pt x="1285118" y="448046"/>
                  <a:pt x="1285118" y="440753"/>
                </a:cubicBezTo>
                <a:cubicBezTo>
                  <a:pt x="1285118" y="434190"/>
                  <a:pt x="1289495" y="428356"/>
                  <a:pt x="1297515" y="428356"/>
                </a:cubicBezTo>
                <a:close/>
                <a:moveTo>
                  <a:pt x="1225703" y="428356"/>
                </a:moveTo>
                <a:cubicBezTo>
                  <a:pt x="1233487" y="428356"/>
                  <a:pt x="1240491" y="434190"/>
                  <a:pt x="1240491" y="440753"/>
                </a:cubicBezTo>
                <a:cubicBezTo>
                  <a:pt x="1240491" y="448046"/>
                  <a:pt x="1233487" y="454610"/>
                  <a:pt x="1225703" y="454610"/>
                </a:cubicBezTo>
                <a:cubicBezTo>
                  <a:pt x="1217156" y="454610"/>
                  <a:pt x="1210925" y="448046"/>
                  <a:pt x="1210925" y="440753"/>
                </a:cubicBezTo>
                <a:cubicBezTo>
                  <a:pt x="1210925" y="434190"/>
                  <a:pt x="1217156" y="428356"/>
                  <a:pt x="1225703" y="428356"/>
                </a:cubicBezTo>
                <a:close/>
                <a:moveTo>
                  <a:pt x="1154886" y="428356"/>
                </a:moveTo>
                <a:cubicBezTo>
                  <a:pt x="1162673" y="428356"/>
                  <a:pt x="1169676" y="434190"/>
                  <a:pt x="1169676" y="440753"/>
                </a:cubicBezTo>
                <a:cubicBezTo>
                  <a:pt x="1169676" y="448046"/>
                  <a:pt x="1162673" y="454610"/>
                  <a:pt x="1154886" y="454610"/>
                </a:cubicBezTo>
                <a:cubicBezTo>
                  <a:pt x="1146323" y="454610"/>
                  <a:pt x="1140096" y="448046"/>
                  <a:pt x="1140096" y="440753"/>
                </a:cubicBezTo>
                <a:cubicBezTo>
                  <a:pt x="1140096" y="434190"/>
                  <a:pt x="1146323" y="428356"/>
                  <a:pt x="1154886" y="428356"/>
                </a:cubicBezTo>
                <a:close/>
                <a:moveTo>
                  <a:pt x="1084056" y="428356"/>
                </a:moveTo>
                <a:cubicBezTo>
                  <a:pt x="1091840" y="428356"/>
                  <a:pt x="1098844" y="434190"/>
                  <a:pt x="1098844" y="440753"/>
                </a:cubicBezTo>
                <a:cubicBezTo>
                  <a:pt x="1098844" y="448046"/>
                  <a:pt x="1091840" y="454610"/>
                  <a:pt x="1084056" y="454610"/>
                </a:cubicBezTo>
                <a:cubicBezTo>
                  <a:pt x="1075492" y="454610"/>
                  <a:pt x="1069267" y="448046"/>
                  <a:pt x="1069267" y="440753"/>
                </a:cubicBezTo>
                <a:cubicBezTo>
                  <a:pt x="1069267" y="434190"/>
                  <a:pt x="1075492" y="428356"/>
                  <a:pt x="1084056" y="428356"/>
                </a:cubicBezTo>
                <a:close/>
                <a:moveTo>
                  <a:pt x="1013015" y="428356"/>
                </a:moveTo>
                <a:cubicBezTo>
                  <a:pt x="1020312" y="428356"/>
                  <a:pt x="1024685" y="434190"/>
                  <a:pt x="1024685" y="440753"/>
                </a:cubicBezTo>
                <a:cubicBezTo>
                  <a:pt x="1024685" y="448046"/>
                  <a:pt x="1020312" y="454610"/>
                  <a:pt x="1013015" y="454610"/>
                </a:cubicBezTo>
                <a:cubicBezTo>
                  <a:pt x="1004998" y="454610"/>
                  <a:pt x="998434" y="448046"/>
                  <a:pt x="998434" y="440753"/>
                </a:cubicBezTo>
                <a:cubicBezTo>
                  <a:pt x="998434" y="434190"/>
                  <a:pt x="1004998" y="428356"/>
                  <a:pt x="1013015" y="428356"/>
                </a:cubicBezTo>
                <a:close/>
                <a:moveTo>
                  <a:pt x="941465" y="428356"/>
                </a:moveTo>
                <a:cubicBezTo>
                  <a:pt x="948030" y="428356"/>
                  <a:pt x="953864" y="434190"/>
                  <a:pt x="953864" y="440753"/>
                </a:cubicBezTo>
                <a:cubicBezTo>
                  <a:pt x="953864" y="448046"/>
                  <a:pt x="948030" y="454610"/>
                  <a:pt x="941465" y="454610"/>
                </a:cubicBezTo>
                <a:cubicBezTo>
                  <a:pt x="934168" y="454610"/>
                  <a:pt x="927611" y="448046"/>
                  <a:pt x="927611" y="440753"/>
                </a:cubicBezTo>
                <a:cubicBezTo>
                  <a:pt x="927611" y="434190"/>
                  <a:pt x="934168" y="428356"/>
                  <a:pt x="941465" y="428356"/>
                </a:cubicBezTo>
                <a:close/>
                <a:moveTo>
                  <a:pt x="870633" y="428356"/>
                </a:moveTo>
                <a:cubicBezTo>
                  <a:pt x="877194" y="428356"/>
                  <a:pt x="883030" y="434190"/>
                  <a:pt x="883030" y="440753"/>
                </a:cubicBezTo>
                <a:cubicBezTo>
                  <a:pt x="883030" y="448046"/>
                  <a:pt x="877194" y="454610"/>
                  <a:pt x="870633" y="454610"/>
                </a:cubicBezTo>
                <a:cubicBezTo>
                  <a:pt x="863341" y="454610"/>
                  <a:pt x="856774" y="448046"/>
                  <a:pt x="856774" y="440753"/>
                </a:cubicBezTo>
                <a:cubicBezTo>
                  <a:pt x="856774" y="434190"/>
                  <a:pt x="863341" y="428356"/>
                  <a:pt x="870633" y="428356"/>
                </a:cubicBezTo>
                <a:close/>
                <a:moveTo>
                  <a:pt x="798344" y="428356"/>
                </a:moveTo>
                <a:cubicBezTo>
                  <a:pt x="806370" y="428356"/>
                  <a:pt x="812196" y="434190"/>
                  <a:pt x="812196" y="440753"/>
                </a:cubicBezTo>
                <a:cubicBezTo>
                  <a:pt x="812196" y="448046"/>
                  <a:pt x="806370" y="454610"/>
                  <a:pt x="798344" y="454610"/>
                </a:cubicBezTo>
                <a:cubicBezTo>
                  <a:pt x="792510" y="454610"/>
                  <a:pt x="785947" y="448046"/>
                  <a:pt x="785947" y="440753"/>
                </a:cubicBezTo>
                <a:cubicBezTo>
                  <a:pt x="785947" y="434190"/>
                  <a:pt x="792510" y="428356"/>
                  <a:pt x="798344" y="428356"/>
                </a:cubicBezTo>
                <a:close/>
                <a:moveTo>
                  <a:pt x="724138" y="428356"/>
                </a:moveTo>
                <a:cubicBezTo>
                  <a:pt x="731434" y="428356"/>
                  <a:pt x="738002" y="434190"/>
                  <a:pt x="738002" y="442212"/>
                </a:cubicBezTo>
                <a:cubicBezTo>
                  <a:pt x="738002" y="448046"/>
                  <a:pt x="731434" y="454610"/>
                  <a:pt x="724138" y="454610"/>
                </a:cubicBezTo>
                <a:cubicBezTo>
                  <a:pt x="717578" y="454610"/>
                  <a:pt x="711747" y="448046"/>
                  <a:pt x="711747" y="442212"/>
                </a:cubicBezTo>
                <a:cubicBezTo>
                  <a:pt x="711747" y="434190"/>
                  <a:pt x="717578" y="428356"/>
                  <a:pt x="724138" y="428356"/>
                </a:cubicBezTo>
                <a:close/>
                <a:moveTo>
                  <a:pt x="653312" y="428356"/>
                </a:moveTo>
                <a:cubicBezTo>
                  <a:pt x="660604" y="428356"/>
                  <a:pt x="667165" y="434190"/>
                  <a:pt x="667165" y="442212"/>
                </a:cubicBezTo>
                <a:cubicBezTo>
                  <a:pt x="667165" y="448046"/>
                  <a:pt x="660604" y="454610"/>
                  <a:pt x="653312" y="454610"/>
                </a:cubicBezTo>
                <a:cubicBezTo>
                  <a:pt x="645288" y="454610"/>
                  <a:pt x="640912" y="448046"/>
                  <a:pt x="640912" y="442212"/>
                </a:cubicBezTo>
                <a:cubicBezTo>
                  <a:pt x="640912" y="434190"/>
                  <a:pt x="645288" y="428356"/>
                  <a:pt x="653312" y="428356"/>
                </a:cubicBezTo>
                <a:close/>
                <a:moveTo>
                  <a:pt x="3796752" y="424982"/>
                </a:moveTo>
                <a:cubicBezTo>
                  <a:pt x="3804774" y="424982"/>
                  <a:pt x="3810608" y="431209"/>
                  <a:pt x="3810608" y="439771"/>
                </a:cubicBezTo>
                <a:cubicBezTo>
                  <a:pt x="3810608" y="447555"/>
                  <a:pt x="3804774" y="454560"/>
                  <a:pt x="3796752" y="454560"/>
                </a:cubicBezTo>
                <a:cubicBezTo>
                  <a:pt x="3790918" y="454560"/>
                  <a:pt x="3784355" y="447555"/>
                  <a:pt x="3784355" y="439771"/>
                </a:cubicBezTo>
                <a:cubicBezTo>
                  <a:pt x="3784355" y="431209"/>
                  <a:pt x="3790918" y="424982"/>
                  <a:pt x="3796752" y="424982"/>
                </a:cubicBezTo>
                <a:close/>
                <a:moveTo>
                  <a:pt x="3725922" y="424982"/>
                </a:moveTo>
                <a:cubicBezTo>
                  <a:pt x="3733944" y="424982"/>
                  <a:pt x="3739778" y="431209"/>
                  <a:pt x="3739778" y="439771"/>
                </a:cubicBezTo>
                <a:cubicBezTo>
                  <a:pt x="3739778" y="447555"/>
                  <a:pt x="3733944" y="454560"/>
                  <a:pt x="3725922" y="454560"/>
                </a:cubicBezTo>
                <a:cubicBezTo>
                  <a:pt x="3719359" y="454560"/>
                  <a:pt x="3713525" y="447555"/>
                  <a:pt x="3713525" y="439771"/>
                </a:cubicBezTo>
                <a:cubicBezTo>
                  <a:pt x="3713525" y="431209"/>
                  <a:pt x="3717900" y="424982"/>
                  <a:pt x="3725922" y="424982"/>
                </a:cubicBezTo>
                <a:close/>
                <a:moveTo>
                  <a:pt x="3655091" y="424982"/>
                </a:moveTo>
                <a:cubicBezTo>
                  <a:pt x="3662384" y="424982"/>
                  <a:pt x="3668947" y="431209"/>
                  <a:pt x="3668947" y="439771"/>
                </a:cubicBezTo>
                <a:cubicBezTo>
                  <a:pt x="3668947" y="447555"/>
                  <a:pt x="3662384" y="454560"/>
                  <a:pt x="3655091" y="454560"/>
                </a:cubicBezTo>
                <a:cubicBezTo>
                  <a:pt x="3647069" y="454560"/>
                  <a:pt x="3642694" y="447555"/>
                  <a:pt x="3642694" y="439771"/>
                </a:cubicBezTo>
                <a:cubicBezTo>
                  <a:pt x="3642694" y="431209"/>
                  <a:pt x="3647069" y="424982"/>
                  <a:pt x="3655091" y="424982"/>
                </a:cubicBezTo>
                <a:close/>
                <a:moveTo>
                  <a:pt x="3583280" y="424982"/>
                </a:moveTo>
                <a:cubicBezTo>
                  <a:pt x="3591064" y="424982"/>
                  <a:pt x="3598069" y="431209"/>
                  <a:pt x="3598069" y="439771"/>
                </a:cubicBezTo>
                <a:cubicBezTo>
                  <a:pt x="3598069" y="447555"/>
                  <a:pt x="3591064" y="454560"/>
                  <a:pt x="3583280" y="454560"/>
                </a:cubicBezTo>
                <a:cubicBezTo>
                  <a:pt x="3574718" y="454560"/>
                  <a:pt x="3568491" y="447555"/>
                  <a:pt x="3568491" y="439771"/>
                </a:cubicBezTo>
                <a:cubicBezTo>
                  <a:pt x="3568491" y="431209"/>
                  <a:pt x="3574718" y="424982"/>
                  <a:pt x="3583280" y="424982"/>
                </a:cubicBezTo>
                <a:close/>
                <a:moveTo>
                  <a:pt x="3512449" y="424982"/>
                </a:moveTo>
                <a:cubicBezTo>
                  <a:pt x="3520232" y="424982"/>
                  <a:pt x="3527237" y="431209"/>
                  <a:pt x="3527237" y="439771"/>
                </a:cubicBezTo>
                <a:cubicBezTo>
                  <a:pt x="3527237" y="447555"/>
                  <a:pt x="3520232" y="454560"/>
                  <a:pt x="3512449" y="454560"/>
                </a:cubicBezTo>
                <a:cubicBezTo>
                  <a:pt x="3503887" y="454560"/>
                  <a:pt x="3497661" y="447555"/>
                  <a:pt x="3497661" y="439771"/>
                </a:cubicBezTo>
                <a:cubicBezTo>
                  <a:pt x="3497661" y="431209"/>
                  <a:pt x="3503887" y="424982"/>
                  <a:pt x="3512449" y="424982"/>
                </a:cubicBezTo>
                <a:close/>
                <a:moveTo>
                  <a:pt x="3440686" y="424982"/>
                </a:moveTo>
                <a:cubicBezTo>
                  <a:pt x="3448708" y="424982"/>
                  <a:pt x="3453083" y="431209"/>
                  <a:pt x="3453083" y="439771"/>
                </a:cubicBezTo>
                <a:cubicBezTo>
                  <a:pt x="3453083" y="447555"/>
                  <a:pt x="3448708" y="454560"/>
                  <a:pt x="3440686" y="454560"/>
                </a:cubicBezTo>
                <a:cubicBezTo>
                  <a:pt x="3433393" y="454560"/>
                  <a:pt x="3426830" y="447555"/>
                  <a:pt x="3426830" y="439771"/>
                </a:cubicBezTo>
                <a:cubicBezTo>
                  <a:pt x="3426830" y="431209"/>
                  <a:pt x="3433393" y="424982"/>
                  <a:pt x="3440686" y="424982"/>
                </a:cubicBezTo>
                <a:close/>
                <a:moveTo>
                  <a:pt x="3369857" y="424982"/>
                </a:moveTo>
                <a:cubicBezTo>
                  <a:pt x="3376420" y="424982"/>
                  <a:pt x="3382254" y="431209"/>
                  <a:pt x="3382254" y="439771"/>
                </a:cubicBezTo>
                <a:cubicBezTo>
                  <a:pt x="3382254" y="447555"/>
                  <a:pt x="3376420" y="454560"/>
                  <a:pt x="3369857" y="454560"/>
                </a:cubicBezTo>
                <a:cubicBezTo>
                  <a:pt x="3362564" y="454560"/>
                  <a:pt x="3356001" y="447555"/>
                  <a:pt x="3356001" y="439771"/>
                </a:cubicBezTo>
                <a:cubicBezTo>
                  <a:pt x="3356001" y="431209"/>
                  <a:pt x="3362564" y="424982"/>
                  <a:pt x="3369857" y="424982"/>
                </a:cubicBezTo>
                <a:close/>
                <a:moveTo>
                  <a:pt x="3299097" y="424982"/>
                </a:moveTo>
                <a:cubicBezTo>
                  <a:pt x="3305656" y="424982"/>
                  <a:pt x="3311491" y="431209"/>
                  <a:pt x="3311491" y="439771"/>
                </a:cubicBezTo>
                <a:cubicBezTo>
                  <a:pt x="3311491" y="447555"/>
                  <a:pt x="3305656" y="454560"/>
                  <a:pt x="3299097" y="454560"/>
                </a:cubicBezTo>
                <a:cubicBezTo>
                  <a:pt x="3291802" y="454560"/>
                  <a:pt x="3285240" y="447555"/>
                  <a:pt x="3285240" y="439771"/>
                </a:cubicBezTo>
                <a:cubicBezTo>
                  <a:pt x="3285240" y="431209"/>
                  <a:pt x="3291802" y="424982"/>
                  <a:pt x="3299097" y="424982"/>
                </a:cubicBezTo>
                <a:close/>
                <a:moveTo>
                  <a:pt x="3226805" y="424982"/>
                </a:moveTo>
                <a:cubicBezTo>
                  <a:pt x="3234825" y="424982"/>
                  <a:pt x="3240664" y="431209"/>
                  <a:pt x="3240664" y="439771"/>
                </a:cubicBezTo>
                <a:cubicBezTo>
                  <a:pt x="3240664" y="447555"/>
                  <a:pt x="3234825" y="454560"/>
                  <a:pt x="3226805" y="454560"/>
                </a:cubicBezTo>
                <a:cubicBezTo>
                  <a:pt x="3220242" y="454560"/>
                  <a:pt x="3214406" y="447555"/>
                  <a:pt x="3214406" y="439771"/>
                </a:cubicBezTo>
                <a:cubicBezTo>
                  <a:pt x="3214406" y="431209"/>
                  <a:pt x="3220242" y="424982"/>
                  <a:pt x="3226805" y="424982"/>
                </a:cubicBezTo>
                <a:close/>
                <a:moveTo>
                  <a:pt x="3152602" y="424982"/>
                </a:moveTo>
                <a:cubicBezTo>
                  <a:pt x="3159895" y="424982"/>
                  <a:pt x="3166460" y="431209"/>
                  <a:pt x="3166460" y="439771"/>
                </a:cubicBezTo>
                <a:cubicBezTo>
                  <a:pt x="3166460" y="447555"/>
                  <a:pt x="3159895" y="454560"/>
                  <a:pt x="3152602" y="454560"/>
                </a:cubicBezTo>
                <a:cubicBezTo>
                  <a:pt x="3146038" y="454560"/>
                  <a:pt x="3140203" y="447555"/>
                  <a:pt x="3140203" y="439771"/>
                </a:cubicBezTo>
                <a:cubicBezTo>
                  <a:pt x="3140203" y="431209"/>
                  <a:pt x="3146038" y="424982"/>
                  <a:pt x="3152602" y="424982"/>
                </a:cubicBezTo>
                <a:close/>
                <a:moveTo>
                  <a:pt x="3081772" y="424982"/>
                </a:moveTo>
                <a:cubicBezTo>
                  <a:pt x="3089064" y="424982"/>
                  <a:pt x="3095624" y="431209"/>
                  <a:pt x="3095624" y="439771"/>
                </a:cubicBezTo>
                <a:cubicBezTo>
                  <a:pt x="3095624" y="447555"/>
                  <a:pt x="3089064" y="454560"/>
                  <a:pt x="3081772" y="454560"/>
                </a:cubicBezTo>
                <a:cubicBezTo>
                  <a:pt x="3073748" y="454560"/>
                  <a:pt x="3069372" y="447555"/>
                  <a:pt x="3069372" y="439771"/>
                </a:cubicBezTo>
                <a:cubicBezTo>
                  <a:pt x="3069372" y="431209"/>
                  <a:pt x="3073748" y="424982"/>
                  <a:pt x="3081772" y="424982"/>
                </a:cubicBezTo>
                <a:close/>
                <a:moveTo>
                  <a:pt x="3013715" y="424982"/>
                </a:moveTo>
                <a:cubicBezTo>
                  <a:pt x="3021305" y="424982"/>
                  <a:pt x="3028135" y="431209"/>
                  <a:pt x="3028135" y="439771"/>
                </a:cubicBezTo>
                <a:cubicBezTo>
                  <a:pt x="3028135" y="447555"/>
                  <a:pt x="3021305" y="454560"/>
                  <a:pt x="3013715" y="454560"/>
                </a:cubicBezTo>
                <a:cubicBezTo>
                  <a:pt x="3005368" y="454560"/>
                  <a:pt x="2998539" y="447555"/>
                  <a:pt x="2998539" y="439771"/>
                </a:cubicBezTo>
                <a:cubicBezTo>
                  <a:pt x="2998539" y="431209"/>
                  <a:pt x="3005368" y="424982"/>
                  <a:pt x="3013715" y="424982"/>
                </a:cubicBezTo>
                <a:close/>
                <a:moveTo>
                  <a:pt x="2942491" y="424982"/>
                </a:moveTo>
                <a:cubicBezTo>
                  <a:pt x="2951052" y="424982"/>
                  <a:pt x="2957286" y="431209"/>
                  <a:pt x="2957286" y="439771"/>
                </a:cubicBezTo>
                <a:cubicBezTo>
                  <a:pt x="2957286" y="447555"/>
                  <a:pt x="2951052" y="454560"/>
                  <a:pt x="2942491" y="454560"/>
                </a:cubicBezTo>
                <a:cubicBezTo>
                  <a:pt x="2934710" y="454560"/>
                  <a:pt x="2927708" y="447555"/>
                  <a:pt x="2927708" y="439771"/>
                </a:cubicBezTo>
                <a:cubicBezTo>
                  <a:pt x="2927708" y="431209"/>
                  <a:pt x="2934710" y="424982"/>
                  <a:pt x="2942491" y="424982"/>
                </a:cubicBezTo>
                <a:close/>
                <a:moveTo>
                  <a:pt x="2868291" y="424982"/>
                </a:moveTo>
                <a:cubicBezTo>
                  <a:pt x="2876858" y="424982"/>
                  <a:pt x="2883085" y="431209"/>
                  <a:pt x="2883085" y="439771"/>
                </a:cubicBezTo>
                <a:cubicBezTo>
                  <a:pt x="2883085" y="447555"/>
                  <a:pt x="2876858" y="454560"/>
                  <a:pt x="2868291" y="454560"/>
                </a:cubicBezTo>
                <a:cubicBezTo>
                  <a:pt x="2860509" y="454560"/>
                  <a:pt x="2853504" y="447555"/>
                  <a:pt x="2853504" y="439771"/>
                </a:cubicBezTo>
                <a:cubicBezTo>
                  <a:pt x="2853504" y="431209"/>
                  <a:pt x="2860509" y="424982"/>
                  <a:pt x="2868291" y="424982"/>
                </a:cubicBezTo>
                <a:close/>
                <a:moveTo>
                  <a:pt x="2796533" y="424982"/>
                </a:moveTo>
                <a:cubicBezTo>
                  <a:pt x="2804555" y="424982"/>
                  <a:pt x="2808932" y="431209"/>
                  <a:pt x="2808932" y="439771"/>
                </a:cubicBezTo>
                <a:cubicBezTo>
                  <a:pt x="2808932" y="447555"/>
                  <a:pt x="2804555" y="454560"/>
                  <a:pt x="2796533" y="454560"/>
                </a:cubicBezTo>
                <a:cubicBezTo>
                  <a:pt x="2789240" y="454560"/>
                  <a:pt x="2782678" y="447555"/>
                  <a:pt x="2782678" y="439771"/>
                </a:cubicBezTo>
                <a:cubicBezTo>
                  <a:pt x="2782678" y="431209"/>
                  <a:pt x="2789240" y="424982"/>
                  <a:pt x="2796533" y="424982"/>
                </a:cubicBezTo>
                <a:close/>
                <a:moveTo>
                  <a:pt x="2725695" y="424982"/>
                </a:moveTo>
                <a:cubicBezTo>
                  <a:pt x="2731532" y="424982"/>
                  <a:pt x="2738097" y="431209"/>
                  <a:pt x="2738097" y="439771"/>
                </a:cubicBezTo>
                <a:cubicBezTo>
                  <a:pt x="2738097" y="447555"/>
                  <a:pt x="2731532" y="454560"/>
                  <a:pt x="2725695" y="454560"/>
                </a:cubicBezTo>
                <a:cubicBezTo>
                  <a:pt x="2717681" y="454560"/>
                  <a:pt x="2711846" y="447555"/>
                  <a:pt x="2711846" y="439771"/>
                </a:cubicBezTo>
                <a:cubicBezTo>
                  <a:pt x="2711846" y="431209"/>
                  <a:pt x="2717681" y="424982"/>
                  <a:pt x="2725695" y="424982"/>
                </a:cubicBezTo>
                <a:close/>
                <a:moveTo>
                  <a:pt x="2654870" y="424982"/>
                </a:moveTo>
                <a:cubicBezTo>
                  <a:pt x="2660705" y="424982"/>
                  <a:pt x="2667270" y="431209"/>
                  <a:pt x="2667270" y="439771"/>
                </a:cubicBezTo>
                <a:cubicBezTo>
                  <a:pt x="2667270" y="447555"/>
                  <a:pt x="2660705" y="454560"/>
                  <a:pt x="2654870" y="454560"/>
                </a:cubicBezTo>
                <a:cubicBezTo>
                  <a:pt x="2646850" y="454560"/>
                  <a:pt x="2641018" y="447555"/>
                  <a:pt x="2641018" y="439771"/>
                </a:cubicBezTo>
                <a:cubicBezTo>
                  <a:pt x="2641018" y="431209"/>
                  <a:pt x="2646850" y="424982"/>
                  <a:pt x="2654870" y="424982"/>
                </a:cubicBezTo>
                <a:close/>
                <a:moveTo>
                  <a:pt x="2582580" y="424982"/>
                </a:moveTo>
                <a:cubicBezTo>
                  <a:pt x="2589875" y="424982"/>
                  <a:pt x="2596437" y="431209"/>
                  <a:pt x="2596437" y="439771"/>
                </a:cubicBezTo>
                <a:cubicBezTo>
                  <a:pt x="2596437" y="447555"/>
                  <a:pt x="2589875" y="454560"/>
                  <a:pt x="2582580" y="454560"/>
                </a:cubicBezTo>
                <a:cubicBezTo>
                  <a:pt x="2576019" y="454560"/>
                  <a:pt x="2570184" y="447555"/>
                  <a:pt x="2570184" y="439771"/>
                </a:cubicBezTo>
                <a:cubicBezTo>
                  <a:pt x="2570184" y="431209"/>
                  <a:pt x="2576019" y="424982"/>
                  <a:pt x="2582580" y="424982"/>
                </a:cubicBezTo>
                <a:close/>
                <a:moveTo>
                  <a:pt x="2511026" y="424982"/>
                </a:moveTo>
                <a:cubicBezTo>
                  <a:pt x="2519047" y="424982"/>
                  <a:pt x="2525610" y="431209"/>
                  <a:pt x="2525610" y="439771"/>
                </a:cubicBezTo>
                <a:cubicBezTo>
                  <a:pt x="2525610" y="447555"/>
                  <a:pt x="2519047" y="454560"/>
                  <a:pt x="2511026" y="454560"/>
                </a:cubicBezTo>
                <a:cubicBezTo>
                  <a:pt x="2503735" y="454560"/>
                  <a:pt x="2499361" y="447555"/>
                  <a:pt x="2499361" y="439771"/>
                </a:cubicBezTo>
                <a:cubicBezTo>
                  <a:pt x="2499361" y="431209"/>
                  <a:pt x="2503735" y="424982"/>
                  <a:pt x="2511026" y="424982"/>
                </a:cubicBezTo>
                <a:close/>
                <a:moveTo>
                  <a:pt x="1799085" y="357525"/>
                </a:moveTo>
                <a:cubicBezTo>
                  <a:pt x="1807647" y="357525"/>
                  <a:pt x="1813873" y="361900"/>
                  <a:pt x="1813873" y="369922"/>
                </a:cubicBezTo>
                <a:cubicBezTo>
                  <a:pt x="1813873" y="377215"/>
                  <a:pt x="1807647" y="383779"/>
                  <a:pt x="1799085" y="383779"/>
                </a:cubicBezTo>
                <a:cubicBezTo>
                  <a:pt x="1790525" y="383779"/>
                  <a:pt x="1784300" y="377215"/>
                  <a:pt x="1784300" y="369922"/>
                </a:cubicBezTo>
                <a:cubicBezTo>
                  <a:pt x="1784300" y="361900"/>
                  <a:pt x="1790525" y="357525"/>
                  <a:pt x="1799085" y="357525"/>
                </a:cubicBezTo>
                <a:close/>
                <a:moveTo>
                  <a:pt x="1728262" y="357525"/>
                </a:moveTo>
                <a:cubicBezTo>
                  <a:pt x="1736825" y="357525"/>
                  <a:pt x="1743049" y="361900"/>
                  <a:pt x="1743049" y="369922"/>
                </a:cubicBezTo>
                <a:cubicBezTo>
                  <a:pt x="1743049" y="377215"/>
                  <a:pt x="1736825" y="383779"/>
                  <a:pt x="1728262" y="383779"/>
                </a:cubicBezTo>
                <a:cubicBezTo>
                  <a:pt x="1719697" y="383779"/>
                  <a:pt x="1713470" y="377215"/>
                  <a:pt x="1713470" y="369922"/>
                </a:cubicBezTo>
                <a:cubicBezTo>
                  <a:pt x="1713470" y="361900"/>
                  <a:pt x="1719697" y="357525"/>
                  <a:pt x="1728262" y="357525"/>
                </a:cubicBezTo>
                <a:close/>
                <a:moveTo>
                  <a:pt x="1657429" y="357525"/>
                </a:moveTo>
                <a:cubicBezTo>
                  <a:pt x="1665215" y="357525"/>
                  <a:pt x="1672220" y="361900"/>
                  <a:pt x="1672220" y="369922"/>
                </a:cubicBezTo>
                <a:cubicBezTo>
                  <a:pt x="1672220" y="377215"/>
                  <a:pt x="1665215" y="383779"/>
                  <a:pt x="1657429" y="383779"/>
                </a:cubicBezTo>
                <a:cubicBezTo>
                  <a:pt x="1648870" y="383779"/>
                  <a:pt x="1642650" y="377215"/>
                  <a:pt x="1642650" y="369922"/>
                </a:cubicBezTo>
                <a:cubicBezTo>
                  <a:pt x="1642650" y="361900"/>
                  <a:pt x="1648870" y="357525"/>
                  <a:pt x="1657429" y="357525"/>
                </a:cubicBezTo>
                <a:close/>
                <a:moveTo>
                  <a:pt x="1582296" y="357525"/>
                </a:moveTo>
                <a:cubicBezTo>
                  <a:pt x="1589593" y="357525"/>
                  <a:pt x="1594704" y="361900"/>
                  <a:pt x="1594704" y="369922"/>
                </a:cubicBezTo>
                <a:cubicBezTo>
                  <a:pt x="1594704" y="377215"/>
                  <a:pt x="1589593" y="383779"/>
                  <a:pt x="1582296" y="383779"/>
                </a:cubicBezTo>
                <a:cubicBezTo>
                  <a:pt x="1574274" y="383779"/>
                  <a:pt x="1568441" y="377215"/>
                  <a:pt x="1568441" y="369922"/>
                </a:cubicBezTo>
                <a:cubicBezTo>
                  <a:pt x="1568441" y="361900"/>
                  <a:pt x="1574274" y="357525"/>
                  <a:pt x="1582296" y="357525"/>
                </a:cubicBezTo>
                <a:close/>
                <a:moveTo>
                  <a:pt x="1512195" y="357525"/>
                </a:moveTo>
                <a:cubicBezTo>
                  <a:pt x="1518030" y="357525"/>
                  <a:pt x="1523863" y="361900"/>
                  <a:pt x="1523863" y="369922"/>
                </a:cubicBezTo>
                <a:cubicBezTo>
                  <a:pt x="1523863" y="377215"/>
                  <a:pt x="1518030" y="383779"/>
                  <a:pt x="1512195" y="383779"/>
                </a:cubicBezTo>
                <a:cubicBezTo>
                  <a:pt x="1504171" y="383779"/>
                  <a:pt x="1497612" y="377215"/>
                  <a:pt x="1497612" y="369922"/>
                </a:cubicBezTo>
                <a:cubicBezTo>
                  <a:pt x="1497612" y="361900"/>
                  <a:pt x="1504171" y="357525"/>
                  <a:pt x="1512195" y="357525"/>
                </a:cubicBezTo>
                <a:close/>
                <a:moveTo>
                  <a:pt x="1439171" y="357525"/>
                </a:moveTo>
                <a:cubicBezTo>
                  <a:pt x="1447188" y="357525"/>
                  <a:pt x="1453023" y="361900"/>
                  <a:pt x="1453023" y="369922"/>
                </a:cubicBezTo>
                <a:cubicBezTo>
                  <a:pt x="1453023" y="377215"/>
                  <a:pt x="1447188" y="383779"/>
                  <a:pt x="1439171" y="383779"/>
                </a:cubicBezTo>
                <a:cubicBezTo>
                  <a:pt x="1433336" y="383779"/>
                  <a:pt x="1426774" y="377215"/>
                  <a:pt x="1426774" y="369922"/>
                </a:cubicBezTo>
                <a:cubicBezTo>
                  <a:pt x="1426774" y="361900"/>
                  <a:pt x="1433336" y="357525"/>
                  <a:pt x="1439171" y="357525"/>
                </a:cubicBezTo>
                <a:close/>
                <a:moveTo>
                  <a:pt x="1368347" y="357525"/>
                </a:moveTo>
                <a:cubicBezTo>
                  <a:pt x="1376368" y="357525"/>
                  <a:pt x="1382199" y="361900"/>
                  <a:pt x="1382199" y="369922"/>
                </a:cubicBezTo>
                <a:cubicBezTo>
                  <a:pt x="1382199" y="377215"/>
                  <a:pt x="1376368" y="383779"/>
                  <a:pt x="1368347" y="383779"/>
                </a:cubicBezTo>
                <a:cubicBezTo>
                  <a:pt x="1362508" y="383779"/>
                  <a:pt x="1355949" y="377215"/>
                  <a:pt x="1355949" y="369922"/>
                </a:cubicBezTo>
                <a:cubicBezTo>
                  <a:pt x="1355949" y="361900"/>
                  <a:pt x="1362508" y="357525"/>
                  <a:pt x="1368347" y="357525"/>
                </a:cubicBezTo>
                <a:close/>
                <a:moveTo>
                  <a:pt x="1297518" y="357525"/>
                </a:moveTo>
                <a:cubicBezTo>
                  <a:pt x="1305540" y="357525"/>
                  <a:pt x="1311374" y="361900"/>
                  <a:pt x="1311374" y="369922"/>
                </a:cubicBezTo>
                <a:cubicBezTo>
                  <a:pt x="1311374" y="377215"/>
                  <a:pt x="1305540" y="383779"/>
                  <a:pt x="1297518" y="383779"/>
                </a:cubicBezTo>
                <a:cubicBezTo>
                  <a:pt x="1289495" y="383779"/>
                  <a:pt x="1285121" y="377215"/>
                  <a:pt x="1285121" y="369922"/>
                </a:cubicBezTo>
                <a:cubicBezTo>
                  <a:pt x="1285121" y="361900"/>
                  <a:pt x="1289495" y="357525"/>
                  <a:pt x="1297518" y="357525"/>
                </a:cubicBezTo>
                <a:close/>
                <a:moveTo>
                  <a:pt x="1225703" y="357525"/>
                </a:moveTo>
                <a:cubicBezTo>
                  <a:pt x="1233487" y="357525"/>
                  <a:pt x="1240493" y="363359"/>
                  <a:pt x="1240493" y="369922"/>
                </a:cubicBezTo>
                <a:cubicBezTo>
                  <a:pt x="1240493" y="377215"/>
                  <a:pt x="1233487" y="383779"/>
                  <a:pt x="1225703" y="383779"/>
                </a:cubicBezTo>
                <a:cubicBezTo>
                  <a:pt x="1217156" y="383779"/>
                  <a:pt x="1210926" y="377215"/>
                  <a:pt x="1210926" y="369922"/>
                </a:cubicBezTo>
                <a:cubicBezTo>
                  <a:pt x="1210926" y="363359"/>
                  <a:pt x="1217156" y="357525"/>
                  <a:pt x="1225703" y="357525"/>
                </a:cubicBezTo>
                <a:close/>
                <a:moveTo>
                  <a:pt x="1154890" y="357525"/>
                </a:moveTo>
                <a:cubicBezTo>
                  <a:pt x="1162673" y="357525"/>
                  <a:pt x="1169676" y="363359"/>
                  <a:pt x="1169676" y="369922"/>
                </a:cubicBezTo>
                <a:cubicBezTo>
                  <a:pt x="1169676" y="377215"/>
                  <a:pt x="1162673" y="383779"/>
                  <a:pt x="1154890" y="383779"/>
                </a:cubicBezTo>
                <a:cubicBezTo>
                  <a:pt x="1146325" y="383779"/>
                  <a:pt x="1140096" y="377215"/>
                  <a:pt x="1140096" y="369922"/>
                </a:cubicBezTo>
                <a:cubicBezTo>
                  <a:pt x="1140096" y="363359"/>
                  <a:pt x="1146325" y="357525"/>
                  <a:pt x="1154890" y="357525"/>
                </a:cubicBezTo>
                <a:close/>
                <a:moveTo>
                  <a:pt x="1084059" y="357525"/>
                </a:moveTo>
                <a:cubicBezTo>
                  <a:pt x="1091842" y="357525"/>
                  <a:pt x="1098844" y="363359"/>
                  <a:pt x="1098844" y="369922"/>
                </a:cubicBezTo>
                <a:cubicBezTo>
                  <a:pt x="1098844" y="377215"/>
                  <a:pt x="1091842" y="383779"/>
                  <a:pt x="1084059" y="383779"/>
                </a:cubicBezTo>
                <a:cubicBezTo>
                  <a:pt x="1075492" y="383779"/>
                  <a:pt x="1069268" y="377215"/>
                  <a:pt x="1069268" y="369922"/>
                </a:cubicBezTo>
                <a:cubicBezTo>
                  <a:pt x="1069268" y="363359"/>
                  <a:pt x="1075492" y="357525"/>
                  <a:pt x="1084059" y="357525"/>
                </a:cubicBezTo>
                <a:close/>
                <a:moveTo>
                  <a:pt x="1013015" y="357525"/>
                </a:moveTo>
                <a:cubicBezTo>
                  <a:pt x="1020312" y="357525"/>
                  <a:pt x="1024685" y="363359"/>
                  <a:pt x="1024685" y="369922"/>
                </a:cubicBezTo>
                <a:cubicBezTo>
                  <a:pt x="1024685" y="377215"/>
                  <a:pt x="1020312" y="383779"/>
                  <a:pt x="1013015" y="383779"/>
                </a:cubicBezTo>
                <a:cubicBezTo>
                  <a:pt x="1005003" y="383779"/>
                  <a:pt x="998434" y="377215"/>
                  <a:pt x="998434" y="369922"/>
                </a:cubicBezTo>
                <a:cubicBezTo>
                  <a:pt x="998434" y="363359"/>
                  <a:pt x="1005003" y="357525"/>
                  <a:pt x="1013015" y="357525"/>
                </a:cubicBezTo>
                <a:close/>
                <a:moveTo>
                  <a:pt x="941465" y="357525"/>
                </a:moveTo>
                <a:cubicBezTo>
                  <a:pt x="948030" y="357525"/>
                  <a:pt x="953864" y="363359"/>
                  <a:pt x="953864" y="369922"/>
                </a:cubicBezTo>
                <a:cubicBezTo>
                  <a:pt x="953864" y="377215"/>
                  <a:pt x="948030" y="383779"/>
                  <a:pt x="941465" y="383779"/>
                </a:cubicBezTo>
                <a:cubicBezTo>
                  <a:pt x="934173" y="383779"/>
                  <a:pt x="927611" y="377215"/>
                  <a:pt x="927611" y="369922"/>
                </a:cubicBezTo>
                <a:cubicBezTo>
                  <a:pt x="927611" y="363359"/>
                  <a:pt x="934173" y="357525"/>
                  <a:pt x="941465" y="357525"/>
                </a:cubicBezTo>
                <a:close/>
                <a:moveTo>
                  <a:pt x="870633" y="357525"/>
                </a:moveTo>
                <a:cubicBezTo>
                  <a:pt x="877194" y="357525"/>
                  <a:pt x="883034" y="363359"/>
                  <a:pt x="883034" y="369922"/>
                </a:cubicBezTo>
                <a:cubicBezTo>
                  <a:pt x="883034" y="377215"/>
                  <a:pt x="877194" y="383779"/>
                  <a:pt x="870633" y="383779"/>
                </a:cubicBezTo>
                <a:cubicBezTo>
                  <a:pt x="863344" y="383779"/>
                  <a:pt x="856777" y="377215"/>
                  <a:pt x="856777" y="369922"/>
                </a:cubicBezTo>
                <a:cubicBezTo>
                  <a:pt x="856777" y="363359"/>
                  <a:pt x="863344" y="357525"/>
                  <a:pt x="870633" y="357525"/>
                </a:cubicBezTo>
                <a:close/>
                <a:moveTo>
                  <a:pt x="798346" y="357525"/>
                </a:moveTo>
                <a:cubicBezTo>
                  <a:pt x="806370" y="357525"/>
                  <a:pt x="812203" y="363359"/>
                  <a:pt x="812203" y="369922"/>
                </a:cubicBezTo>
                <a:cubicBezTo>
                  <a:pt x="812203" y="377215"/>
                  <a:pt x="806370" y="383779"/>
                  <a:pt x="798346" y="383779"/>
                </a:cubicBezTo>
                <a:cubicBezTo>
                  <a:pt x="792510" y="383779"/>
                  <a:pt x="785947" y="377215"/>
                  <a:pt x="785947" y="369922"/>
                </a:cubicBezTo>
                <a:cubicBezTo>
                  <a:pt x="785947" y="363359"/>
                  <a:pt x="792510" y="357525"/>
                  <a:pt x="798346" y="357525"/>
                </a:cubicBezTo>
                <a:close/>
                <a:moveTo>
                  <a:pt x="3654110" y="354153"/>
                </a:moveTo>
                <a:cubicBezTo>
                  <a:pt x="3661893" y="354153"/>
                  <a:pt x="3668898" y="360716"/>
                  <a:pt x="3668898" y="368738"/>
                </a:cubicBezTo>
                <a:cubicBezTo>
                  <a:pt x="3668898" y="376031"/>
                  <a:pt x="3661893" y="380407"/>
                  <a:pt x="3654110" y="380407"/>
                </a:cubicBezTo>
                <a:cubicBezTo>
                  <a:pt x="3645548" y="380407"/>
                  <a:pt x="3639322" y="376031"/>
                  <a:pt x="3639322" y="368738"/>
                </a:cubicBezTo>
                <a:cubicBezTo>
                  <a:pt x="3639322" y="360716"/>
                  <a:pt x="3645548" y="354153"/>
                  <a:pt x="3654110" y="354153"/>
                </a:cubicBezTo>
                <a:close/>
                <a:moveTo>
                  <a:pt x="3583280" y="354153"/>
                </a:moveTo>
                <a:cubicBezTo>
                  <a:pt x="3591064" y="354153"/>
                  <a:pt x="3598069" y="360716"/>
                  <a:pt x="3598069" y="368738"/>
                </a:cubicBezTo>
                <a:cubicBezTo>
                  <a:pt x="3598069" y="376031"/>
                  <a:pt x="3591064" y="380407"/>
                  <a:pt x="3583280" y="380407"/>
                </a:cubicBezTo>
                <a:cubicBezTo>
                  <a:pt x="3574718" y="380407"/>
                  <a:pt x="3568491" y="376031"/>
                  <a:pt x="3568491" y="368738"/>
                </a:cubicBezTo>
                <a:cubicBezTo>
                  <a:pt x="3568491" y="360716"/>
                  <a:pt x="3574718" y="354153"/>
                  <a:pt x="3583280" y="354153"/>
                </a:cubicBezTo>
                <a:close/>
                <a:moveTo>
                  <a:pt x="3512449" y="354153"/>
                </a:moveTo>
                <a:cubicBezTo>
                  <a:pt x="3520232" y="354153"/>
                  <a:pt x="3527237" y="360983"/>
                  <a:pt x="3527237" y="369330"/>
                </a:cubicBezTo>
                <a:cubicBezTo>
                  <a:pt x="3527237" y="376919"/>
                  <a:pt x="3520232" y="383749"/>
                  <a:pt x="3512449" y="383749"/>
                </a:cubicBezTo>
                <a:cubicBezTo>
                  <a:pt x="3503887" y="383749"/>
                  <a:pt x="3497661" y="376919"/>
                  <a:pt x="3497661" y="369330"/>
                </a:cubicBezTo>
                <a:cubicBezTo>
                  <a:pt x="3497661" y="360983"/>
                  <a:pt x="3503887" y="354153"/>
                  <a:pt x="3512449" y="354153"/>
                </a:cubicBezTo>
                <a:close/>
                <a:moveTo>
                  <a:pt x="3440686" y="354153"/>
                </a:moveTo>
                <a:cubicBezTo>
                  <a:pt x="3448708" y="354153"/>
                  <a:pt x="3453083" y="360983"/>
                  <a:pt x="3453083" y="369330"/>
                </a:cubicBezTo>
                <a:cubicBezTo>
                  <a:pt x="3453083" y="376919"/>
                  <a:pt x="3448708" y="383749"/>
                  <a:pt x="3440686" y="383749"/>
                </a:cubicBezTo>
                <a:cubicBezTo>
                  <a:pt x="3433393" y="383749"/>
                  <a:pt x="3426830" y="376919"/>
                  <a:pt x="3426830" y="369330"/>
                </a:cubicBezTo>
                <a:cubicBezTo>
                  <a:pt x="3426830" y="360983"/>
                  <a:pt x="3433393" y="354153"/>
                  <a:pt x="3440686" y="354153"/>
                </a:cubicBezTo>
                <a:close/>
                <a:moveTo>
                  <a:pt x="3369857" y="354153"/>
                </a:moveTo>
                <a:cubicBezTo>
                  <a:pt x="3376420" y="354153"/>
                  <a:pt x="3382254" y="360983"/>
                  <a:pt x="3382254" y="369330"/>
                </a:cubicBezTo>
                <a:cubicBezTo>
                  <a:pt x="3382254" y="376919"/>
                  <a:pt x="3376420" y="383749"/>
                  <a:pt x="3369857" y="383749"/>
                </a:cubicBezTo>
                <a:cubicBezTo>
                  <a:pt x="3362564" y="383749"/>
                  <a:pt x="3356001" y="376919"/>
                  <a:pt x="3356001" y="369330"/>
                </a:cubicBezTo>
                <a:cubicBezTo>
                  <a:pt x="3356001" y="360983"/>
                  <a:pt x="3362564" y="354153"/>
                  <a:pt x="3369857" y="354153"/>
                </a:cubicBezTo>
                <a:close/>
                <a:moveTo>
                  <a:pt x="3299097" y="354153"/>
                </a:moveTo>
                <a:cubicBezTo>
                  <a:pt x="3305662" y="354153"/>
                  <a:pt x="3311496" y="360983"/>
                  <a:pt x="3311496" y="369330"/>
                </a:cubicBezTo>
                <a:cubicBezTo>
                  <a:pt x="3311496" y="376919"/>
                  <a:pt x="3305662" y="383749"/>
                  <a:pt x="3299097" y="383749"/>
                </a:cubicBezTo>
                <a:cubicBezTo>
                  <a:pt x="3291804" y="383749"/>
                  <a:pt x="3285242" y="376919"/>
                  <a:pt x="3285242" y="369330"/>
                </a:cubicBezTo>
                <a:cubicBezTo>
                  <a:pt x="3285242" y="360983"/>
                  <a:pt x="3291804" y="354153"/>
                  <a:pt x="3299097" y="354153"/>
                </a:cubicBezTo>
                <a:close/>
                <a:moveTo>
                  <a:pt x="3226808" y="354153"/>
                </a:moveTo>
                <a:cubicBezTo>
                  <a:pt x="3234828" y="354153"/>
                  <a:pt x="3240664" y="360983"/>
                  <a:pt x="3240664" y="369330"/>
                </a:cubicBezTo>
                <a:cubicBezTo>
                  <a:pt x="3240664" y="376919"/>
                  <a:pt x="3234828" y="383749"/>
                  <a:pt x="3226808" y="383749"/>
                </a:cubicBezTo>
                <a:cubicBezTo>
                  <a:pt x="3220245" y="383749"/>
                  <a:pt x="3214410" y="376919"/>
                  <a:pt x="3214410" y="369330"/>
                </a:cubicBezTo>
                <a:cubicBezTo>
                  <a:pt x="3214410" y="360983"/>
                  <a:pt x="3220245" y="354153"/>
                  <a:pt x="3226808" y="354153"/>
                </a:cubicBezTo>
                <a:close/>
                <a:moveTo>
                  <a:pt x="3152605" y="354153"/>
                </a:moveTo>
                <a:cubicBezTo>
                  <a:pt x="3159898" y="354153"/>
                  <a:pt x="3166462" y="360983"/>
                  <a:pt x="3166462" y="369330"/>
                </a:cubicBezTo>
                <a:cubicBezTo>
                  <a:pt x="3166462" y="376919"/>
                  <a:pt x="3159898" y="383749"/>
                  <a:pt x="3152605" y="383749"/>
                </a:cubicBezTo>
                <a:cubicBezTo>
                  <a:pt x="3146040" y="383749"/>
                  <a:pt x="3140206" y="376919"/>
                  <a:pt x="3140206" y="369330"/>
                </a:cubicBezTo>
                <a:cubicBezTo>
                  <a:pt x="3140206" y="360983"/>
                  <a:pt x="3146040" y="354153"/>
                  <a:pt x="3152605" y="354153"/>
                </a:cubicBezTo>
                <a:close/>
                <a:moveTo>
                  <a:pt x="3081774" y="354153"/>
                </a:moveTo>
                <a:cubicBezTo>
                  <a:pt x="3089066" y="354153"/>
                  <a:pt x="3095627" y="360983"/>
                  <a:pt x="3095627" y="369330"/>
                </a:cubicBezTo>
                <a:cubicBezTo>
                  <a:pt x="3095627" y="376919"/>
                  <a:pt x="3089066" y="383749"/>
                  <a:pt x="3081774" y="383749"/>
                </a:cubicBezTo>
                <a:cubicBezTo>
                  <a:pt x="3073750" y="383749"/>
                  <a:pt x="3069375" y="376919"/>
                  <a:pt x="3069375" y="369330"/>
                </a:cubicBezTo>
                <a:cubicBezTo>
                  <a:pt x="3069375" y="360983"/>
                  <a:pt x="3073750" y="354153"/>
                  <a:pt x="3081774" y="354153"/>
                </a:cubicBezTo>
                <a:close/>
                <a:moveTo>
                  <a:pt x="3013715" y="354153"/>
                </a:moveTo>
                <a:cubicBezTo>
                  <a:pt x="3021307" y="354153"/>
                  <a:pt x="3028135" y="360983"/>
                  <a:pt x="3028135" y="369330"/>
                </a:cubicBezTo>
                <a:cubicBezTo>
                  <a:pt x="3028135" y="376919"/>
                  <a:pt x="3021307" y="383749"/>
                  <a:pt x="3013715" y="383749"/>
                </a:cubicBezTo>
                <a:cubicBezTo>
                  <a:pt x="3005368" y="383749"/>
                  <a:pt x="2998539" y="376919"/>
                  <a:pt x="2998539" y="369330"/>
                </a:cubicBezTo>
                <a:cubicBezTo>
                  <a:pt x="2998539" y="360983"/>
                  <a:pt x="3005368" y="354153"/>
                  <a:pt x="3013715" y="354153"/>
                </a:cubicBezTo>
                <a:close/>
                <a:moveTo>
                  <a:pt x="2942494" y="354153"/>
                </a:moveTo>
                <a:cubicBezTo>
                  <a:pt x="2951055" y="354153"/>
                  <a:pt x="2957288" y="360983"/>
                  <a:pt x="2957288" y="369330"/>
                </a:cubicBezTo>
                <a:cubicBezTo>
                  <a:pt x="2957288" y="376919"/>
                  <a:pt x="2951055" y="383749"/>
                  <a:pt x="2942494" y="383749"/>
                </a:cubicBezTo>
                <a:cubicBezTo>
                  <a:pt x="2934713" y="383749"/>
                  <a:pt x="2927708" y="376919"/>
                  <a:pt x="2927708" y="369330"/>
                </a:cubicBezTo>
                <a:cubicBezTo>
                  <a:pt x="2927708" y="360983"/>
                  <a:pt x="2934713" y="354153"/>
                  <a:pt x="2942494" y="354153"/>
                </a:cubicBezTo>
                <a:close/>
                <a:moveTo>
                  <a:pt x="2868293" y="354153"/>
                </a:moveTo>
                <a:cubicBezTo>
                  <a:pt x="2876858" y="354153"/>
                  <a:pt x="2883085" y="360983"/>
                  <a:pt x="2883085" y="369330"/>
                </a:cubicBezTo>
                <a:cubicBezTo>
                  <a:pt x="2883085" y="376919"/>
                  <a:pt x="2876858" y="383749"/>
                  <a:pt x="2868293" y="383749"/>
                </a:cubicBezTo>
                <a:cubicBezTo>
                  <a:pt x="2860512" y="383749"/>
                  <a:pt x="2853504" y="376919"/>
                  <a:pt x="2853504" y="369330"/>
                </a:cubicBezTo>
                <a:cubicBezTo>
                  <a:pt x="2853504" y="360983"/>
                  <a:pt x="2860512" y="354153"/>
                  <a:pt x="2868293" y="354153"/>
                </a:cubicBezTo>
                <a:close/>
                <a:moveTo>
                  <a:pt x="2796535" y="354153"/>
                </a:moveTo>
                <a:cubicBezTo>
                  <a:pt x="2804558" y="354153"/>
                  <a:pt x="2808932" y="360983"/>
                  <a:pt x="2808932" y="369330"/>
                </a:cubicBezTo>
                <a:cubicBezTo>
                  <a:pt x="2808932" y="376919"/>
                  <a:pt x="2804558" y="383749"/>
                  <a:pt x="2796535" y="383749"/>
                </a:cubicBezTo>
                <a:cubicBezTo>
                  <a:pt x="2789243" y="383749"/>
                  <a:pt x="2782678" y="376919"/>
                  <a:pt x="2782678" y="369330"/>
                </a:cubicBezTo>
                <a:cubicBezTo>
                  <a:pt x="2782678" y="360983"/>
                  <a:pt x="2789243" y="354153"/>
                  <a:pt x="2796535" y="354153"/>
                </a:cubicBezTo>
                <a:close/>
                <a:moveTo>
                  <a:pt x="2725695" y="354153"/>
                </a:moveTo>
                <a:cubicBezTo>
                  <a:pt x="2731532" y="354153"/>
                  <a:pt x="2738100" y="360983"/>
                  <a:pt x="2738100" y="369330"/>
                </a:cubicBezTo>
                <a:cubicBezTo>
                  <a:pt x="2738100" y="376919"/>
                  <a:pt x="2731532" y="383749"/>
                  <a:pt x="2725695" y="383749"/>
                </a:cubicBezTo>
                <a:cubicBezTo>
                  <a:pt x="2717681" y="383749"/>
                  <a:pt x="2711846" y="376919"/>
                  <a:pt x="2711846" y="369330"/>
                </a:cubicBezTo>
                <a:cubicBezTo>
                  <a:pt x="2711846" y="360983"/>
                  <a:pt x="2717681" y="354153"/>
                  <a:pt x="2725695" y="354153"/>
                </a:cubicBezTo>
                <a:close/>
                <a:moveTo>
                  <a:pt x="2653415" y="354153"/>
                </a:moveTo>
                <a:cubicBezTo>
                  <a:pt x="2660705" y="354153"/>
                  <a:pt x="2667270" y="360983"/>
                  <a:pt x="2667270" y="369330"/>
                </a:cubicBezTo>
                <a:cubicBezTo>
                  <a:pt x="2667270" y="376919"/>
                  <a:pt x="2660705" y="383749"/>
                  <a:pt x="2653415" y="383749"/>
                </a:cubicBezTo>
                <a:cubicBezTo>
                  <a:pt x="2646857" y="383749"/>
                  <a:pt x="2641021" y="376919"/>
                  <a:pt x="2641021" y="369330"/>
                </a:cubicBezTo>
                <a:cubicBezTo>
                  <a:pt x="2641021" y="360983"/>
                  <a:pt x="2646857" y="354153"/>
                  <a:pt x="2653415" y="354153"/>
                </a:cubicBezTo>
                <a:close/>
                <a:moveTo>
                  <a:pt x="2582583" y="354153"/>
                </a:moveTo>
                <a:cubicBezTo>
                  <a:pt x="2589875" y="354153"/>
                  <a:pt x="2596439" y="360983"/>
                  <a:pt x="2596439" y="369330"/>
                </a:cubicBezTo>
                <a:cubicBezTo>
                  <a:pt x="2596439" y="376919"/>
                  <a:pt x="2589875" y="383749"/>
                  <a:pt x="2582583" y="383749"/>
                </a:cubicBezTo>
                <a:cubicBezTo>
                  <a:pt x="2576019" y="383749"/>
                  <a:pt x="2570184" y="376919"/>
                  <a:pt x="2570184" y="369330"/>
                </a:cubicBezTo>
                <a:cubicBezTo>
                  <a:pt x="2570184" y="360983"/>
                  <a:pt x="2576019" y="354153"/>
                  <a:pt x="2582583" y="354153"/>
                </a:cubicBezTo>
                <a:close/>
                <a:moveTo>
                  <a:pt x="2511029" y="354153"/>
                </a:moveTo>
                <a:cubicBezTo>
                  <a:pt x="2519050" y="354153"/>
                  <a:pt x="2525613" y="360983"/>
                  <a:pt x="2525613" y="369330"/>
                </a:cubicBezTo>
                <a:cubicBezTo>
                  <a:pt x="2525613" y="376919"/>
                  <a:pt x="2519050" y="383749"/>
                  <a:pt x="2511029" y="383749"/>
                </a:cubicBezTo>
                <a:cubicBezTo>
                  <a:pt x="2503737" y="383749"/>
                  <a:pt x="2499361" y="376919"/>
                  <a:pt x="2499361" y="369330"/>
                </a:cubicBezTo>
                <a:cubicBezTo>
                  <a:pt x="2499361" y="360983"/>
                  <a:pt x="2503737" y="354153"/>
                  <a:pt x="2511029" y="354153"/>
                </a:cubicBezTo>
                <a:close/>
                <a:moveTo>
                  <a:pt x="2439946" y="354153"/>
                </a:moveTo>
                <a:cubicBezTo>
                  <a:pt x="2448505" y="354153"/>
                  <a:pt x="2454732" y="360983"/>
                  <a:pt x="2454732" y="369330"/>
                </a:cubicBezTo>
                <a:cubicBezTo>
                  <a:pt x="2454732" y="376919"/>
                  <a:pt x="2448505" y="383749"/>
                  <a:pt x="2439946" y="383749"/>
                </a:cubicBezTo>
                <a:cubicBezTo>
                  <a:pt x="2432160" y="383749"/>
                  <a:pt x="2425156" y="376919"/>
                  <a:pt x="2425156" y="369330"/>
                </a:cubicBezTo>
                <a:cubicBezTo>
                  <a:pt x="2425156" y="360983"/>
                  <a:pt x="2432160" y="354153"/>
                  <a:pt x="2439946" y="354153"/>
                </a:cubicBezTo>
                <a:close/>
                <a:moveTo>
                  <a:pt x="2369110" y="354153"/>
                </a:moveTo>
                <a:cubicBezTo>
                  <a:pt x="2377672" y="354153"/>
                  <a:pt x="2383899" y="360983"/>
                  <a:pt x="2383899" y="369330"/>
                </a:cubicBezTo>
                <a:cubicBezTo>
                  <a:pt x="2383899" y="376919"/>
                  <a:pt x="2377672" y="383749"/>
                  <a:pt x="2369110" y="383749"/>
                </a:cubicBezTo>
                <a:cubicBezTo>
                  <a:pt x="2361327" y="383749"/>
                  <a:pt x="2354319" y="376919"/>
                  <a:pt x="2354319" y="369330"/>
                </a:cubicBezTo>
                <a:cubicBezTo>
                  <a:pt x="2354319" y="360983"/>
                  <a:pt x="2361327" y="354153"/>
                  <a:pt x="2369110" y="354153"/>
                </a:cubicBezTo>
                <a:close/>
                <a:moveTo>
                  <a:pt x="2298280" y="354153"/>
                </a:moveTo>
                <a:cubicBezTo>
                  <a:pt x="2306842" y="354153"/>
                  <a:pt x="2313068" y="360983"/>
                  <a:pt x="2313068" y="369330"/>
                </a:cubicBezTo>
                <a:cubicBezTo>
                  <a:pt x="2313068" y="376919"/>
                  <a:pt x="2306842" y="383749"/>
                  <a:pt x="2298280" y="383749"/>
                </a:cubicBezTo>
                <a:cubicBezTo>
                  <a:pt x="2290497" y="383749"/>
                  <a:pt x="2283490" y="376919"/>
                  <a:pt x="2283490" y="369330"/>
                </a:cubicBezTo>
                <a:cubicBezTo>
                  <a:pt x="2283490" y="360983"/>
                  <a:pt x="2290497" y="354153"/>
                  <a:pt x="2298280" y="354153"/>
                </a:cubicBezTo>
                <a:close/>
                <a:moveTo>
                  <a:pt x="2226517" y="354153"/>
                </a:moveTo>
                <a:cubicBezTo>
                  <a:pt x="2234538" y="354153"/>
                  <a:pt x="2238914" y="360983"/>
                  <a:pt x="2238914" y="369330"/>
                </a:cubicBezTo>
                <a:cubicBezTo>
                  <a:pt x="2238914" y="376919"/>
                  <a:pt x="2234538" y="383749"/>
                  <a:pt x="2226517" y="383749"/>
                </a:cubicBezTo>
                <a:cubicBezTo>
                  <a:pt x="2218495" y="383749"/>
                  <a:pt x="2212658" y="376919"/>
                  <a:pt x="2212658" y="369330"/>
                </a:cubicBezTo>
                <a:cubicBezTo>
                  <a:pt x="2212658" y="360983"/>
                  <a:pt x="2218495" y="354153"/>
                  <a:pt x="2226517" y="354153"/>
                </a:cubicBezTo>
                <a:close/>
                <a:moveTo>
                  <a:pt x="2155683" y="354153"/>
                </a:moveTo>
                <a:cubicBezTo>
                  <a:pt x="2161519" y="354153"/>
                  <a:pt x="2168081" y="360983"/>
                  <a:pt x="2168081" y="369330"/>
                </a:cubicBezTo>
                <a:cubicBezTo>
                  <a:pt x="2168081" y="376919"/>
                  <a:pt x="2161519" y="383749"/>
                  <a:pt x="2155683" y="383749"/>
                </a:cubicBezTo>
                <a:cubicBezTo>
                  <a:pt x="2147663" y="383749"/>
                  <a:pt x="2141827" y="376919"/>
                  <a:pt x="2141827" y="369330"/>
                </a:cubicBezTo>
                <a:cubicBezTo>
                  <a:pt x="2141827" y="360983"/>
                  <a:pt x="2147663" y="354153"/>
                  <a:pt x="2155683" y="354153"/>
                </a:cubicBezTo>
                <a:close/>
                <a:moveTo>
                  <a:pt x="2084849" y="354153"/>
                </a:moveTo>
                <a:cubicBezTo>
                  <a:pt x="2090683" y="354153"/>
                  <a:pt x="2097248" y="360983"/>
                  <a:pt x="2097248" y="369330"/>
                </a:cubicBezTo>
                <a:cubicBezTo>
                  <a:pt x="2097248" y="376919"/>
                  <a:pt x="2090683" y="383749"/>
                  <a:pt x="2084849" y="383749"/>
                </a:cubicBezTo>
                <a:cubicBezTo>
                  <a:pt x="2076828" y="383749"/>
                  <a:pt x="2070994" y="376919"/>
                  <a:pt x="2070994" y="369330"/>
                </a:cubicBezTo>
                <a:cubicBezTo>
                  <a:pt x="2070994" y="360983"/>
                  <a:pt x="2076828" y="354153"/>
                  <a:pt x="2084849" y="354153"/>
                </a:cubicBezTo>
                <a:close/>
                <a:moveTo>
                  <a:pt x="2011835" y="354153"/>
                </a:moveTo>
                <a:cubicBezTo>
                  <a:pt x="2019855" y="354153"/>
                  <a:pt x="2026421" y="360983"/>
                  <a:pt x="2026421" y="369330"/>
                </a:cubicBezTo>
                <a:cubicBezTo>
                  <a:pt x="2026421" y="376919"/>
                  <a:pt x="2019855" y="383749"/>
                  <a:pt x="2011835" y="383749"/>
                </a:cubicBezTo>
                <a:cubicBezTo>
                  <a:pt x="2006000" y="383749"/>
                  <a:pt x="2000166" y="376919"/>
                  <a:pt x="2000166" y="369330"/>
                </a:cubicBezTo>
                <a:cubicBezTo>
                  <a:pt x="2000166" y="360983"/>
                  <a:pt x="2006000" y="354153"/>
                  <a:pt x="2011835" y="354153"/>
                </a:cubicBezTo>
                <a:close/>
                <a:moveTo>
                  <a:pt x="1938362" y="354153"/>
                </a:moveTo>
                <a:cubicBezTo>
                  <a:pt x="1946385" y="354153"/>
                  <a:pt x="1952222" y="360983"/>
                  <a:pt x="1952222" y="369330"/>
                </a:cubicBezTo>
                <a:cubicBezTo>
                  <a:pt x="1952222" y="376919"/>
                  <a:pt x="1946385" y="383749"/>
                  <a:pt x="1938362" y="383749"/>
                </a:cubicBezTo>
                <a:cubicBezTo>
                  <a:pt x="1932528" y="383749"/>
                  <a:pt x="1925968" y="376919"/>
                  <a:pt x="1925968" y="369330"/>
                </a:cubicBezTo>
                <a:cubicBezTo>
                  <a:pt x="1925968" y="360983"/>
                  <a:pt x="1932528" y="354153"/>
                  <a:pt x="1938362" y="354153"/>
                </a:cubicBezTo>
                <a:close/>
                <a:moveTo>
                  <a:pt x="1867527" y="354153"/>
                </a:moveTo>
                <a:cubicBezTo>
                  <a:pt x="1875550" y="354153"/>
                  <a:pt x="1881384" y="360983"/>
                  <a:pt x="1881384" y="369330"/>
                </a:cubicBezTo>
                <a:cubicBezTo>
                  <a:pt x="1881384" y="376919"/>
                  <a:pt x="1875550" y="383749"/>
                  <a:pt x="1867527" y="383749"/>
                </a:cubicBezTo>
                <a:cubicBezTo>
                  <a:pt x="1860235" y="383749"/>
                  <a:pt x="1855129" y="376919"/>
                  <a:pt x="1855129" y="369330"/>
                </a:cubicBezTo>
                <a:cubicBezTo>
                  <a:pt x="1855129" y="360983"/>
                  <a:pt x="1860235" y="354153"/>
                  <a:pt x="1867527" y="354153"/>
                </a:cubicBezTo>
                <a:close/>
                <a:moveTo>
                  <a:pt x="1225708" y="284879"/>
                </a:moveTo>
                <a:cubicBezTo>
                  <a:pt x="1233489" y="283322"/>
                  <a:pt x="1240493" y="290327"/>
                  <a:pt x="1240493" y="298111"/>
                </a:cubicBezTo>
                <a:cubicBezTo>
                  <a:pt x="1240493" y="306673"/>
                  <a:pt x="1233489" y="312900"/>
                  <a:pt x="1225708" y="312900"/>
                </a:cubicBezTo>
                <a:cubicBezTo>
                  <a:pt x="1217159" y="312900"/>
                  <a:pt x="1210931" y="306673"/>
                  <a:pt x="1210931" y="298111"/>
                </a:cubicBezTo>
                <a:cubicBezTo>
                  <a:pt x="1210931" y="290327"/>
                  <a:pt x="1217159" y="284879"/>
                  <a:pt x="1225708" y="284879"/>
                </a:cubicBezTo>
                <a:close/>
                <a:moveTo>
                  <a:pt x="3440686" y="283322"/>
                </a:moveTo>
                <a:cubicBezTo>
                  <a:pt x="3448708" y="283322"/>
                  <a:pt x="3453083" y="289885"/>
                  <a:pt x="3453083" y="297178"/>
                </a:cubicBezTo>
                <a:cubicBezTo>
                  <a:pt x="3453083" y="305200"/>
                  <a:pt x="3448708" y="309576"/>
                  <a:pt x="3440686" y="309576"/>
                </a:cubicBezTo>
                <a:cubicBezTo>
                  <a:pt x="3433393" y="309576"/>
                  <a:pt x="3426830" y="305200"/>
                  <a:pt x="3426830" y="297178"/>
                </a:cubicBezTo>
                <a:cubicBezTo>
                  <a:pt x="3426830" y="289885"/>
                  <a:pt x="3433393" y="283322"/>
                  <a:pt x="3440686" y="283322"/>
                </a:cubicBezTo>
                <a:close/>
                <a:moveTo>
                  <a:pt x="3369857" y="283322"/>
                </a:moveTo>
                <a:cubicBezTo>
                  <a:pt x="3376420" y="283322"/>
                  <a:pt x="3382254" y="289885"/>
                  <a:pt x="3382254" y="297178"/>
                </a:cubicBezTo>
                <a:cubicBezTo>
                  <a:pt x="3382254" y="305200"/>
                  <a:pt x="3376420" y="309576"/>
                  <a:pt x="3369857" y="309576"/>
                </a:cubicBezTo>
                <a:cubicBezTo>
                  <a:pt x="3362564" y="309576"/>
                  <a:pt x="3356001" y="305200"/>
                  <a:pt x="3356001" y="297178"/>
                </a:cubicBezTo>
                <a:cubicBezTo>
                  <a:pt x="3356001" y="289885"/>
                  <a:pt x="3362564" y="283322"/>
                  <a:pt x="3369857" y="283322"/>
                </a:cubicBezTo>
                <a:close/>
                <a:moveTo>
                  <a:pt x="3299100" y="283322"/>
                </a:moveTo>
                <a:cubicBezTo>
                  <a:pt x="3305662" y="283322"/>
                  <a:pt x="3311496" y="289885"/>
                  <a:pt x="3311496" y="297178"/>
                </a:cubicBezTo>
                <a:cubicBezTo>
                  <a:pt x="3311496" y="305200"/>
                  <a:pt x="3305662" y="309576"/>
                  <a:pt x="3299100" y="309576"/>
                </a:cubicBezTo>
                <a:cubicBezTo>
                  <a:pt x="3291804" y="309576"/>
                  <a:pt x="3285242" y="305200"/>
                  <a:pt x="3285242" y="297178"/>
                </a:cubicBezTo>
                <a:cubicBezTo>
                  <a:pt x="3285242" y="289885"/>
                  <a:pt x="3291804" y="283322"/>
                  <a:pt x="3299100" y="283322"/>
                </a:cubicBezTo>
                <a:close/>
                <a:moveTo>
                  <a:pt x="3226808" y="283322"/>
                </a:moveTo>
                <a:cubicBezTo>
                  <a:pt x="3234828" y="283322"/>
                  <a:pt x="3240664" y="289885"/>
                  <a:pt x="3240664" y="297178"/>
                </a:cubicBezTo>
                <a:cubicBezTo>
                  <a:pt x="3240664" y="305200"/>
                  <a:pt x="3234828" y="309576"/>
                  <a:pt x="3226808" y="309576"/>
                </a:cubicBezTo>
                <a:cubicBezTo>
                  <a:pt x="3220245" y="309576"/>
                  <a:pt x="3214410" y="305200"/>
                  <a:pt x="3214410" y="297178"/>
                </a:cubicBezTo>
                <a:cubicBezTo>
                  <a:pt x="3214410" y="289885"/>
                  <a:pt x="3220245" y="283322"/>
                  <a:pt x="3226808" y="283322"/>
                </a:cubicBezTo>
                <a:close/>
                <a:moveTo>
                  <a:pt x="3152605" y="283322"/>
                </a:moveTo>
                <a:cubicBezTo>
                  <a:pt x="3159898" y="283322"/>
                  <a:pt x="3166462" y="289885"/>
                  <a:pt x="3166462" y="297178"/>
                </a:cubicBezTo>
                <a:cubicBezTo>
                  <a:pt x="3166462" y="305200"/>
                  <a:pt x="3159898" y="309576"/>
                  <a:pt x="3152605" y="309576"/>
                </a:cubicBezTo>
                <a:cubicBezTo>
                  <a:pt x="3146041" y="309576"/>
                  <a:pt x="3140209" y="305200"/>
                  <a:pt x="3140209" y="297178"/>
                </a:cubicBezTo>
                <a:cubicBezTo>
                  <a:pt x="3140209" y="289885"/>
                  <a:pt x="3146041" y="283322"/>
                  <a:pt x="3152605" y="283322"/>
                </a:cubicBezTo>
                <a:close/>
                <a:moveTo>
                  <a:pt x="3081774" y="283322"/>
                </a:moveTo>
                <a:cubicBezTo>
                  <a:pt x="3089066" y="283322"/>
                  <a:pt x="3095628" y="289885"/>
                  <a:pt x="3095628" y="297178"/>
                </a:cubicBezTo>
                <a:cubicBezTo>
                  <a:pt x="3095628" y="305200"/>
                  <a:pt x="3089066" y="309576"/>
                  <a:pt x="3081774" y="309576"/>
                </a:cubicBezTo>
                <a:cubicBezTo>
                  <a:pt x="3073750" y="309576"/>
                  <a:pt x="3069375" y="305200"/>
                  <a:pt x="3069375" y="297178"/>
                </a:cubicBezTo>
                <a:cubicBezTo>
                  <a:pt x="3069375" y="289885"/>
                  <a:pt x="3073750" y="283322"/>
                  <a:pt x="3081774" y="283322"/>
                </a:cubicBezTo>
                <a:close/>
                <a:moveTo>
                  <a:pt x="3013717" y="283322"/>
                </a:moveTo>
                <a:cubicBezTo>
                  <a:pt x="3021307" y="283322"/>
                  <a:pt x="3028135" y="289885"/>
                  <a:pt x="3028135" y="297178"/>
                </a:cubicBezTo>
                <a:cubicBezTo>
                  <a:pt x="3028135" y="305200"/>
                  <a:pt x="3021307" y="309576"/>
                  <a:pt x="3013717" y="309576"/>
                </a:cubicBezTo>
                <a:cubicBezTo>
                  <a:pt x="3005371" y="309576"/>
                  <a:pt x="2998539" y="305200"/>
                  <a:pt x="2998539" y="297178"/>
                </a:cubicBezTo>
                <a:cubicBezTo>
                  <a:pt x="2998539" y="289885"/>
                  <a:pt x="3005371" y="283322"/>
                  <a:pt x="3013717" y="283322"/>
                </a:cubicBezTo>
                <a:close/>
                <a:moveTo>
                  <a:pt x="2942494" y="283322"/>
                </a:moveTo>
                <a:cubicBezTo>
                  <a:pt x="2951055" y="283322"/>
                  <a:pt x="2957288" y="290327"/>
                  <a:pt x="2957288" y="298111"/>
                </a:cubicBezTo>
                <a:cubicBezTo>
                  <a:pt x="2957288" y="306673"/>
                  <a:pt x="2951055" y="312900"/>
                  <a:pt x="2942494" y="312900"/>
                </a:cubicBezTo>
                <a:cubicBezTo>
                  <a:pt x="2934713" y="312900"/>
                  <a:pt x="2927711" y="306673"/>
                  <a:pt x="2927711" y="298111"/>
                </a:cubicBezTo>
                <a:cubicBezTo>
                  <a:pt x="2927711" y="290327"/>
                  <a:pt x="2934713" y="283322"/>
                  <a:pt x="2942494" y="283322"/>
                </a:cubicBezTo>
                <a:close/>
                <a:moveTo>
                  <a:pt x="2868293" y="283322"/>
                </a:moveTo>
                <a:cubicBezTo>
                  <a:pt x="2876858" y="283322"/>
                  <a:pt x="2883087" y="290327"/>
                  <a:pt x="2883087" y="298111"/>
                </a:cubicBezTo>
                <a:cubicBezTo>
                  <a:pt x="2883087" y="306673"/>
                  <a:pt x="2876858" y="312900"/>
                  <a:pt x="2868293" y="312900"/>
                </a:cubicBezTo>
                <a:cubicBezTo>
                  <a:pt x="2860512" y="312900"/>
                  <a:pt x="2853507" y="306673"/>
                  <a:pt x="2853507" y="298111"/>
                </a:cubicBezTo>
                <a:cubicBezTo>
                  <a:pt x="2853507" y="290327"/>
                  <a:pt x="2860512" y="283322"/>
                  <a:pt x="2868293" y="283322"/>
                </a:cubicBezTo>
                <a:close/>
                <a:moveTo>
                  <a:pt x="2796535" y="283322"/>
                </a:moveTo>
                <a:cubicBezTo>
                  <a:pt x="2804558" y="283322"/>
                  <a:pt x="2808934" y="290327"/>
                  <a:pt x="2808934" y="298111"/>
                </a:cubicBezTo>
                <a:cubicBezTo>
                  <a:pt x="2808934" y="306673"/>
                  <a:pt x="2804558" y="312900"/>
                  <a:pt x="2796535" y="312900"/>
                </a:cubicBezTo>
                <a:cubicBezTo>
                  <a:pt x="2789243" y="312900"/>
                  <a:pt x="2782678" y="306673"/>
                  <a:pt x="2782678" y="298111"/>
                </a:cubicBezTo>
                <a:cubicBezTo>
                  <a:pt x="2782678" y="290327"/>
                  <a:pt x="2789243" y="283322"/>
                  <a:pt x="2796535" y="283322"/>
                </a:cubicBezTo>
                <a:close/>
                <a:moveTo>
                  <a:pt x="2725698" y="283322"/>
                </a:moveTo>
                <a:cubicBezTo>
                  <a:pt x="2731532" y="283322"/>
                  <a:pt x="2738100" y="290327"/>
                  <a:pt x="2738100" y="298111"/>
                </a:cubicBezTo>
                <a:cubicBezTo>
                  <a:pt x="2738100" y="306673"/>
                  <a:pt x="2731532" y="312900"/>
                  <a:pt x="2725698" y="312900"/>
                </a:cubicBezTo>
                <a:cubicBezTo>
                  <a:pt x="2717681" y="312900"/>
                  <a:pt x="2711846" y="306673"/>
                  <a:pt x="2711846" y="298111"/>
                </a:cubicBezTo>
                <a:cubicBezTo>
                  <a:pt x="2711846" y="290327"/>
                  <a:pt x="2717681" y="283322"/>
                  <a:pt x="2725698" y="283322"/>
                </a:cubicBezTo>
                <a:close/>
                <a:moveTo>
                  <a:pt x="2653415" y="283322"/>
                </a:moveTo>
                <a:cubicBezTo>
                  <a:pt x="2660705" y="283322"/>
                  <a:pt x="2667270" y="290327"/>
                  <a:pt x="2667270" y="298111"/>
                </a:cubicBezTo>
                <a:cubicBezTo>
                  <a:pt x="2667270" y="306673"/>
                  <a:pt x="2660705" y="312900"/>
                  <a:pt x="2653415" y="312900"/>
                </a:cubicBezTo>
                <a:cubicBezTo>
                  <a:pt x="2646857" y="312900"/>
                  <a:pt x="2641021" y="306673"/>
                  <a:pt x="2641021" y="298111"/>
                </a:cubicBezTo>
                <a:cubicBezTo>
                  <a:pt x="2641021" y="290327"/>
                  <a:pt x="2646857" y="283322"/>
                  <a:pt x="2653415" y="283322"/>
                </a:cubicBezTo>
                <a:close/>
                <a:moveTo>
                  <a:pt x="2582583" y="283322"/>
                </a:moveTo>
                <a:cubicBezTo>
                  <a:pt x="2589875" y="283322"/>
                  <a:pt x="2596439" y="290327"/>
                  <a:pt x="2596439" y="298111"/>
                </a:cubicBezTo>
                <a:cubicBezTo>
                  <a:pt x="2596439" y="306673"/>
                  <a:pt x="2589875" y="312900"/>
                  <a:pt x="2582583" y="312900"/>
                </a:cubicBezTo>
                <a:cubicBezTo>
                  <a:pt x="2576019" y="312900"/>
                  <a:pt x="2570189" y="306673"/>
                  <a:pt x="2570189" y="298111"/>
                </a:cubicBezTo>
                <a:cubicBezTo>
                  <a:pt x="2570189" y="290327"/>
                  <a:pt x="2576019" y="283322"/>
                  <a:pt x="2582583" y="283322"/>
                </a:cubicBezTo>
                <a:close/>
                <a:moveTo>
                  <a:pt x="2511029" y="283322"/>
                </a:moveTo>
                <a:cubicBezTo>
                  <a:pt x="2519050" y="283322"/>
                  <a:pt x="2525613" y="290327"/>
                  <a:pt x="2525613" y="298111"/>
                </a:cubicBezTo>
                <a:cubicBezTo>
                  <a:pt x="2525613" y="306673"/>
                  <a:pt x="2519050" y="312900"/>
                  <a:pt x="2511029" y="312900"/>
                </a:cubicBezTo>
                <a:cubicBezTo>
                  <a:pt x="2503740" y="312900"/>
                  <a:pt x="2499361" y="306673"/>
                  <a:pt x="2499361" y="298111"/>
                </a:cubicBezTo>
                <a:cubicBezTo>
                  <a:pt x="2499361" y="290327"/>
                  <a:pt x="2503740" y="283322"/>
                  <a:pt x="2511029" y="283322"/>
                </a:cubicBezTo>
                <a:close/>
                <a:moveTo>
                  <a:pt x="2439946" y="283322"/>
                </a:moveTo>
                <a:cubicBezTo>
                  <a:pt x="2448505" y="283322"/>
                  <a:pt x="2454732" y="290327"/>
                  <a:pt x="2454732" y="298111"/>
                </a:cubicBezTo>
                <a:cubicBezTo>
                  <a:pt x="2454732" y="306673"/>
                  <a:pt x="2448505" y="312900"/>
                  <a:pt x="2439946" y="312900"/>
                </a:cubicBezTo>
                <a:cubicBezTo>
                  <a:pt x="2432160" y="312900"/>
                  <a:pt x="2425156" y="306673"/>
                  <a:pt x="2425156" y="298111"/>
                </a:cubicBezTo>
                <a:cubicBezTo>
                  <a:pt x="2425156" y="290327"/>
                  <a:pt x="2432160" y="283322"/>
                  <a:pt x="2439946" y="283322"/>
                </a:cubicBezTo>
                <a:close/>
                <a:moveTo>
                  <a:pt x="2369110" y="283322"/>
                </a:moveTo>
                <a:cubicBezTo>
                  <a:pt x="2377672" y="283322"/>
                  <a:pt x="2383899" y="290327"/>
                  <a:pt x="2383899" y="298111"/>
                </a:cubicBezTo>
                <a:cubicBezTo>
                  <a:pt x="2383899" y="306673"/>
                  <a:pt x="2377672" y="312900"/>
                  <a:pt x="2369110" y="312900"/>
                </a:cubicBezTo>
                <a:cubicBezTo>
                  <a:pt x="2361327" y="312900"/>
                  <a:pt x="2354319" y="306673"/>
                  <a:pt x="2354319" y="298111"/>
                </a:cubicBezTo>
                <a:cubicBezTo>
                  <a:pt x="2354319" y="290327"/>
                  <a:pt x="2361327" y="283322"/>
                  <a:pt x="2369110" y="283322"/>
                </a:cubicBezTo>
                <a:close/>
                <a:moveTo>
                  <a:pt x="2298280" y="283322"/>
                </a:moveTo>
                <a:cubicBezTo>
                  <a:pt x="2306842" y="283322"/>
                  <a:pt x="2313068" y="290327"/>
                  <a:pt x="2313068" y="298111"/>
                </a:cubicBezTo>
                <a:cubicBezTo>
                  <a:pt x="2313068" y="306673"/>
                  <a:pt x="2306842" y="312900"/>
                  <a:pt x="2298280" y="312900"/>
                </a:cubicBezTo>
                <a:cubicBezTo>
                  <a:pt x="2290497" y="312900"/>
                  <a:pt x="2283490" y="306673"/>
                  <a:pt x="2283490" y="298111"/>
                </a:cubicBezTo>
                <a:cubicBezTo>
                  <a:pt x="2283490" y="290327"/>
                  <a:pt x="2290497" y="283322"/>
                  <a:pt x="2298280" y="283322"/>
                </a:cubicBezTo>
                <a:close/>
                <a:moveTo>
                  <a:pt x="2226517" y="283322"/>
                </a:moveTo>
                <a:cubicBezTo>
                  <a:pt x="2234538" y="283322"/>
                  <a:pt x="2238914" y="290327"/>
                  <a:pt x="2238914" y="298111"/>
                </a:cubicBezTo>
                <a:cubicBezTo>
                  <a:pt x="2238914" y="306673"/>
                  <a:pt x="2234538" y="312900"/>
                  <a:pt x="2226517" y="312900"/>
                </a:cubicBezTo>
                <a:cubicBezTo>
                  <a:pt x="2218495" y="312900"/>
                  <a:pt x="2212658" y="306673"/>
                  <a:pt x="2212658" y="298111"/>
                </a:cubicBezTo>
                <a:cubicBezTo>
                  <a:pt x="2212658" y="290327"/>
                  <a:pt x="2218495" y="283322"/>
                  <a:pt x="2226517" y="283322"/>
                </a:cubicBezTo>
                <a:close/>
                <a:moveTo>
                  <a:pt x="2155683" y="283322"/>
                </a:moveTo>
                <a:cubicBezTo>
                  <a:pt x="2161519" y="283322"/>
                  <a:pt x="2168081" y="290327"/>
                  <a:pt x="2168081" y="298111"/>
                </a:cubicBezTo>
                <a:cubicBezTo>
                  <a:pt x="2168081" y="306673"/>
                  <a:pt x="2161519" y="312900"/>
                  <a:pt x="2155683" y="312900"/>
                </a:cubicBezTo>
                <a:cubicBezTo>
                  <a:pt x="2147663" y="312900"/>
                  <a:pt x="2141827" y="306673"/>
                  <a:pt x="2141827" y="298111"/>
                </a:cubicBezTo>
                <a:cubicBezTo>
                  <a:pt x="2141827" y="290327"/>
                  <a:pt x="2147663" y="283322"/>
                  <a:pt x="2155683" y="283322"/>
                </a:cubicBezTo>
                <a:close/>
                <a:moveTo>
                  <a:pt x="2084849" y="283322"/>
                </a:moveTo>
                <a:cubicBezTo>
                  <a:pt x="2090685" y="283322"/>
                  <a:pt x="2097248" y="290327"/>
                  <a:pt x="2097248" y="298111"/>
                </a:cubicBezTo>
                <a:cubicBezTo>
                  <a:pt x="2097248" y="306673"/>
                  <a:pt x="2090685" y="312900"/>
                  <a:pt x="2084849" y="312900"/>
                </a:cubicBezTo>
                <a:cubicBezTo>
                  <a:pt x="2076828" y="312900"/>
                  <a:pt x="2070994" y="306673"/>
                  <a:pt x="2070994" y="298111"/>
                </a:cubicBezTo>
                <a:cubicBezTo>
                  <a:pt x="2070994" y="290327"/>
                  <a:pt x="2076828" y="283322"/>
                  <a:pt x="2084849" y="283322"/>
                </a:cubicBezTo>
                <a:close/>
                <a:moveTo>
                  <a:pt x="2011835" y="283322"/>
                </a:moveTo>
                <a:cubicBezTo>
                  <a:pt x="2019855" y="283322"/>
                  <a:pt x="2026421" y="290327"/>
                  <a:pt x="2026421" y="298111"/>
                </a:cubicBezTo>
                <a:cubicBezTo>
                  <a:pt x="2026421" y="306673"/>
                  <a:pt x="2019855" y="312900"/>
                  <a:pt x="2011835" y="312900"/>
                </a:cubicBezTo>
                <a:cubicBezTo>
                  <a:pt x="2006002" y="312900"/>
                  <a:pt x="2000168" y="306673"/>
                  <a:pt x="2000168" y="298111"/>
                </a:cubicBezTo>
                <a:cubicBezTo>
                  <a:pt x="2000168" y="290327"/>
                  <a:pt x="2006002" y="283322"/>
                  <a:pt x="2011835" y="283322"/>
                </a:cubicBezTo>
                <a:close/>
                <a:moveTo>
                  <a:pt x="1938362" y="283322"/>
                </a:moveTo>
                <a:cubicBezTo>
                  <a:pt x="1946385" y="283322"/>
                  <a:pt x="1952222" y="290327"/>
                  <a:pt x="1952222" y="298111"/>
                </a:cubicBezTo>
                <a:cubicBezTo>
                  <a:pt x="1952222" y="306673"/>
                  <a:pt x="1946385" y="312900"/>
                  <a:pt x="1938362" y="312900"/>
                </a:cubicBezTo>
                <a:cubicBezTo>
                  <a:pt x="1932531" y="312900"/>
                  <a:pt x="1925968" y="306673"/>
                  <a:pt x="1925968" y="298111"/>
                </a:cubicBezTo>
                <a:cubicBezTo>
                  <a:pt x="1925968" y="290327"/>
                  <a:pt x="1932531" y="283322"/>
                  <a:pt x="1938362" y="283322"/>
                </a:cubicBezTo>
                <a:close/>
                <a:moveTo>
                  <a:pt x="1867527" y="283322"/>
                </a:moveTo>
                <a:cubicBezTo>
                  <a:pt x="1875550" y="283322"/>
                  <a:pt x="1881384" y="290327"/>
                  <a:pt x="1881384" y="298111"/>
                </a:cubicBezTo>
                <a:cubicBezTo>
                  <a:pt x="1881384" y="306673"/>
                  <a:pt x="1875550" y="312900"/>
                  <a:pt x="1867527" y="312900"/>
                </a:cubicBezTo>
                <a:cubicBezTo>
                  <a:pt x="1860235" y="312900"/>
                  <a:pt x="1855129" y="306673"/>
                  <a:pt x="1855129" y="298111"/>
                </a:cubicBezTo>
                <a:cubicBezTo>
                  <a:pt x="1855129" y="290327"/>
                  <a:pt x="1860235" y="283322"/>
                  <a:pt x="1867527" y="283322"/>
                </a:cubicBezTo>
                <a:close/>
                <a:moveTo>
                  <a:pt x="1799085" y="283322"/>
                </a:moveTo>
                <a:cubicBezTo>
                  <a:pt x="1807647" y="283322"/>
                  <a:pt x="1813876" y="290327"/>
                  <a:pt x="1813876" y="298111"/>
                </a:cubicBezTo>
                <a:cubicBezTo>
                  <a:pt x="1813876" y="306673"/>
                  <a:pt x="1807647" y="312900"/>
                  <a:pt x="1799085" y="312900"/>
                </a:cubicBezTo>
                <a:cubicBezTo>
                  <a:pt x="1790525" y="312900"/>
                  <a:pt x="1784300" y="306673"/>
                  <a:pt x="1784300" y="298111"/>
                </a:cubicBezTo>
                <a:cubicBezTo>
                  <a:pt x="1784300" y="290327"/>
                  <a:pt x="1790525" y="283322"/>
                  <a:pt x="1799085" y="283322"/>
                </a:cubicBezTo>
                <a:close/>
                <a:moveTo>
                  <a:pt x="1728262" y="283322"/>
                </a:moveTo>
                <a:cubicBezTo>
                  <a:pt x="1736825" y="283322"/>
                  <a:pt x="1743052" y="290327"/>
                  <a:pt x="1743052" y="298111"/>
                </a:cubicBezTo>
                <a:cubicBezTo>
                  <a:pt x="1743052" y="306673"/>
                  <a:pt x="1736825" y="312900"/>
                  <a:pt x="1728262" y="312900"/>
                </a:cubicBezTo>
                <a:cubicBezTo>
                  <a:pt x="1719697" y="312900"/>
                  <a:pt x="1713472" y="306673"/>
                  <a:pt x="1713472" y="298111"/>
                </a:cubicBezTo>
                <a:cubicBezTo>
                  <a:pt x="1713472" y="290327"/>
                  <a:pt x="1719697" y="283322"/>
                  <a:pt x="1728262" y="283322"/>
                </a:cubicBezTo>
                <a:close/>
                <a:moveTo>
                  <a:pt x="1656498" y="283322"/>
                </a:moveTo>
                <a:cubicBezTo>
                  <a:pt x="1663792" y="283322"/>
                  <a:pt x="1668897" y="290327"/>
                  <a:pt x="1668897" y="298111"/>
                </a:cubicBezTo>
                <a:cubicBezTo>
                  <a:pt x="1668897" y="306673"/>
                  <a:pt x="1663792" y="312900"/>
                  <a:pt x="1656498" y="312900"/>
                </a:cubicBezTo>
                <a:cubicBezTo>
                  <a:pt x="1648481" y="312900"/>
                  <a:pt x="1642650" y="306673"/>
                  <a:pt x="1642650" y="298111"/>
                </a:cubicBezTo>
                <a:cubicBezTo>
                  <a:pt x="1642650" y="290327"/>
                  <a:pt x="1648481" y="283322"/>
                  <a:pt x="1656498" y="283322"/>
                </a:cubicBezTo>
                <a:close/>
                <a:moveTo>
                  <a:pt x="1582299" y="283322"/>
                </a:moveTo>
                <a:cubicBezTo>
                  <a:pt x="1588131" y="283322"/>
                  <a:pt x="1594704" y="290327"/>
                  <a:pt x="1594704" y="298111"/>
                </a:cubicBezTo>
                <a:cubicBezTo>
                  <a:pt x="1594704" y="306673"/>
                  <a:pt x="1588131" y="312900"/>
                  <a:pt x="1582299" y="312900"/>
                </a:cubicBezTo>
                <a:cubicBezTo>
                  <a:pt x="1574277" y="312900"/>
                  <a:pt x="1568441" y="306673"/>
                  <a:pt x="1568441" y="298111"/>
                </a:cubicBezTo>
                <a:cubicBezTo>
                  <a:pt x="1568441" y="290327"/>
                  <a:pt x="1574277" y="283322"/>
                  <a:pt x="1582299" y="283322"/>
                </a:cubicBezTo>
                <a:close/>
                <a:moveTo>
                  <a:pt x="1512198" y="283322"/>
                </a:moveTo>
                <a:cubicBezTo>
                  <a:pt x="1518032" y="283322"/>
                  <a:pt x="1523865" y="290327"/>
                  <a:pt x="1523865" y="298111"/>
                </a:cubicBezTo>
                <a:cubicBezTo>
                  <a:pt x="1523865" y="306673"/>
                  <a:pt x="1518032" y="312900"/>
                  <a:pt x="1512198" y="312900"/>
                </a:cubicBezTo>
                <a:cubicBezTo>
                  <a:pt x="1504174" y="312900"/>
                  <a:pt x="1497612" y="306673"/>
                  <a:pt x="1497612" y="298111"/>
                </a:cubicBezTo>
                <a:cubicBezTo>
                  <a:pt x="1497612" y="290327"/>
                  <a:pt x="1504174" y="283322"/>
                  <a:pt x="1512198" y="283322"/>
                </a:cubicBezTo>
                <a:close/>
                <a:moveTo>
                  <a:pt x="1439173" y="283322"/>
                </a:moveTo>
                <a:cubicBezTo>
                  <a:pt x="1447191" y="283322"/>
                  <a:pt x="1453026" y="290327"/>
                  <a:pt x="1453026" y="298111"/>
                </a:cubicBezTo>
                <a:cubicBezTo>
                  <a:pt x="1453026" y="306673"/>
                  <a:pt x="1447191" y="312900"/>
                  <a:pt x="1439173" y="312900"/>
                </a:cubicBezTo>
                <a:cubicBezTo>
                  <a:pt x="1433336" y="312900"/>
                  <a:pt x="1426777" y="306673"/>
                  <a:pt x="1426777" y="298111"/>
                </a:cubicBezTo>
                <a:cubicBezTo>
                  <a:pt x="1426777" y="290327"/>
                  <a:pt x="1433336" y="283322"/>
                  <a:pt x="1439173" y="283322"/>
                </a:cubicBezTo>
                <a:close/>
                <a:moveTo>
                  <a:pt x="1368347" y="283322"/>
                </a:moveTo>
                <a:cubicBezTo>
                  <a:pt x="1376368" y="283322"/>
                  <a:pt x="1382200" y="290327"/>
                  <a:pt x="1382200" y="298111"/>
                </a:cubicBezTo>
                <a:cubicBezTo>
                  <a:pt x="1382200" y="306673"/>
                  <a:pt x="1376368" y="312900"/>
                  <a:pt x="1368347" y="312900"/>
                </a:cubicBezTo>
                <a:cubicBezTo>
                  <a:pt x="1362513" y="312900"/>
                  <a:pt x="1355949" y="306673"/>
                  <a:pt x="1355949" y="298111"/>
                </a:cubicBezTo>
                <a:cubicBezTo>
                  <a:pt x="1355949" y="290327"/>
                  <a:pt x="1362513" y="283322"/>
                  <a:pt x="1368347" y="283322"/>
                </a:cubicBezTo>
                <a:close/>
                <a:moveTo>
                  <a:pt x="1297518" y="283322"/>
                </a:moveTo>
                <a:cubicBezTo>
                  <a:pt x="1305540" y="283322"/>
                  <a:pt x="1311374" y="290327"/>
                  <a:pt x="1311374" y="298111"/>
                </a:cubicBezTo>
                <a:cubicBezTo>
                  <a:pt x="1311374" y="306673"/>
                  <a:pt x="1305540" y="312900"/>
                  <a:pt x="1297518" y="312900"/>
                </a:cubicBezTo>
                <a:cubicBezTo>
                  <a:pt x="1289498" y="312900"/>
                  <a:pt x="1285121" y="306673"/>
                  <a:pt x="1285121" y="298111"/>
                </a:cubicBezTo>
                <a:cubicBezTo>
                  <a:pt x="1285121" y="290327"/>
                  <a:pt x="1289498" y="283322"/>
                  <a:pt x="1297518" y="283322"/>
                </a:cubicBezTo>
                <a:close/>
                <a:moveTo>
                  <a:pt x="1154890" y="283322"/>
                </a:moveTo>
                <a:cubicBezTo>
                  <a:pt x="1162674" y="283322"/>
                  <a:pt x="1169683" y="288427"/>
                  <a:pt x="1169683" y="295719"/>
                </a:cubicBezTo>
                <a:cubicBezTo>
                  <a:pt x="1169683" y="303741"/>
                  <a:pt x="1162674" y="309576"/>
                  <a:pt x="1154890" y="309576"/>
                </a:cubicBezTo>
                <a:cubicBezTo>
                  <a:pt x="1146329" y="309576"/>
                  <a:pt x="1140101" y="303741"/>
                  <a:pt x="1140101" y="295719"/>
                </a:cubicBezTo>
                <a:cubicBezTo>
                  <a:pt x="1140101" y="288427"/>
                  <a:pt x="1146329" y="283322"/>
                  <a:pt x="1154890" y="283322"/>
                </a:cubicBezTo>
                <a:close/>
                <a:moveTo>
                  <a:pt x="1084059" y="283322"/>
                </a:moveTo>
                <a:cubicBezTo>
                  <a:pt x="1091842" y="283322"/>
                  <a:pt x="1098847" y="288427"/>
                  <a:pt x="1098847" y="295719"/>
                </a:cubicBezTo>
                <a:cubicBezTo>
                  <a:pt x="1098847" y="303741"/>
                  <a:pt x="1091842" y="309576"/>
                  <a:pt x="1084059" y="309576"/>
                </a:cubicBezTo>
                <a:cubicBezTo>
                  <a:pt x="1075503" y="309576"/>
                  <a:pt x="1069272" y="303741"/>
                  <a:pt x="1069272" y="295719"/>
                </a:cubicBezTo>
                <a:cubicBezTo>
                  <a:pt x="1069272" y="288427"/>
                  <a:pt x="1075503" y="283322"/>
                  <a:pt x="1084059" y="283322"/>
                </a:cubicBezTo>
                <a:close/>
                <a:moveTo>
                  <a:pt x="1013024" y="283322"/>
                </a:moveTo>
                <a:cubicBezTo>
                  <a:pt x="1020314" y="283322"/>
                  <a:pt x="1024691" y="288427"/>
                  <a:pt x="1024691" y="295719"/>
                </a:cubicBezTo>
                <a:cubicBezTo>
                  <a:pt x="1024691" y="303741"/>
                  <a:pt x="1020314" y="309576"/>
                  <a:pt x="1013024" y="309576"/>
                </a:cubicBezTo>
                <a:cubicBezTo>
                  <a:pt x="1005003" y="309576"/>
                  <a:pt x="998442" y="303741"/>
                  <a:pt x="998442" y="295719"/>
                </a:cubicBezTo>
                <a:cubicBezTo>
                  <a:pt x="998442" y="288427"/>
                  <a:pt x="1005003" y="283322"/>
                  <a:pt x="1013024" y="283322"/>
                </a:cubicBezTo>
                <a:close/>
                <a:moveTo>
                  <a:pt x="941467" y="283322"/>
                </a:moveTo>
                <a:cubicBezTo>
                  <a:pt x="948032" y="283322"/>
                  <a:pt x="953869" y="288427"/>
                  <a:pt x="953869" y="295719"/>
                </a:cubicBezTo>
                <a:cubicBezTo>
                  <a:pt x="953869" y="303741"/>
                  <a:pt x="948032" y="309576"/>
                  <a:pt x="941467" y="309576"/>
                </a:cubicBezTo>
                <a:cubicBezTo>
                  <a:pt x="934173" y="309576"/>
                  <a:pt x="927612" y="303741"/>
                  <a:pt x="927612" y="295719"/>
                </a:cubicBezTo>
                <a:cubicBezTo>
                  <a:pt x="927612" y="288427"/>
                  <a:pt x="934173" y="283322"/>
                  <a:pt x="941467" y="283322"/>
                </a:cubicBezTo>
                <a:close/>
                <a:moveTo>
                  <a:pt x="3299102" y="212492"/>
                </a:moveTo>
                <a:cubicBezTo>
                  <a:pt x="3305664" y="212492"/>
                  <a:pt x="3311499" y="219055"/>
                  <a:pt x="3311499" y="226348"/>
                </a:cubicBezTo>
                <a:cubicBezTo>
                  <a:pt x="3311499" y="232911"/>
                  <a:pt x="3305664" y="238746"/>
                  <a:pt x="3299102" y="238746"/>
                </a:cubicBezTo>
                <a:cubicBezTo>
                  <a:pt x="3291807" y="238746"/>
                  <a:pt x="3285245" y="232911"/>
                  <a:pt x="3285245" y="226348"/>
                </a:cubicBezTo>
                <a:cubicBezTo>
                  <a:pt x="3285245" y="219055"/>
                  <a:pt x="3291807" y="212492"/>
                  <a:pt x="3299102" y="212492"/>
                </a:cubicBezTo>
                <a:close/>
                <a:moveTo>
                  <a:pt x="3226811" y="212492"/>
                </a:moveTo>
                <a:cubicBezTo>
                  <a:pt x="3234831" y="212492"/>
                  <a:pt x="3240667" y="219055"/>
                  <a:pt x="3240667" y="226348"/>
                </a:cubicBezTo>
                <a:cubicBezTo>
                  <a:pt x="3240667" y="232911"/>
                  <a:pt x="3234831" y="238746"/>
                  <a:pt x="3226811" y="238746"/>
                </a:cubicBezTo>
                <a:cubicBezTo>
                  <a:pt x="3220250" y="238746"/>
                  <a:pt x="3214412" y="232911"/>
                  <a:pt x="3214412" y="226348"/>
                </a:cubicBezTo>
                <a:cubicBezTo>
                  <a:pt x="3214412" y="219055"/>
                  <a:pt x="3220250" y="212492"/>
                  <a:pt x="3226811" y="212492"/>
                </a:cubicBezTo>
                <a:close/>
                <a:moveTo>
                  <a:pt x="3152608" y="212492"/>
                </a:moveTo>
                <a:cubicBezTo>
                  <a:pt x="3159900" y="212492"/>
                  <a:pt x="3166462" y="219055"/>
                  <a:pt x="3166462" y="226348"/>
                </a:cubicBezTo>
                <a:cubicBezTo>
                  <a:pt x="3166462" y="232911"/>
                  <a:pt x="3159900" y="238746"/>
                  <a:pt x="3152608" y="238746"/>
                </a:cubicBezTo>
                <a:cubicBezTo>
                  <a:pt x="3146043" y="238746"/>
                  <a:pt x="3140211" y="232911"/>
                  <a:pt x="3140211" y="226348"/>
                </a:cubicBezTo>
                <a:cubicBezTo>
                  <a:pt x="3140211" y="219055"/>
                  <a:pt x="3146043" y="212492"/>
                  <a:pt x="3152608" y="212492"/>
                </a:cubicBezTo>
                <a:close/>
                <a:moveTo>
                  <a:pt x="3081775" y="212492"/>
                </a:moveTo>
                <a:cubicBezTo>
                  <a:pt x="3089069" y="212492"/>
                  <a:pt x="3095628" y="219055"/>
                  <a:pt x="3095628" y="226348"/>
                </a:cubicBezTo>
                <a:cubicBezTo>
                  <a:pt x="3095628" y="232911"/>
                  <a:pt x="3089069" y="238746"/>
                  <a:pt x="3081775" y="238746"/>
                </a:cubicBezTo>
                <a:cubicBezTo>
                  <a:pt x="3073753" y="238746"/>
                  <a:pt x="3069375" y="232911"/>
                  <a:pt x="3069375" y="226348"/>
                </a:cubicBezTo>
                <a:cubicBezTo>
                  <a:pt x="3069375" y="219055"/>
                  <a:pt x="3073753" y="212492"/>
                  <a:pt x="3081775" y="212492"/>
                </a:cubicBezTo>
                <a:close/>
                <a:moveTo>
                  <a:pt x="3013720" y="212492"/>
                </a:moveTo>
                <a:cubicBezTo>
                  <a:pt x="3021310" y="212492"/>
                  <a:pt x="3028140" y="219055"/>
                  <a:pt x="3028140" y="226348"/>
                </a:cubicBezTo>
                <a:cubicBezTo>
                  <a:pt x="3028140" y="232911"/>
                  <a:pt x="3021310" y="238746"/>
                  <a:pt x="3013720" y="238746"/>
                </a:cubicBezTo>
                <a:cubicBezTo>
                  <a:pt x="3005373" y="238746"/>
                  <a:pt x="2998542" y="234370"/>
                  <a:pt x="2998542" y="226348"/>
                </a:cubicBezTo>
                <a:cubicBezTo>
                  <a:pt x="2998542" y="219055"/>
                  <a:pt x="3005373" y="212492"/>
                  <a:pt x="3013720" y="212492"/>
                </a:cubicBezTo>
                <a:close/>
                <a:moveTo>
                  <a:pt x="2942497" y="212492"/>
                </a:moveTo>
                <a:cubicBezTo>
                  <a:pt x="2951061" y="212492"/>
                  <a:pt x="2957293" y="219055"/>
                  <a:pt x="2957293" y="226348"/>
                </a:cubicBezTo>
                <a:cubicBezTo>
                  <a:pt x="2957293" y="234370"/>
                  <a:pt x="2951061" y="238746"/>
                  <a:pt x="2942497" y="238746"/>
                </a:cubicBezTo>
                <a:cubicBezTo>
                  <a:pt x="2934719" y="238746"/>
                  <a:pt x="2927716" y="234370"/>
                  <a:pt x="2927716" y="226348"/>
                </a:cubicBezTo>
                <a:cubicBezTo>
                  <a:pt x="2927716" y="219055"/>
                  <a:pt x="2934719" y="212492"/>
                  <a:pt x="2942497" y="212492"/>
                </a:cubicBezTo>
                <a:close/>
                <a:moveTo>
                  <a:pt x="2867363" y="212492"/>
                </a:moveTo>
                <a:cubicBezTo>
                  <a:pt x="2875389" y="212492"/>
                  <a:pt x="2879765" y="219055"/>
                  <a:pt x="2879765" y="226348"/>
                </a:cubicBezTo>
                <a:cubicBezTo>
                  <a:pt x="2879765" y="234370"/>
                  <a:pt x="2875389" y="238746"/>
                  <a:pt x="2867363" y="238746"/>
                </a:cubicBezTo>
                <a:cubicBezTo>
                  <a:pt x="2860073" y="238746"/>
                  <a:pt x="2853510" y="234370"/>
                  <a:pt x="2853510" y="226348"/>
                </a:cubicBezTo>
                <a:cubicBezTo>
                  <a:pt x="2853510" y="219055"/>
                  <a:pt x="2860073" y="212492"/>
                  <a:pt x="2867363" y="212492"/>
                </a:cubicBezTo>
                <a:close/>
                <a:moveTo>
                  <a:pt x="2796538" y="212492"/>
                </a:moveTo>
                <a:cubicBezTo>
                  <a:pt x="2803103" y="212492"/>
                  <a:pt x="2808934" y="219055"/>
                  <a:pt x="2808934" y="226348"/>
                </a:cubicBezTo>
                <a:cubicBezTo>
                  <a:pt x="2808934" y="234370"/>
                  <a:pt x="2803103" y="238746"/>
                  <a:pt x="2796538" y="238746"/>
                </a:cubicBezTo>
                <a:cubicBezTo>
                  <a:pt x="2789246" y="238746"/>
                  <a:pt x="2782680" y="234370"/>
                  <a:pt x="2782680" y="226348"/>
                </a:cubicBezTo>
                <a:cubicBezTo>
                  <a:pt x="2782680" y="219055"/>
                  <a:pt x="2789246" y="212492"/>
                  <a:pt x="2796538" y="212492"/>
                </a:cubicBezTo>
                <a:close/>
                <a:moveTo>
                  <a:pt x="2725698" y="212492"/>
                </a:moveTo>
                <a:cubicBezTo>
                  <a:pt x="2731538" y="212492"/>
                  <a:pt x="2738102" y="219055"/>
                  <a:pt x="2738102" y="226348"/>
                </a:cubicBezTo>
                <a:cubicBezTo>
                  <a:pt x="2738102" y="234370"/>
                  <a:pt x="2731538" y="238746"/>
                  <a:pt x="2725698" y="238746"/>
                </a:cubicBezTo>
                <a:cubicBezTo>
                  <a:pt x="2717686" y="238746"/>
                  <a:pt x="2711852" y="234370"/>
                  <a:pt x="2711852" y="226348"/>
                </a:cubicBezTo>
                <a:cubicBezTo>
                  <a:pt x="2711852" y="219055"/>
                  <a:pt x="2717686" y="212492"/>
                  <a:pt x="2725698" y="212492"/>
                </a:cubicBezTo>
                <a:close/>
                <a:moveTo>
                  <a:pt x="2653420" y="212492"/>
                </a:moveTo>
                <a:cubicBezTo>
                  <a:pt x="2660711" y="212492"/>
                  <a:pt x="2667273" y="219055"/>
                  <a:pt x="2667273" y="226348"/>
                </a:cubicBezTo>
                <a:cubicBezTo>
                  <a:pt x="2667273" y="234370"/>
                  <a:pt x="2660711" y="238746"/>
                  <a:pt x="2653420" y="238746"/>
                </a:cubicBezTo>
                <a:cubicBezTo>
                  <a:pt x="2646857" y="238746"/>
                  <a:pt x="2641021" y="234370"/>
                  <a:pt x="2641021" y="226348"/>
                </a:cubicBezTo>
                <a:cubicBezTo>
                  <a:pt x="2641021" y="219055"/>
                  <a:pt x="2646857" y="212492"/>
                  <a:pt x="2653420" y="212492"/>
                </a:cubicBezTo>
                <a:close/>
                <a:moveTo>
                  <a:pt x="2582586" y="212492"/>
                </a:moveTo>
                <a:cubicBezTo>
                  <a:pt x="2589878" y="212492"/>
                  <a:pt x="2596439" y="219055"/>
                  <a:pt x="2596439" y="226348"/>
                </a:cubicBezTo>
                <a:cubicBezTo>
                  <a:pt x="2596439" y="234370"/>
                  <a:pt x="2589878" y="238746"/>
                  <a:pt x="2582586" y="238746"/>
                </a:cubicBezTo>
                <a:cubicBezTo>
                  <a:pt x="2576024" y="238746"/>
                  <a:pt x="2570189" y="234370"/>
                  <a:pt x="2570189" y="226348"/>
                </a:cubicBezTo>
                <a:cubicBezTo>
                  <a:pt x="2570189" y="219055"/>
                  <a:pt x="2576024" y="212492"/>
                  <a:pt x="2582586" y="212492"/>
                </a:cubicBezTo>
                <a:close/>
                <a:moveTo>
                  <a:pt x="2511029" y="212492"/>
                </a:moveTo>
                <a:cubicBezTo>
                  <a:pt x="2519052" y="212492"/>
                  <a:pt x="2525616" y="219055"/>
                  <a:pt x="2525616" y="226348"/>
                </a:cubicBezTo>
                <a:cubicBezTo>
                  <a:pt x="2525616" y="234370"/>
                  <a:pt x="2519052" y="238746"/>
                  <a:pt x="2511029" y="238746"/>
                </a:cubicBezTo>
                <a:cubicBezTo>
                  <a:pt x="2503740" y="238746"/>
                  <a:pt x="2499364" y="234370"/>
                  <a:pt x="2499364" y="226348"/>
                </a:cubicBezTo>
                <a:cubicBezTo>
                  <a:pt x="2499364" y="219055"/>
                  <a:pt x="2503740" y="212492"/>
                  <a:pt x="2511029" y="212492"/>
                </a:cubicBezTo>
                <a:close/>
                <a:moveTo>
                  <a:pt x="2439946" y="212492"/>
                </a:moveTo>
                <a:cubicBezTo>
                  <a:pt x="2448505" y="212492"/>
                  <a:pt x="2454732" y="219055"/>
                  <a:pt x="2454732" y="226348"/>
                </a:cubicBezTo>
                <a:cubicBezTo>
                  <a:pt x="2454732" y="234370"/>
                  <a:pt x="2448505" y="238746"/>
                  <a:pt x="2439946" y="238746"/>
                </a:cubicBezTo>
                <a:cubicBezTo>
                  <a:pt x="2432163" y="238746"/>
                  <a:pt x="2425156" y="234370"/>
                  <a:pt x="2425156" y="226348"/>
                </a:cubicBezTo>
                <a:cubicBezTo>
                  <a:pt x="2425156" y="219055"/>
                  <a:pt x="2432163" y="212492"/>
                  <a:pt x="2439946" y="212492"/>
                </a:cubicBezTo>
                <a:close/>
                <a:moveTo>
                  <a:pt x="2369110" y="212492"/>
                </a:moveTo>
                <a:cubicBezTo>
                  <a:pt x="2377672" y="212492"/>
                  <a:pt x="2383900" y="219055"/>
                  <a:pt x="2383900" y="226348"/>
                </a:cubicBezTo>
                <a:cubicBezTo>
                  <a:pt x="2383900" y="234370"/>
                  <a:pt x="2377672" y="238746"/>
                  <a:pt x="2369110" y="238746"/>
                </a:cubicBezTo>
                <a:cubicBezTo>
                  <a:pt x="2361329" y="238746"/>
                  <a:pt x="2354323" y="234370"/>
                  <a:pt x="2354323" y="226348"/>
                </a:cubicBezTo>
                <a:cubicBezTo>
                  <a:pt x="2354323" y="219055"/>
                  <a:pt x="2361329" y="212492"/>
                  <a:pt x="2369110" y="212492"/>
                </a:cubicBezTo>
                <a:close/>
                <a:moveTo>
                  <a:pt x="2298283" y="212492"/>
                </a:moveTo>
                <a:cubicBezTo>
                  <a:pt x="2306842" y="212492"/>
                  <a:pt x="2313070" y="219497"/>
                  <a:pt x="2313070" y="227280"/>
                </a:cubicBezTo>
                <a:cubicBezTo>
                  <a:pt x="2313070" y="235842"/>
                  <a:pt x="2306842" y="242069"/>
                  <a:pt x="2298283" y="242069"/>
                </a:cubicBezTo>
                <a:cubicBezTo>
                  <a:pt x="2290497" y="242069"/>
                  <a:pt x="2283493" y="235842"/>
                  <a:pt x="2283493" y="227280"/>
                </a:cubicBezTo>
                <a:cubicBezTo>
                  <a:pt x="2283493" y="219497"/>
                  <a:pt x="2290497" y="212492"/>
                  <a:pt x="2298283" y="212492"/>
                </a:cubicBezTo>
                <a:close/>
                <a:moveTo>
                  <a:pt x="2226517" y="212492"/>
                </a:moveTo>
                <a:cubicBezTo>
                  <a:pt x="2234540" y="212492"/>
                  <a:pt x="2238916" y="219497"/>
                  <a:pt x="2238916" y="227280"/>
                </a:cubicBezTo>
                <a:cubicBezTo>
                  <a:pt x="2238916" y="235842"/>
                  <a:pt x="2234540" y="242069"/>
                  <a:pt x="2226517" y="242069"/>
                </a:cubicBezTo>
                <a:cubicBezTo>
                  <a:pt x="2218495" y="242069"/>
                  <a:pt x="2212659" y="235842"/>
                  <a:pt x="2212659" y="227280"/>
                </a:cubicBezTo>
                <a:cubicBezTo>
                  <a:pt x="2212659" y="219497"/>
                  <a:pt x="2218495" y="212492"/>
                  <a:pt x="2226517" y="212492"/>
                </a:cubicBezTo>
                <a:close/>
                <a:moveTo>
                  <a:pt x="2155683" y="212492"/>
                </a:moveTo>
                <a:cubicBezTo>
                  <a:pt x="2161519" y="212492"/>
                  <a:pt x="2168081" y="219497"/>
                  <a:pt x="2168081" y="227280"/>
                </a:cubicBezTo>
                <a:cubicBezTo>
                  <a:pt x="2168081" y="235842"/>
                  <a:pt x="2161519" y="242069"/>
                  <a:pt x="2155683" y="242069"/>
                </a:cubicBezTo>
                <a:cubicBezTo>
                  <a:pt x="2147663" y="242069"/>
                  <a:pt x="2141827" y="235842"/>
                  <a:pt x="2141827" y="227280"/>
                </a:cubicBezTo>
                <a:cubicBezTo>
                  <a:pt x="2141827" y="219497"/>
                  <a:pt x="2147663" y="212492"/>
                  <a:pt x="2155683" y="212492"/>
                </a:cubicBezTo>
                <a:close/>
                <a:moveTo>
                  <a:pt x="2084851" y="212492"/>
                </a:moveTo>
                <a:cubicBezTo>
                  <a:pt x="2090686" y="212492"/>
                  <a:pt x="2097249" y="219497"/>
                  <a:pt x="2097249" y="227280"/>
                </a:cubicBezTo>
                <a:cubicBezTo>
                  <a:pt x="2097249" y="235842"/>
                  <a:pt x="2090686" y="242069"/>
                  <a:pt x="2084851" y="242069"/>
                </a:cubicBezTo>
                <a:cubicBezTo>
                  <a:pt x="2076829" y="242069"/>
                  <a:pt x="2070995" y="235842"/>
                  <a:pt x="2070995" y="227280"/>
                </a:cubicBezTo>
                <a:cubicBezTo>
                  <a:pt x="2070995" y="219497"/>
                  <a:pt x="2076829" y="212492"/>
                  <a:pt x="2084851" y="212492"/>
                </a:cubicBezTo>
                <a:close/>
                <a:moveTo>
                  <a:pt x="2011835" y="212492"/>
                </a:moveTo>
                <a:cubicBezTo>
                  <a:pt x="2019855" y="212492"/>
                  <a:pt x="2026421" y="219497"/>
                  <a:pt x="2026421" y="227280"/>
                </a:cubicBezTo>
                <a:cubicBezTo>
                  <a:pt x="2026421" y="235842"/>
                  <a:pt x="2019855" y="242069"/>
                  <a:pt x="2011835" y="242069"/>
                </a:cubicBezTo>
                <a:cubicBezTo>
                  <a:pt x="2006003" y="242069"/>
                  <a:pt x="2000168" y="235842"/>
                  <a:pt x="2000168" y="227280"/>
                </a:cubicBezTo>
                <a:cubicBezTo>
                  <a:pt x="2000168" y="219497"/>
                  <a:pt x="2006003" y="212492"/>
                  <a:pt x="2011835" y="212492"/>
                </a:cubicBezTo>
                <a:close/>
                <a:moveTo>
                  <a:pt x="1938362" y="212492"/>
                </a:moveTo>
                <a:cubicBezTo>
                  <a:pt x="1946388" y="212492"/>
                  <a:pt x="1952222" y="219497"/>
                  <a:pt x="1952222" y="227280"/>
                </a:cubicBezTo>
                <a:cubicBezTo>
                  <a:pt x="1952222" y="235842"/>
                  <a:pt x="1946388" y="242069"/>
                  <a:pt x="1938362" y="242069"/>
                </a:cubicBezTo>
                <a:cubicBezTo>
                  <a:pt x="1932531" y="242069"/>
                  <a:pt x="1925971" y="235842"/>
                  <a:pt x="1925971" y="227280"/>
                </a:cubicBezTo>
                <a:cubicBezTo>
                  <a:pt x="1925971" y="219497"/>
                  <a:pt x="1931072" y="212492"/>
                  <a:pt x="1938362" y="212492"/>
                </a:cubicBezTo>
                <a:close/>
                <a:moveTo>
                  <a:pt x="1867530" y="212492"/>
                </a:moveTo>
                <a:cubicBezTo>
                  <a:pt x="1875550" y="212492"/>
                  <a:pt x="1881387" y="219497"/>
                  <a:pt x="1881387" y="227280"/>
                </a:cubicBezTo>
                <a:cubicBezTo>
                  <a:pt x="1881387" y="235842"/>
                  <a:pt x="1875550" y="242069"/>
                  <a:pt x="1867530" y="242069"/>
                </a:cubicBezTo>
                <a:cubicBezTo>
                  <a:pt x="1860238" y="242069"/>
                  <a:pt x="1855129" y="235842"/>
                  <a:pt x="1855129" y="227280"/>
                </a:cubicBezTo>
                <a:cubicBezTo>
                  <a:pt x="1855129" y="219497"/>
                  <a:pt x="1860238" y="212492"/>
                  <a:pt x="1867530" y="212492"/>
                </a:cubicBezTo>
                <a:close/>
                <a:moveTo>
                  <a:pt x="1799087" y="212492"/>
                </a:moveTo>
                <a:cubicBezTo>
                  <a:pt x="1807649" y="212492"/>
                  <a:pt x="1813879" y="219497"/>
                  <a:pt x="1813879" y="227280"/>
                </a:cubicBezTo>
                <a:cubicBezTo>
                  <a:pt x="1813879" y="235842"/>
                  <a:pt x="1807649" y="242069"/>
                  <a:pt x="1799087" y="242069"/>
                </a:cubicBezTo>
                <a:cubicBezTo>
                  <a:pt x="1790527" y="242069"/>
                  <a:pt x="1784303" y="235842"/>
                  <a:pt x="1784303" y="227280"/>
                </a:cubicBezTo>
                <a:cubicBezTo>
                  <a:pt x="1784303" y="219497"/>
                  <a:pt x="1790527" y="212492"/>
                  <a:pt x="1799087" y="212492"/>
                </a:cubicBezTo>
                <a:close/>
                <a:moveTo>
                  <a:pt x="1728262" y="212492"/>
                </a:moveTo>
                <a:cubicBezTo>
                  <a:pt x="1736828" y="212492"/>
                  <a:pt x="1743052" y="219497"/>
                  <a:pt x="1743052" y="227280"/>
                </a:cubicBezTo>
                <a:cubicBezTo>
                  <a:pt x="1743052" y="235842"/>
                  <a:pt x="1736828" y="242069"/>
                  <a:pt x="1728262" y="242069"/>
                </a:cubicBezTo>
                <a:cubicBezTo>
                  <a:pt x="1719700" y="242069"/>
                  <a:pt x="1713472" y="235842"/>
                  <a:pt x="1713472" y="227280"/>
                </a:cubicBezTo>
                <a:cubicBezTo>
                  <a:pt x="1713472" y="219497"/>
                  <a:pt x="1719700" y="212492"/>
                  <a:pt x="1728262" y="212492"/>
                </a:cubicBezTo>
                <a:close/>
                <a:moveTo>
                  <a:pt x="1656498" y="212492"/>
                </a:moveTo>
                <a:cubicBezTo>
                  <a:pt x="1663792" y="212492"/>
                  <a:pt x="1668900" y="219497"/>
                  <a:pt x="1668900" y="227280"/>
                </a:cubicBezTo>
                <a:cubicBezTo>
                  <a:pt x="1668900" y="235842"/>
                  <a:pt x="1663792" y="242069"/>
                  <a:pt x="1656498" y="242069"/>
                </a:cubicBezTo>
                <a:cubicBezTo>
                  <a:pt x="1648481" y="242069"/>
                  <a:pt x="1642655" y="235842"/>
                  <a:pt x="1642655" y="227280"/>
                </a:cubicBezTo>
                <a:cubicBezTo>
                  <a:pt x="1642655" y="219497"/>
                  <a:pt x="1648481" y="212492"/>
                  <a:pt x="1656498" y="212492"/>
                </a:cubicBezTo>
                <a:close/>
                <a:moveTo>
                  <a:pt x="1582299" y="212492"/>
                </a:moveTo>
                <a:cubicBezTo>
                  <a:pt x="1588134" y="212492"/>
                  <a:pt x="1594704" y="219497"/>
                  <a:pt x="1594704" y="227280"/>
                </a:cubicBezTo>
                <a:cubicBezTo>
                  <a:pt x="1594704" y="235842"/>
                  <a:pt x="1588134" y="242069"/>
                  <a:pt x="1582299" y="242069"/>
                </a:cubicBezTo>
                <a:cubicBezTo>
                  <a:pt x="1574277" y="242069"/>
                  <a:pt x="1568441" y="235842"/>
                  <a:pt x="1568441" y="227280"/>
                </a:cubicBezTo>
                <a:cubicBezTo>
                  <a:pt x="1568441" y="219497"/>
                  <a:pt x="1574277" y="212492"/>
                  <a:pt x="1582299" y="212492"/>
                </a:cubicBezTo>
                <a:close/>
                <a:moveTo>
                  <a:pt x="1512198" y="212492"/>
                </a:moveTo>
                <a:cubicBezTo>
                  <a:pt x="1518035" y="212492"/>
                  <a:pt x="1523867" y="219497"/>
                  <a:pt x="1523867" y="227280"/>
                </a:cubicBezTo>
                <a:cubicBezTo>
                  <a:pt x="1523867" y="235842"/>
                  <a:pt x="1518035" y="242069"/>
                  <a:pt x="1512198" y="242069"/>
                </a:cubicBezTo>
                <a:cubicBezTo>
                  <a:pt x="1504174" y="242069"/>
                  <a:pt x="1497612" y="235842"/>
                  <a:pt x="1497612" y="227280"/>
                </a:cubicBezTo>
                <a:cubicBezTo>
                  <a:pt x="1497612" y="219497"/>
                  <a:pt x="1504174" y="212492"/>
                  <a:pt x="1512198" y="212492"/>
                </a:cubicBezTo>
                <a:close/>
                <a:moveTo>
                  <a:pt x="1439173" y="212492"/>
                </a:moveTo>
                <a:cubicBezTo>
                  <a:pt x="1447191" y="212492"/>
                  <a:pt x="1453026" y="219497"/>
                  <a:pt x="1453026" y="227280"/>
                </a:cubicBezTo>
                <a:cubicBezTo>
                  <a:pt x="1453026" y="235842"/>
                  <a:pt x="1447191" y="242069"/>
                  <a:pt x="1439173" y="242069"/>
                </a:cubicBezTo>
                <a:cubicBezTo>
                  <a:pt x="1433339" y="242069"/>
                  <a:pt x="1426777" y="235842"/>
                  <a:pt x="1426777" y="227280"/>
                </a:cubicBezTo>
                <a:cubicBezTo>
                  <a:pt x="1426777" y="219497"/>
                  <a:pt x="1433339" y="212492"/>
                  <a:pt x="1439173" y="212492"/>
                </a:cubicBezTo>
                <a:close/>
                <a:moveTo>
                  <a:pt x="1368349" y="212492"/>
                </a:moveTo>
                <a:cubicBezTo>
                  <a:pt x="1376368" y="212492"/>
                  <a:pt x="1382203" y="219497"/>
                  <a:pt x="1382203" y="227280"/>
                </a:cubicBezTo>
                <a:cubicBezTo>
                  <a:pt x="1382203" y="235842"/>
                  <a:pt x="1376368" y="242069"/>
                  <a:pt x="1368349" y="242069"/>
                </a:cubicBezTo>
                <a:cubicBezTo>
                  <a:pt x="1362513" y="242069"/>
                  <a:pt x="1355950" y="235842"/>
                  <a:pt x="1355950" y="227280"/>
                </a:cubicBezTo>
                <a:cubicBezTo>
                  <a:pt x="1355950" y="219497"/>
                  <a:pt x="1362513" y="212492"/>
                  <a:pt x="1368349" y="212492"/>
                </a:cubicBezTo>
                <a:close/>
                <a:moveTo>
                  <a:pt x="1297520" y="212492"/>
                </a:moveTo>
                <a:cubicBezTo>
                  <a:pt x="1305540" y="212492"/>
                  <a:pt x="1311374" y="219497"/>
                  <a:pt x="1311374" y="227280"/>
                </a:cubicBezTo>
                <a:cubicBezTo>
                  <a:pt x="1311374" y="235842"/>
                  <a:pt x="1305540" y="242069"/>
                  <a:pt x="1297520" y="242069"/>
                </a:cubicBezTo>
                <a:cubicBezTo>
                  <a:pt x="1289498" y="242069"/>
                  <a:pt x="1285121" y="235842"/>
                  <a:pt x="1285121" y="227280"/>
                </a:cubicBezTo>
                <a:cubicBezTo>
                  <a:pt x="1285121" y="219497"/>
                  <a:pt x="1289498" y="212492"/>
                  <a:pt x="1297520" y="212492"/>
                </a:cubicBezTo>
                <a:close/>
                <a:moveTo>
                  <a:pt x="1225708" y="212492"/>
                </a:moveTo>
                <a:cubicBezTo>
                  <a:pt x="1233489" y="212492"/>
                  <a:pt x="1240496" y="219497"/>
                  <a:pt x="1240496" y="227280"/>
                </a:cubicBezTo>
                <a:cubicBezTo>
                  <a:pt x="1240496" y="235842"/>
                  <a:pt x="1233489" y="242069"/>
                  <a:pt x="1225708" y="242069"/>
                </a:cubicBezTo>
                <a:cubicBezTo>
                  <a:pt x="1217159" y="242069"/>
                  <a:pt x="1210934" y="235842"/>
                  <a:pt x="1210934" y="227280"/>
                </a:cubicBezTo>
                <a:cubicBezTo>
                  <a:pt x="1210934" y="219497"/>
                  <a:pt x="1217159" y="212492"/>
                  <a:pt x="1225708" y="212492"/>
                </a:cubicBezTo>
                <a:close/>
                <a:moveTo>
                  <a:pt x="1154891" y="212492"/>
                </a:moveTo>
                <a:cubicBezTo>
                  <a:pt x="1162674" y="212492"/>
                  <a:pt x="1169683" y="219497"/>
                  <a:pt x="1169683" y="227280"/>
                </a:cubicBezTo>
                <a:cubicBezTo>
                  <a:pt x="1169683" y="235842"/>
                  <a:pt x="1162674" y="242069"/>
                  <a:pt x="1154891" y="242069"/>
                </a:cubicBezTo>
                <a:cubicBezTo>
                  <a:pt x="1146329" y="242069"/>
                  <a:pt x="1140105" y="235842"/>
                  <a:pt x="1140105" y="227280"/>
                </a:cubicBezTo>
                <a:cubicBezTo>
                  <a:pt x="1140105" y="219497"/>
                  <a:pt x="1146329" y="212492"/>
                  <a:pt x="1154891" y="212492"/>
                </a:cubicBezTo>
                <a:close/>
                <a:moveTo>
                  <a:pt x="1084063" y="212492"/>
                </a:moveTo>
                <a:cubicBezTo>
                  <a:pt x="1091842" y="212492"/>
                  <a:pt x="1098847" y="219497"/>
                  <a:pt x="1098847" y="227280"/>
                </a:cubicBezTo>
                <a:cubicBezTo>
                  <a:pt x="1098847" y="235842"/>
                  <a:pt x="1091842" y="242069"/>
                  <a:pt x="1084063" y="242069"/>
                </a:cubicBezTo>
                <a:cubicBezTo>
                  <a:pt x="1075503" y="242069"/>
                  <a:pt x="1069276" y="235842"/>
                  <a:pt x="1069276" y="227280"/>
                </a:cubicBezTo>
                <a:cubicBezTo>
                  <a:pt x="1069276" y="219497"/>
                  <a:pt x="1075503" y="212492"/>
                  <a:pt x="1084063" y="212492"/>
                </a:cubicBezTo>
                <a:close/>
                <a:moveTo>
                  <a:pt x="3013723" y="141661"/>
                </a:moveTo>
                <a:cubicBezTo>
                  <a:pt x="3021310" y="141661"/>
                  <a:pt x="3028140" y="148224"/>
                  <a:pt x="3028140" y="155517"/>
                </a:cubicBezTo>
                <a:cubicBezTo>
                  <a:pt x="3028140" y="162080"/>
                  <a:pt x="3021310" y="167915"/>
                  <a:pt x="3013723" y="167915"/>
                </a:cubicBezTo>
                <a:cubicBezTo>
                  <a:pt x="3005376" y="167915"/>
                  <a:pt x="2998545" y="162080"/>
                  <a:pt x="2998545" y="155517"/>
                </a:cubicBezTo>
                <a:cubicBezTo>
                  <a:pt x="2998545" y="148224"/>
                  <a:pt x="3005376" y="141661"/>
                  <a:pt x="3013723" y="141661"/>
                </a:cubicBezTo>
                <a:close/>
                <a:moveTo>
                  <a:pt x="2942497" y="141661"/>
                </a:moveTo>
                <a:cubicBezTo>
                  <a:pt x="2951061" y="141661"/>
                  <a:pt x="2957293" y="148224"/>
                  <a:pt x="2957293" y="155517"/>
                </a:cubicBezTo>
                <a:cubicBezTo>
                  <a:pt x="2957293" y="162080"/>
                  <a:pt x="2951061" y="167915"/>
                  <a:pt x="2942497" y="167915"/>
                </a:cubicBezTo>
                <a:cubicBezTo>
                  <a:pt x="2934719" y="167915"/>
                  <a:pt x="2927716" y="162080"/>
                  <a:pt x="2927716" y="155517"/>
                </a:cubicBezTo>
                <a:cubicBezTo>
                  <a:pt x="2927716" y="148224"/>
                  <a:pt x="2934719" y="141661"/>
                  <a:pt x="2942497" y="141661"/>
                </a:cubicBezTo>
                <a:close/>
                <a:moveTo>
                  <a:pt x="2867363" y="141661"/>
                </a:moveTo>
                <a:cubicBezTo>
                  <a:pt x="2875389" y="141661"/>
                  <a:pt x="2879765" y="148224"/>
                  <a:pt x="2879765" y="155517"/>
                </a:cubicBezTo>
                <a:cubicBezTo>
                  <a:pt x="2879765" y="162080"/>
                  <a:pt x="2875389" y="167915"/>
                  <a:pt x="2867363" y="167915"/>
                </a:cubicBezTo>
                <a:cubicBezTo>
                  <a:pt x="2860073" y="167915"/>
                  <a:pt x="2853510" y="162080"/>
                  <a:pt x="2853510" y="155517"/>
                </a:cubicBezTo>
                <a:cubicBezTo>
                  <a:pt x="2853510" y="148224"/>
                  <a:pt x="2860073" y="141661"/>
                  <a:pt x="2867363" y="141661"/>
                </a:cubicBezTo>
                <a:close/>
                <a:moveTo>
                  <a:pt x="2796538" y="141661"/>
                </a:moveTo>
                <a:cubicBezTo>
                  <a:pt x="2803103" y="141661"/>
                  <a:pt x="2808940" y="148224"/>
                  <a:pt x="2808940" y="155517"/>
                </a:cubicBezTo>
                <a:cubicBezTo>
                  <a:pt x="2808940" y="162080"/>
                  <a:pt x="2803103" y="167915"/>
                  <a:pt x="2796538" y="167915"/>
                </a:cubicBezTo>
                <a:cubicBezTo>
                  <a:pt x="2789246" y="167915"/>
                  <a:pt x="2782683" y="162080"/>
                  <a:pt x="2782683" y="155517"/>
                </a:cubicBezTo>
                <a:cubicBezTo>
                  <a:pt x="2782683" y="148224"/>
                  <a:pt x="2789246" y="141661"/>
                  <a:pt x="2796538" y="141661"/>
                </a:cubicBezTo>
                <a:close/>
                <a:moveTo>
                  <a:pt x="2725703" y="141661"/>
                </a:moveTo>
                <a:cubicBezTo>
                  <a:pt x="2731538" y="141661"/>
                  <a:pt x="2738105" y="148224"/>
                  <a:pt x="2738105" y="155517"/>
                </a:cubicBezTo>
                <a:cubicBezTo>
                  <a:pt x="2738105" y="162080"/>
                  <a:pt x="2731538" y="167915"/>
                  <a:pt x="2725703" y="167915"/>
                </a:cubicBezTo>
                <a:cubicBezTo>
                  <a:pt x="2717686" y="167915"/>
                  <a:pt x="2711852" y="162080"/>
                  <a:pt x="2711852" y="155517"/>
                </a:cubicBezTo>
                <a:cubicBezTo>
                  <a:pt x="2711852" y="148224"/>
                  <a:pt x="2717686" y="141661"/>
                  <a:pt x="2725703" y="141661"/>
                </a:cubicBezTo>
                <a:close/>
                <a:moveTo>
                  <a:pt x="2653420" y="141661"/>
                </a:moveTo>
                <a:cubicBezTo>
                  <a:pt x="2660711" y="141661"/>
                  <a:pt x="2667273" y="148224"/>
                  <a:pt x="2667273" y="155517"/>
                </a:cubicBezTo>
                <a:cubicBezTo>
                  <a:pt x="2667273" y="162080"/>
                  <a:pt x="2660711" y="167915"/>
                  <a:pt x="2653420" y="167915"/>
                </a:cubicBezTo>
                <a:cubicBezTo>
                  <a:pt x="2646857" y="167915"/>
                  <a:pt x="2641021" y="162080"/>
                  <a:pt x="2641021" y="155517"/>
                </a:cubicBezTo>
                <a:cubicBezTo>
                  <a:pt x="2641021" y="148224"/>
                  <a:pt x="2646857" y="141661"/>
                  <a:pt x="2653420" y="141661"/>
                </a:cubicBezTo>
                <a:close/>
                <a:moveTo>
                  <a:pt x="2582586" y="141661"/>
                </a:moveTo>
                <a:cubicBezTo>
                  <a:pt x="2589878" y="141661"/>
                  <a:pt x="2596442" y="148224"/>
                  <a:pt x="2596442" y="155517"/>
                </a:cubicBezTo>
                <a:cubicBezTo>
                  <a:pt x="2596442" y="162080"/>
                  <a:pt x="2589878" y="167915"/>
                  <a:pt x="2582586" y="167915"/>
                </a:cubicBezTo>
                <a:cubicBezTo>
                  <a:pt x="2576024" y="167915"/>
                  <a:pt x="2570189" y="162080"/>
                  <a:pt x="2570189" y="155517"/>
                </a:cubicBezTo>
                <a:cubicBezTo>
                  <a:pt x="2570189" y="148224"/>
                  <a:pt x="2576024" y="141661"/>
                  <a:pt x="2582586" y="141661"/>
                </a:cubicBezTo>
                <a:close/>
                <a:moveTo>
                  <a:pt x="2511034" y="141661"/>
                </a:moveTo>
                <a:cubicBezTo>
                  <a:pt x="2519052" y="141661"/>
                  <a:pt x="2525616" y="148224"/>
                  <a:pt x="2525616" y="155517"/>
                </a:cubicBezTo>
                <a:cubicBezTo>
                  <a:pt x="2525616" y="162080"/>
                  <a:pt x="2519052" y="167915"/>
                  <a:pt x="2511034" y="167915"/>
                </a:cubicBezTo>
                <a:cubicBezTo>
                  <a:pt x="2503743" y="167915"/>
                  <a:pt x="2499364" y="162080"/>
                  <a:pt x="2499364" y="155517"/>
                </a:cubicBezTo>
                <a:cubicBezTo>
                  <a:pt x="2499364" y="148224"/>
                  <a:pt x="2503743" y="141661"/>
                  <a:pt x="2511034" y="141661"/>
                </a:cubicBezTo>
                <a:close/>
                <a:moveTo>
                  <a:pt x="2439946" y="141661"/>
                </a:moveTo>
                <a:cubicBezTo>
                  <a:pt x="2448505" y="141661"/>
                  <a:pt x="2454734" y="148224"/>
                  <a:pt x="2454734" y="155517"/>
                </a:cubicBezTo>
                <a:cubicBezTo>
                  <a:pt x="2454734" y="162080"/>
                  <a:pt x="2448505" y="167915"/>
                  <a:pt x="2439946" y="167915"/>
                </a:cubicBezTo>
                <a:cubicBezTo>
                  <a:pt x="2432165" y="167915"/>
                  <a:pt x="2425159" y="162080"/>
                  <a:pt x="2425159" y="155517"/>
                </a:cubicBezTo>
                <a:cubicBezTo>
                  <a:pt x="2425159" y="148224"/>
                  <a:pt x="2432165" y="141661"/>
                  <a:pt x="2439946" y="141661"/>
                </a:cubicBezTo>
                <a:close/>
                <a:moveTo>
                  <a:pt x="2369114" y="141661"/>
                </a:moveTo>
                <a:cubicBezTo>
                  <a:pt x="2377674" y="141661"/>
                  <a:pt x="2383900" y="148224"/>
                  <a:pt x="2383900" y="155517"/>
                </a:cubicBezTo>
                <a:cubicBezTo>
                  <a:pt x="2383900" y="162080"/>
                  <a:pt x="2377674" y="167915"/>
                  <a:pt x="2369114" y="167915"/>
                </a:cubicBezTo>
                <a:cubicBezTo>
                  <a:pt x="2361331" y="167915"/>
                  <a:pt x="2354323" y="163539"/>
                  <a:pt x="2354323" y="155517"/>
                </a:cubicBezTo>
                <a:cubicBezTo>
                  <a:pt x="2354323" y="148224"/>
                  <a:pt x="2361331" y="141661"/>
                  <a:pt x="2369114" y="141661"/>
                </a:cubicBezTo>
                <a:close/>
                <a:moveTo>
                  <a:pt x="2298283" y="141661"/>
                </a:moveTo>
                <a:cubicBezTo>
                  <a:pt x="2306842" y="141661"/>
                  <a:pt x="2313070" y="148224"/>
                  <a:pt x="2313070" y="155517"/>
                </a:cubicBezTo>
                <a:cubicBezTo>
                  <a:pt x="2313070" y="163539"/>
                  <a:pt x="2306842" y="167915"/>
                  <a:pt x="2298283" y="167915"/>
                </a:cubicBezTo>
                <a:cubicBezTo>
                  <a:pt x="2290497" y="167915"/>
                  <a:pt x="2283493" y="163539"/>
                  <a:pt x="2283493" y="155517"/>
                </a:cubicBezTo>
                <a:cubicBezTo>
                  <a:pt x="2283493" y="148224"/>
                  <a:pt x="2290497" y="141661"/>
                  <a:pt x="2298283" y="141661"/>
                </a:cubicBezTo>
                <a:close/>
                <a:moveTo>
                  <a:pt x="2226517" y="141661"/>
                </a:moveTo>
                <a:cubicBezTo>
                  <a:pt x="2234542" y="141661"/>
                  <a:pt x="2238916" y="148224"/>
                  <a:pt x="2238916" y="155517"/>
                </a:cubicBezTo>
                <a:cubicBezTo>
                  <a:pt x="2238916" y="163539"/>
                  <a:pt x="2234542" y="167915"/>
                  <a:pt x="2226517" y="167915"/>
                </a:cubicBezTo>
                <a:cubicBezTo>
                  <a:pt x="2218495" y="167915"/>
                  <a:pt x="2212659" y="163539"/>
                  <a:pt x="2212659" y="155517"/>
                </a:cubicBezTo>
                <a:cubicBezTo>
                  <a:pt x="2212659" y="148224"/>
                  <a:pt x="2218495" y="141661"/>
                  <a:pt x="2226517" y="141661"/>
                </a:cubicBezTo>
                <a:close/>
                <a:moveTo>
                  <a:pt x="2155683" y="141661"/>
                </a:moveTo>
                <a:cubicBezTo>
                  <a:pt x="2161520" y="141661"/>
                  <a:pt x="2168084" y="148224"/>
                  <a:pt x="2168084" y="155517"/>
                </a:cubicBezTo>
                <a:cubicBezTo>
                  <a:pt x="2168084" y="163539"/>
                  <a:pt x="2161520" y="167915"/>
                  <a:pt x="2155683" y="167915"/>
                </a:cubicBezTo>
                <a:cubicBezTo>
                  <a:pt x="2147663" y="167915"/>
                  <a:pt x="2141827" y="163539"/>
                  <a:pt x="2141827" y="155517"/>
                </a:cubicBezTo>
                <a:cubicBezTo>
                  <a:pt x="2141827" y="148224"/>
                  <a:pt x="2147663" y="141661"/>
                  <a:pt x="2155683" y="141661"/>
                </a:cubicBezTo>
                <a:close/>
                <a:moveTo>
                  <a:pt x="2084851" y="141661"/>
                </a:moveTo>
                <a:cubicBezTo>
                  <a:pt x="2090686" y="141661"/>
                  <a:pt x="2097249" y="148224"/>
                  <a:pt x="2097249" y="155517"/>
                </a:cubicBezTo>
                <a:cubicBezTo>
                  <a:pt x="2097249" y="163539"/>
                  <a:pt x="2090686" y="167915"/>
                  <a:pt x="2084851" y="167915"/>
                </a:cubicBezTo>
                <a:cubicBezTo>
                  <a:pt x="2076829" y="167915"/>
                  <a:pt x="2070995" y="163539"/>
                  <a:pt x="2070995" y="155517"/>
                </a:cubicBezTo>
                <a:cubicBezTo>
                  <a:pt x="2070995" y="148224"/>
                  <a:pt x="2076829" y="141661"/>
                  <a:pt x="2084851" y="141661"/>
                </a:cubicBezTo>
                <a:close/>
                <a:moveTo>
                  <a:pt x="2011835" y="141661"/>
                </a:moveTo>
                <a:cubicBezTo>
                  <a:pt x="2019855" y="141661"/>
                  <a:pt x="2026421" y="148224"/>
                  <a:pt x="2026421" y="155517"/>
                </a:cubicBezTo>
                <a:cubicBezTo>
                  <a:pt x="2026421" y="163539"/>
                  <a:pt x="2019855" y="167915"/>
                  <a:pt x="2011835" y="167915"/>
                </a:cubicBezTo>
                <a:cubicBezTo>
                  <a:pt x="2006003" y="167915"/>
                  <a:pt x="2000168" y="163539"/>
                  <a:pt x="2000168" y="155517"/>
                </a:cubicBezTo>
                <a:cubicBezTo>
                  <a:pt x="2000168" y="148224"/>
                  <a:pt x="2006003" y="141661"/>
                  <a:pt x="2011835" y="141661"/>
                </a:cubicBezTo>
                <a:close/>
                <a:moveTo>
                  <a:pt x="1938365" y="141661"/>
                </a:moveTo>
                <a:cubicBezTo>
                  <a:pt x="1946388" y="141661"/>
                  <a:pt x="1952222" y="148224"/>
                  <a:pt x="1952222" y="155517"/>
                </a:cubicBezTo>
                <a:cubicBezTo>
                  <a:pt x="1952222" y="163539"/>
                  <a:pt x="1946388" y="167915"/>
                  <a:pt x="1938365" y="167915"/>
                </a:cubicBezTo>
                <a:cubicBezTo>
                  <a:pt x="1931072" y="167915"/>
                  <a:pt x="1925971" y="163539"/>
                  <a:pt x="1925971" y="155517"/>
                </a:cubicBezTo>
                <a:cubicBezTo>
                  <a:pt x="1925971" y="148224"/>
                  <a:pt x="1931072" y="141661"/>
                  <a:pt x="1938365" y="141661"/>
                </a:cubicBezTo>
                <a:close/>
                <a:moveTo>
                  <a:pt x="1869922" y="141661"/>
                </a:moveTo>
                <a:cubicBezTo>
                  <a:pt x="1878483" y="141661"/>
                  <a:pt x="1884712" y="148224"/>
                  <a:pt x="1884712" y="155517"/>
                </a:cubicBezTo>
                <a:cubicBezTo>
                  <a:pt x="1884712" y="163539"/>
                  <a:pt x="1878483" y="167915"/>
                  <a:pt x="1869922" y="167915"/>
                </a:cubicBezTo>
                <a:cubicBezTo>
                  <a:pt x="1862138" y="167915"/>
                  <a:pt x="1855131" y="163539"/>
                  <a:pt x="1855131" y="155517"/>
                </a:cubicBezTo>
                <a:cubicBezTo>
                  <a:pt x="1855131" y="148224"/>
                  <a:pt x="1862138" y="141661"/>
                  <a:pt x="1869922" y="141661"/>
                </a:cubicBezTo>
                <a:close/>
                <a:moveTo>
                  <a:pt x="1799087" y="141661"/>
                </a:moveTo>
                <a:cubicBezTo>
                  <a:pt x="1807649" y="141661"/>
                  <a:pt x="1813879" y="148224"/>
                  <a:pt x="1813879" y="155517"/>
                </a:cubicBezTo>
                <a:cubicBezTo>
                  <a:pt x="1813879" y="163539"/>
                  <a:pt x="1807649" y="167915"/>
                  <a:pt x="1799087" y="167915"/>
                </a:cubicBezTo>
                <a:cubicBezTo>
                  <a:pt x="1790527" y="167915"/>
                  <a:pt x="1784303" y="163539"/>
                  <a:pt x="1784303" y="155517"/>
                </a:cubicBezTo>
                <a:cubicBezTo>
                  <a:pt x="1784303" y="148224"/>
                  <a:pt x="1790527" y="141661"/>
                  <a:pt x="1799087" y="141661"/>
                </a:cubicBezTo>
                <a:close/>
                <a:moveTo>
                  <a:pt x="1728262" y="141661"/>
                </a:moveTo>
                <a:cubicBezTo>
                  <a:pt x="1736828" y="141661"/>
                  <a:pt x="1743052" y="148224"/>
                  <a:pt x="1743052" y="155517"/>
                </a:cubicBezTo>
                <a:cubicBezTo>
                  <a:pt x="1743052" y="163539"/>
                  <a:pt x="1736828" y="167915"/>
                  <a:pt x="1728262" y="167915"/>
                </a:cubicBezTo>
                <a:cubicBezTo>
                  <a:pt x="1719700" y="167915"/>
                  <a:pt x="1713474" y="163539"/>
                  <a:pt x="1713474" y="155517"/>
                </a:cubicBezTo>
                <a:cubicBezTo>
                  <a:pt x="1713474" y="148224"/>
                  <a:pt x="1719700" y="141661"/>
                  <a:pt x="1728262" y="141661"/>
                </a:cubicBezTo>
                <a:close/>
                <a:moveTo>
                  <a:pt x="1656501" y="141661"/>
                </a:moveTo>
                <a:cubicBezTo>
                  <a:pt x="1663792" y="141661"/>
                  <a:pt x="1668900" y="148666"/>
                  <a:pt x="1668900" y="156450"/>
                </a:cubicBezTo>
                <a:cubicBezTo>
                  <a:pt x="1668900" y="165012"/>
                  <a:pt x="1663792" y="171239"/>
                  <a:pt x="1656501" y="171239"/>
                </a:cubicBezTo>
                <a:cubicBezTo>
                  <a:pt x="1648481" y="171239"/>
                  <a:pt x="1642655" y="165012"/>
                  <a:pt x="1642655" y="156450"/>
                </a:cubicBezTo>
                <a:cubicBezTo>
                  <a:pt x="1642655" y="148666"/>
                  <a:pt x="1648481" y="141661"/>
                  <a:pt x="1656501" y="141661"/>
                </a:cubicBezTo>
                <a:close/>
                <a:moveTo>
                  <a:pt x="1582299" y="141661"/>
                </a:moveTo>
                <a:cubicBezTo>
                  <a:pt x="1588134" y="141661"/>
                  <a:pt x="1594704" y="148666"/>
                  <a:pt x="1594704" y="156450"/>
                </a:cubicBezTo>
                <a:cubicBezTo>
                  <a:pt x="1594704" y="165012"/>
                  <a:pt x="1588134" y="171239"/>
                  <a:pt x="1582299" y="171239"/>
                </a:cubicBezTo>
                <a:cubicBezTo>
                  <a:pt x="1574277" y="171239"/>
                  <a:pt x="1568444" y="165012"/>
                  <a:pt x="1568444" y="156450"/>
                </a:cubicBezTo>
                <a:cubicBezTo>
                  <a:pt x="1568444" y="148666"/>
                  <a:pt x="1574277" y="141661"/>
                  <a:pt x="1582299" y="141661"/>
                </a:cubicBezTo>
                <a:close/>
                <a:moveTo>
                  <a:pt x="1512199" y="141661"/>
                </a:moveTo>
                <a:cubicBezTo>
                  <a:pt x="1518035" y="141661"/>
                  <a:pt x="1523867" y="148666"/>
                  <a:pt x="1523867" y="156450"/>
                </a:cubicBezTo>
                <a:cubicBezTo>
                  <a:pt x="1523867" y="165012"/>
                  <a:pt x="1518035" y="171239"/>
                  <a:pt x="1512199" y="171239"/>
                </a:cubicBezTo>
                <a:cubicBezTo>
                  <a:pt x="1504174" y="171239"/>
                  <a:pt x="1497612" y="165012"/>
                  <a:pt x="1497612" y="156450"/>
                </a:cubicBezTo>
                <a:cubicBezTo>
                  <a:pt x="1497612" y="148666"/>
                  <a:pt x="1504174" y="141661"/>
                  <a:pt x="1512199" y="141661"/>
                </a:cubicBezTo>
                <a:close/>
                <a:moveTo>
                  <a:pt x="1439173" y="141661"/>
                </a:moveTo>
                <a:cubicBezTo>
                  <a:pt x="1447191" y="141661"/>
                  <a:pt x="1453026" y="148666"/>
                  <a:pt x="1453026" y="156450"/>
                </a:cubicBezTo>
                <a:cubicBezTo>
                  <a:pt x="1453026" y="165012"/>
                  <a:pt x="1447191" y="171239"/>
                  <a:pt x="1439173" y="171239"/>
                </a:cubicBezTo>
                <a:cubicBezTo>
                  <a:pt x="1433339" y="171239"/>
                  <a:pt x="1426777" y="165012"/>
                  <a:pt x="1426777" y="156450"/>
                </a:cubicBezTo>
                <a:cubicBezTo>
                  <a:pt x="1426777" y="148666"/>
                  <a:pt x="1433339" y="141661"/>
                  <a:pt x="1439173" y="141661"/>
                </a:cubicBezTo>
                <a:close/>
                <a:moveTo>
                  <a:pt x="1368349" y="141661"/>
                </a:moveTo>
                <a:cubicBezTo>
                  <a:pt x="1376368" y="141661"/>
                  <a:pt x="1382203" y="148666"/>
                  <a:pt x="1382203" y="156450"/>
                </a:cubicBezTo>
                <a:cubicBezTo>
                  <a:pt x="1382203" y="165012"/>
                  <a:pt x="1376368" y="171239"/>
                  <a:pt x="1368349" y="171239"/>
                </a:cubicBezTo>
                <a:cubicBezTo>
                  <a:pt x="1362516" y="171239"/>
                  <a:pt x="1355953" y="165012"/>
                  <a:pt x="1355953" y="156450"/>
                </a:cubicBezTo>
                <a:cubicBezTo>
                  <a:pt x="1355953" y="148666"/>
                  <a:pt x="1362516" y="141661"/>
                  <a:pt x="1368349" y="141661"/>
                </a:cubicBezTo>
                <a:close/>
                <a:moveTo>
                  <a:pt x="1297520" y="141661"/>
                </a:moveTo>
                <a:cubicBezTo>
                  <a:pt x="1305540" y="141661"/>
                  <a:pt x="1311374" y="148666"/>
                  <a:pt x="1311374" y="156450"/>
                </a:cubicBezTo>
                <a:cubicBezTo>
                  <a:pt x="1311374" y="165012"/>
                  <a:pt x="1305540" y="171239"/>
                  <a:pt x="1297520" y="171239"/>
                </a:cubicBezTo>
                <a:cubicBezTo>
                  <a:pt x="1289498" y="171239"/>
                  <a:pt x="1285121" y="165012"/>
                  <a:pt x="1285121" y="156450"/>
                </a:cubicBezTo>
                <a:cubicBezTo>
                  <a:pt x="1285121" y="148666"/>
                  <a:pt x="1289498" y="141661"/>
                  <a:pt x="1297520" y="141661"/>
                </a:cubicBezTo>
                <a:close/>
                <a:moveTo>
                  <a:pt x="2796538" y="70831"/>
                </a:moveTo>
                <a:cubicBezTo>
                  <a:pt x="2803103" y="70831"/>
                  <a:pt x="2808940" y="76665"/>
                  <a:pt x="2808940" y="84687"/>
                </a:cubicBezTo>
                <a:cubicBezTo>
                  <a:pt x="2808940" y="90521"/>
                  <a:pt x="2803103" y="97085"/>
                  <a:pt x="2796538" y="97085"/>
                </a:cubicBezTo>
                <a:cubicBezTo>
                  <a:pt x="2789246" y="97085"/>
                  <a:pt x="2782683" y="90521"/>
                  <a:pt x="2782683" y="84687"/>
                </a:cubicBezTo>
                <a:cubicBezTo>
                  <a:pt x="2782683" y="76665"/>
                  <a:pt x="2789246" y="70831"/>
                  <a:pt x="2796538" y="70831"/>
                </a:cubicBezTo>
                <a:close/>
                <a:moveTo>
                  <a:pt x="2725703" y="70831"/>
                </a:moveTo>
                <a:cubicBezTo>
                  <a:pt x="2731538" y="70831"/>
                  <a:pt x="2738105" y="76665"/>
                  <a:pt x="2738105" y="84687"/>
                </a:cubicBezTo>
                <a:cubicBezTo>
                  <a:pt x="2738105" y="90521"/>
                  <a:pt x="2731538" y="97085"/>
                  <a:pt x="2725703" y="97085"/>
                </a:cubicBezTo>
                <a:cubicBezTo>
                  <a:pt x="2717686" y="97085"/>
                  <a:pt x="2711852" y="90521"/>
                  <a:pt x="2711852" y="84687"/>
                </a:cubicBezTo>
                <a:cubicBezTo>
                  <a:pt x="2711852" y="76665"/>
                  <a:pt x="2717686" y="70831"/>
                  <a:pt x="2725703" y="70831"/>
                </a:cubicBezTo>
                <a:close/>
                <a:moveTo>
                  <a:pt x="2653420" y="70831"/>
                </a:moveTo>
                <a:cubicBezTo>
                  <a:pt x="2660711" y="70831"/>
                  <a:pt x="2667273" y="76665"/>
                  <a:pt x="2667273" y="84687"/>
                </a:cubicBezTo>
                <a:cubicBezTo>
                  <a:pt x="2667273" y="90521"/>
                  <a:pt x="2660711" y="97085"/>
                  <a:pt x="2653420" y="97085"/>
                </a:cubicBezTo>
                <a:cubicBezTo>
                  <a:pt x="2646857" y="97085"/>
                  <a:pt x="2641021" y="90521"/>
                  <a:pt x="2641021" y="84687"/>
                </a:cubicBezTo>
                <a:cubicBezTo>
                  <a:pt x="2641021" y="76665"/>
                  <a:pt x="2646857" y="70831"/>
                  <a:pt x="2653420" y="70831"/>
                </a:cubicBezTo>
                <a:close/>
                <a:moveTo>
                  <a:pt x="2582586" y="70831"/>
                </a:moveTo>
                <a:cubicBezTo>
                  <a:pt x="2589878" y="70831"/>
                  <a:pt x="2596442" y="76665"/>
                  <a:pt x="2596442" y="84687"/>
                </a:cubicBezTo>
                <a:cubicBezTo>
                  <a:pt x="2596442" y="90521"/>
                  <a:pt x="2589878" y="97085"/>
                  <a:pt x="2582586" y="97085"/>
                </a:cubicBezTo>
                <a:cubicBezTo>
                  <a:pt x="2576024" y="97085"/>
                  <a:pt x="2570189" y="90521"/>
                  <a:pt x="2570189" y="84687"/>
                </a:cubicBezTo>
                <a:cubicBezTo>
                  <a:pt x="2570189" y="76665"/>
                  <a:pt x="2576024" y="70831"/>
                  <a:pt x="2582586" y="70831"/>
                </a:cubicBezTo>
                <a:close/>
                <a:moveTo>
                  <a:pt x="2511034" y="70831"/>
                </a:moveTo>
                <a:cubicBezTo>
                  <a:pt x="2519052" y="70831"/>
                  <a:pt x="2525616" y="76665"/>
                  <a:pt x="2525616" y="84687"/>
                </a:cubicBezTo>
                <a:cubicBezTo>
                  <a:pt x="2525616" y="90521"/>
                  <a:pt x="2519052" y="97085"/>
                  <a:pt x="2511034" y="97085"/>
                </a:cubicBezTo>
                <a:cubicBezTo>
                  <a:pt x="2503743" y="97085"/>
                  <a:pt x="2499364" y="90521"/>
                  <a:pt x="2499364" y="84687"/>
                </a:cubicBezTo>
                <a:cubicBezTo>
                  <a:pt x="2499364" y="76665"/>
                  <a:pt x="2503743" y="70831"/>
                  <a:pt x="2511034" y="70831"/>
                </a:cubicBezTo>
                <a:close/>
                <a:moveTo>
                  <a:pt x="2439946" y="70831"/>
                </a:moveTo>
                <a:cubicBezTo>
                  <a:pt x="2448505" y="70831"/>
                  <a:pt x="2454737" y="76665"/>
                  <a:pt x="2454737" y="84687"/>
                </a:cubicBezTo>
                <a:cubicBezTo>
                  <a:pt x="2454737" y="90521"/>
                  <a:pt x="2448505" y="97085"/>
                  <a:pt x="2439946" y="97085"/>
                </a:cubicBezTo>
                <a:cubicBezTo>
                  <a:pt x="2432165" y="97085"/>
                  <a:pt x="2425159" y="90521"/>
                  <a:pt x="2425159" y="84687"/>
                </a:cubicBezTo>
                <a:cubicBezTo>
                  <a:pt x="2425159" y="76665"/>
                  <a:pt x="2432165" y="70831"/>
                  <a:pt x="2439946" y="70831"/>
                </a:cubicBezTo>
                <a:close/>
                <a:moveTo>
                  <a:pt x="2369114" y="70831"/>
                </a:moveTo>
                <a:cubicBezTo>
                  <a:pt x="2377674" y="70831"/>
                  <a:pt x="2383900" y="76665"/>
                  <a:pt x="2383900" y="84687"/>
                </a:cubicBezTo>
                <a:cubicBezTo>
                  <a:pt x="2383900" y="90521"/>
                  <a:pt x="2377674" y="97085"/>
                  <a:pt x="2369114" y="97085"/>
                </a:cubicBezTo>
                <a:cubicBezTo>
                  <a:pt x="2361331" y="97085"/>
                  <a:pt x="2354323" y="90521"/>
                  <a:pt x="2354323" y="84687"/>
                </a:cubicBezTo>
                <a:cubicBezTo>
                  <a:pt x="2354323" y="76665"/>
                  <a:pt x="2361331" y="70831"/>
                  <a:pt x="2369114" y="70831"/>
                </a:cubicBezTo>
                <a:close/>
                <a:moveTo>
                  <a:pt x="2298283" y="70831"/>
                </a:moveTo>
                <a:cubicBezTo>
                  <a:pt x="2306842" y="70831"/>
                  <a:pt x="2313070" y="76665"/>
                  <a:pt x="2313070" y="84687"/>
                </a:cubicBezTo>
                <a:cubicBezTo>
                  <a:pt x="2313070" y="90521"/>
                  <a:pt x="2306842" y="97085"/>
                  <a:pt x="2298283" y="97085"/>
                </a:cubicBezTo>
                <a:cubicBezTo>
                  <a:pt x="2290497" y="97085"/>
                  <a:pt x="2283493" y="90521"/>
                  <a:pt x="2283493" y="84687"/>
                </a:cubicBezTo>
                <a:cubicBezTo>
                  <a:pt x="2283493" y="76665"/>
                  <a:pt x="2290497" y="70831"/>
                  <a:pt x="2298283" y="70831"/>
                </a:cubicBezTo>
                <a:close/>
                <a:moveTo>
                  <a:pt x="2226517" y="70831"/>
                </a:moveTo>
                <a:cubicBezTo>
                  <a:pt x="2234542" y="70831"/>
                  <a:pt x="2238916" y="76665"/>
                  <a:pt x="2238916" y="84687"/>
                </a:cubicBezTo>
                <a:cubicBezTo>
                  <a:pt x="2238916" y="90521"/>
                  <a:pt x="2234542" y="97085"/>
                  <a:pt x="2226517" y="97085"/>
                </a:cubicBezTo>
                <a:cubicBezTo>
                  <a:pt x="2218495" y="97085"/>
                  <a:pt x="2212659" y="90521"/>
                  <a:pt x="2212659" y="84687"/>
                </a:cubicBezTo>
                <a:cubicBezTo>
                  <a:pt x="2212659" y="76665"/>
                  <a:pt x="2218495" y="70831"/>
                  <a:pt x="2226517" y="70831"/>
                </a:cubicBezTo>
                <a:close/>
                <a:moveTo>
                  <a:pt x="2155683" y="70831"/>
                </a:moveTo>
                <a:cubicBezTo>
                  <a:pt x="2161520" y="70831"/>
                  <a:pt x="2168084" y="76665"/>
                  <a:pt x="2168084" y="84687"/>
                </a:cubicBezTo>
                <a:cubicBezTo>
                  <a:pt x="2168084" y="90521"/>
                  <a:pt x="2161520" y="97085"/>
                  <a:pt x="2155683" y="97085"/>
                </a:cubicBezTo>
                <a:cubicBezTo>
                  <a:pt x="2147663" y="97085"/>
                  <a:pt x="2141827" y="90521"/>
                  <a:pt x="2141827" y="84687"/>
                </a:cubicBezTo>
                <a:cubicBezTo>
                  <a:pt x="2141827" y="76665"/>
                  <a:pt x="2147663" y="70831"/>
                  <a:pt x="2155683" y="70831"/>
                </a:cubicBezTo>
                <a:close/>
                <a:moveTo>
                  <a:pt x="2083393" y="70831"/>
                </a:moveTo>
                <a:cubicBezTo>
                  <a:pt x="2090686" y="70831"/>
                  <a:pt x="2097249" y="76665"/>
                  <a:pt x="2097249" y="84687"/>
                </a:cubicBezTo>
                <a:cubicBezTo>
                  <a:pt x="2097249" y="90521"/>
                  <a:pt x="2090686" y="97085"/>
                  <a:pt x="2083393" y="97085"/>
                </a:cubicBezTo>
                <a:cubicBezTo>
                  <a:pt x="2076829" y="97085"/>
                  <a:pt x="2070995" y="90521"/>
                  <a:pt x="2070995" y="84687"/>
                </a:cubicBezTo>
                <a:cubicBezTo>
                  <a:pt x="2070995" y="76665"/>
                  <a:pt x="2076829" y="70831"/>
                  <a:pt x="2083393" y="70831"/>
                </a:cubicBezTo>
                <a:close/>
                <a:moveTo>
                  <a:pt x="2011835" y="70831"/>
                </a:moveTo>
                <a:cubicBezTo>
                  <a:pt x="2019855" y="70831"/>
                  <a:pt x="2026421" y="76665"/>
                  <a:pt x="2026421" y="84687"/>
                </a:cubicBezTo>
                <a:cubicBezTo>
                  <a:pt x="2026421" y="90521"/>
                  <a:pt x="2019855" y="97085"/>
                  <a:pt x="2011835" y="97085"/>
                </a:cubicBezTo>
                <a:cubicBezTo>
                  <a:pt x="2006003" y="97085"/>
                  <a:pt x="2000168" y="90521"/>
                  <a:pt x="2000168" y="84687"/>
                </a:cubicBezTo>
                <a:cubicBezTo>
                  <a:pt x="2000168" y="76665"/>
                  <a:pt x="2006003" y="70831"/>
                  <a:pt x="2011835" y="70831"/>
                </a:cubicBezTo>
                <a:close/>
                <a:moveTo>
                  <a:pt x="1938365" y="70831"/>
                </a:moveTo>
                <a:cubicBezTo>
                  <a:pt x="1946388" y="70831"/>
                  <a:pt x="1952222" y="76665"/>
                  <a:pt x="1952222" y="84687"/>
                </a:cubicBezTo>
                <a:cubicBezTo>
                  <a:pt x="1952222" y="90521"/>
                  <a:pt x="1946388" y="97085"/>
                  <a:pt x="1938365" y="97085"/>
                </a:cubicBezTo>
                <a:cubicBezTo>
                  <a:pt x="1931072" y="97085"/>
                  <a:pt x="1925971" y="90521"/>
                  <a:pt x="1925971" y="84687"/>
                </a:cubicBezTo>
                <a:cubicBezTo>
                  <a:pt x="1925971" y="76665"/>
                  <a:pt x="1931072" y="70831"/>
                  <a:pt x="1938365" y="70831"/>
                </a:cubicBezTo>
                <a:close/>
                <a:moveTo>
                  <a:pt x="1869922" y="70831"/>
                </a:moveTo>
                <a:cubicBezTo>
                  <a:pt x="1878483" y="70831"/>
                  <a:pt x="1884712" y="76665"/>
                  <a:pt x="1884712" y="84687"/>
                </a:cubicBezTo>
                <a:cubicBezTo>
                  <a:pt x="1884712" y="90521"/>
                  <a:pt x="1878483" y="97085"/>
                  <a:pt x="1869922" y="97085"/>
                </a:cubicBezTo>
                <a:cubicBezTo>
                  <a:pt x="1862138" y="97085"/>
                  <a:pt x="1855131" y="90521"/>
                  <a:pt x="1855131" y="84687"/>
                </a:cubicBezTo>
                <a:cubicBezTo>
                  <a:pt x="1855131" y="76665"/>
                  <a:pt x="1862138" y="70831"/>
                  <a:pt x="1869922" y="70831"/>
                </a:cubicBezTo>
                <a:close/>
                <a:moveTo>
                  <a:pt x="1799087" y="70831"/>
                </a:moveTo>
                <a:cubicBezTo>
                  <a:pt x="1807649" y="70831"/>
                  <a:pt x="1813879" y="76665"/>
                  <a:pt x="1813879" y="84687"/>
                </a:cubicBezTo>
                <a:cubicBezTo>
                  <a:pt x="1813879" y="90521"/>
                  <a:pt x="1807649" y="97085"/>
                  <a:pt x="1799087" y="97085"/>
                </a:cubicBezTo>
                <a:cubicBezTo>
                  <a:pt x="1790527" y="97085"/>
                  <a:pt x="1784303" y="92709"/>
                  <a:pt x="1784303" y="84687"/>
                </a:cubicBezTo>
                <a:cubicBezTo>
                  <a:pt x="1784303" y="76665"/>
                  <a:pt x="1790527" y="70831"/>
                  <a:pt x="1799087" y="70831"/>
                </a:cubicBezTo>
                <a:close/>
                <a:moveTo>
                  <a:pt x="1728262" y="70831"/>
                </a:moveTo>
                <a:cubicBezTo>
                  <a:pt x="1736828" y="70831"/>
                  <a:pt x="1743052" y="76665"/>
                  <a:pt x="1743052" y="84687"/>
                </a:cubicBezTo>
                <a:cubicBezTo>
                  <a:pt x="1743052" y="92709"/>
                  <a:pt x="1736828" y="97085"/>
                  <a:pt x="1728262" y="97085"/>
                </a:cubicBezTo>
                <a:cubicBezTo>
                  <a:pt x="1719700" y="97085"/>
                  <a:pt x="1713474" y="92709"/>
                  <a:pt x="1713474" y="84687"/>
                </a:cubicBezTo>
                <a:cubicBezTo>
                  <a:pt x="1713474" y="76665"/>
                  <a:pt x="1719700" y="70831"/>
                  <a:pt x="1728262" y="70831"/>
                </a:cubicBezTo>
                <a:close/>
                <a:moveTo>
                  <a:pt x="1656501" y="70831"/>
                </a:moveTo>
                <a:cubicBezTo>
                  <a:pt x="1663792" y="70831"/>
                  <a:pt x="1668900" y="76665"/>
                  <a:pt x="1668900" y="84687"/>
                </a:cubicBezTo>
                <a:cubicBezTo>
                  <a:pt x="1668900" y="92709"/>
                  <a:pt x="1663792" y="97085"/>
                  <a:pt x="1656501" y="97085"/>
                </a:cubicBezTo>
                <a:cubicBezTo>
                  <a:pt x="1648481" y="97085"/>
                  <a:pt x="1642655" y="92709"/>
                  <a:pt x="1642655" y="84687"/>
                </a:cubicBezTo>
                <a:cubicBezTo>
                  <a:pt x="1642655" y="76665"/>
                  <a:pt x="1648481" y="70831"/>
                  <a:pt x="1656501" y="70831"/>
                </a:cubicBezTo>
                <a:close/>
                <a:moveTo>
                  <a:pt x="1582299" y="70831"/>
                </a:moveTo>
                <a:cubicBezTo>
                  <a:pt x="1588134" y="70831"/>
                  <a:pt x="1594704" y="76665"/>
                  <a:pt x="1594704" y="84687"/>
                </a:cubicBezTo>
                <a:cubicBezTo>
                  <a:pt x="1594704" y="92709"/>
                  <a:pt x="1588134" y="97085"/>
                  <a:pt x="1582299" y="97085"/>
                </a:cubicBezTo>
                <a:cubicBezTo>
                  <a:pt x="1574277" y="97085"/>
                  <a:pt x="1568444" y="92709"/>
                  <a:pt x="1568444" y="84687"/>
                </a:cubicBezTo>
                <a:cubicBezTo>
                  <a:pt x="1568444" y="76665"/>
                  <a:pt x="1574277" y="70831"/>
                  <a:pt x="1582299" y="70831"/>
                </a:cubicBezTo>
                <a:close/>
                <a:moveTo>
                  <a:pt x="2796538" y="0"/>
                </a:moveTo>
                <a:cubicBezTo>
                  <a:pt x="2803103" y="0"/>
                  <a:pt x="2808940" y="5834"/>
                  <a:pt x="2808940" y="12397"/>
                </a:cubicBezTo>
                <a:cubicBezTo>
                  <a:pt x="2808940" y="19690"/>
                  <a:pt x="2803103" y="26254"/>
                  <a:pt x="2796538" y="26254"/>
                </a:cubicBezTo>
                <a:cubicBezTo>
                  <a:pt x="2789246" y="26254"/>
                  <a:pt x="2782683" y="19690"/>
                  <a:pt x="2782683" y="12397"/>
                </a:cubicBezTo>
                <a:cubicBezTo>
                  <a:pt x="2782683" y="5834"/>
                  <a:pt x="2789246" y="0"/>
                  <a:pt x="2796538" y="0"/>
                </a:cubicBezTo>
                <a:close/>
                <a:moveTo>
                  <a:pt x="2725703" y="0"/>
                </a:moveTo>
                <a:cubicBezTo>
                  <a:pt x="2731538" y="0"/>
                  <a:pt x="2738105" y="5834"/>
                  <a:pt x="2738105" y="12397"/>
                </a:cubicBezTo>
                <a:cubicBezTo>
                  <a:pt x="2738105" y="19690"/>
                  <a:pt x="2731538" y="26254"/>
                  <a:pt x="2725703" y="26254"/>
                </a:cubicBezTo>
                <a:cubicBezTo>
                  <a:pt x="2717686" y="26254"/>
                  <a:pt x="2711852" y="19690"/>
                  <a:pt x="2711852" y="12397"/>
                </a:cubicBezTo>
                <a:cubicBezTo>
                  <a:pt x="2711852" y="5834"/>
                  <a:pt x="2717686" y="0"/>
                  <a:pt x="2725703" y="0"/>
                </a:cubicBezTo>
                <a:close/>
                <a:moveTo>
                  <a:pt x="2653420" y="0"/>
                </a:moveTo>
                <a:cubicBezTo>
                  <a:pt x="2660711" y="0"/>
                  <a:pt x="2667273" y="5834"/>
                  <a:pt x="2667273" y="12397"/>
                </a:cubicBezTo>
                <a:cubicBezTo>
                  <a:pt x="2667273" y="19690"/>
                  <a:pt x="2660711" y="26254"/>
                  <a:pt x="2653420" y="26254"/>
                </a:cubicBezTo>
                <a:cubicBezTo>
                  <a:pt x="2646857" y="26254"/>
                  <a:pt x="2641021" y="19690"/>
                  <a:pt x="2641021" y="12397"/>
                </a:cubicBezTo>
                <a:cubicBezTo>
                  <a:pt x="2641021" y="5834"/>
                  <a:pt x="2646857" y="0"/>
                  <a:pt x="2653420" y="0"/>
                </a:cubicBezTo>
                <a:close/>
                <a:moveTo>
                  <a:pt x="2582586" y="0"/>
                </a:moveTo>
                <a:cubicBezTo>
                  <a:pt x="2589878" y="0"/>
                  <a:pt x="2596442" y="5834"/>
                  <a:pt x="2596442" y="12397"/>
                </a:cubicBezTo>
                <a:cubicBezTo>
                  <a:pt x="2596442" y="19690"/>
                  <a:pt x="2589878" y="26254"/>
                  <a:pt x="2582586" y="26254"/>
                </a:cubicBezTo>
                <a:cubicBezTo>
                  <a:pt x="2576024" y="26254"/>
                  <a:pt x="2570189" y="19690"/>
                  <a:pt x="2570189" y="12397"/>
                </a:cubicBezTo>
                <a:cubicBezTo>
                  <a:pt x="2570189" y="5834"/>
                  <a:pt x="2576024" y="0"/>
                  <a:pt x="2582586" y="0"/>
                </a:cubicBezTo>
                <a:close/>
                <a:moveTo>
                  <a:pt x="2511034" y="0"/>
                </a:moveTo>
                <a:cubicBezTo>
                  <a:pt x="2519052" y="0"/>
                  <a:pt x="2525616" y="5834"/>
                  <a:pt x="2525616" y="12397"/>
                </a:cubicBezTo>
                <a:cubicBezTo>
                  <a:pt x="2525616" y="19690"/>
                  <a:pt x="2519052" y="26254"/>
                  <a:pt x="2511034" y="26254"/>
                </a:cubicBezTo>
                <a:cubicBezTo>
                  <a:pt x="2503743" y="26254"/>
                  <a:pt x="2499364" y="19690"/>
                  <a:pt x="2499364" y="12397"/>
                </a:cubicBezTo>
                <a:cubicBezTo>
                  <a:pt x="2499364" y="5834"/>
                  <a:pt x="2503743" y="0"/>
                  <a:pt x="2511034" y="0"/>
                </a:cubicBezTo>
                <a:close/>
                <a:moveTo>
                  <a:pt x="2439946" y="0"/>
                </a:moveTo>
                <a:cubicBezTo>
                  <a:pt x="2448505" y="0"/>
                  <a:pt x="2454737" y="5834"/>
                  <a:pt x="2454737" y="12397"/>
                </a:cubicBezTo>
                <a:cubicBezTo>
                  <a:pt x="2454737" y="19690"/>
                  <a:pt x="2448505" y="26254"/>
                  <a:pt x="2439946" y="26254"/>
                </a:cubicBezTo>
                <a:cubicBezTo>
                  <a:pt x="2432165" y="26254"/>
                  <a:pt x="2425159" y="19690"/>
                  <a:pt x="2425159" y="12397"/>
                </a:cubicBezTo>
                <a:cubicBezTo>
                  <a:pt x="2425159" y="5834"/>
                  <a:pt x="2432165" y="0"/>
                  <a:pt x="2439946" y="0"/>
                </a:cubicBezTo>
                <a:close/>
                <a:moveTo>
                  <a:pt x="2369114" y="0"/>
                </a:moveTo>
                <a:cubicBezTo>
                  <a:pt x="2377674" y="0"/>
                  <a:pt x="2383900" y="5834"/>
                  <a:pt x="2383900" y="12397"/>
                </a:cubicBezTo>
                <a:cubicBezTo>
                  <a:pt x="2383900" y="19690"/>
                  <a:pt x="2377674" y="26254"/>
                  <a:pt x="2369114" y="26254"/>
                </a:cubicBezTo>
                <a:cubicBezTo>
                  <a:pt x="2361331" y="26254"/>
                  <a:pt x="2354323" y="19690"/>
                  <a:pt x="2354323" y="12397"/>
                </a:cubicBezTo>
                <a:cubicBezTo>
                  <a:pt x="2354323" y="5834"/>
                  <a:pt x="2361331" y="0"/>
                  <a:pt x="2369114" y="0"/>
                </a:cubicBezTo>
                <a:close/>
                <a:moveTo>
                  <a:pt x="2298283" y="0"/>
                </a:moveTo>
                <a:cubicBezTo>
                  <a:pt x="2306842" y="0"/>
                  <a:pt x="2313070" y="5834"/>
                  <a:pt x="2313070" y="12397"/>
                </a:cubicBezTo>
                <a:cubicBezTo>
                  <a:pt x="2313070" y="19690"/>
                  <a:pt x="2306842" y="26254"/>
                  <a:pt x="2298283" y="26254"/>
                </a:cubicBezTo>
                <a:cubicBezTo>
                  <a:pt x="2290497" y="26254"/>
                  <a:pt x="2283493" y="19690"/>
                  <a:pt x="2283493" y="12397"/>
                </a:cubicBezTo>
                <a:cubicBezTo>
                  <a:pt x="2283493" y="5834"/>
                  <a:pt x="2290497" y="0"/>
                  <a:pt x="2298283" y="0"/>
                </a:cubicBezTo>
                <a:close/>
                <a:moveTo>
                  <a:pt x="2226517" y="0"/>
                </a:moveTo>
                <a:cubicBezTo>
                  <a:pt x="2234542" y="0"/>
                  <a:pt x="2238916" y="5834"/>
                  <a:pt x="2238916" y="13856"/>
                </a:cubicBezTo>
                <a:cubicBezTo>
                  <a:pt x="2238916" y="19690"/>
                  <a:pt x="2234542" y="26254"/>
                  <a:pt x="2226517" y="26254"/>
                </a:cubicBezTo>
                <a:cubicBezTo>
                  <a:pt x="2218495" y="26254"/>
                  <a:pt x="2212659" y="19690"/>
                  <a:pt x="2212659" y="13856"/>
                </a:cubicBezTo>
                <a:cubicBezTo>
                  <a:pt x="2212659" y="5834"/>
                  <a:pt x="2218495" y="0"/>
                  <a:pt x="2226517" y="0"/>
                </a:cubicBezTo>
                <a:close/>
                <a:moveTo>
                  <a:pt x="2155683" y="0"/>
                </a:moveTo>
                <a:cubicBezTo>
                  <a:pt x="2161520" y="0"/>
                  <a:pt x="2168084" y="5834"/>
                  <a:pt x="2168084" y="13856"/>
                </a:cubicBezTo>
                <a:cubicBezTo>
                  <a:pt x="2168084" y="19690"/>
                  <a:pt x="2161520" y="26254"/>
                  <a:pt x="2155683" y="26254"/>
                </a:cubicBezTo>
                <a:cubicBezTo>
                  <a:pt x="2147663" y="26254"/>
                  <a:pt x="2141827" y="19690"/>
                  <a:pt x="2141827" y="13856"/>
                </a:cubicBezTo>
                <a:cubicBezTo>
                  <a:pt x="2141827" y="5834"/>
                  <a:pt x="2147663" y="0"/>
                  <a:pt x="2155683" y="0"/>
                </a:cubicBezTo>
                <a:close/>
                <a:moveTo>
                  <a:pt x="2083393" y="0"/>
                </a:moveTo>
                <a:cubicBezTo>
                  <a:pt x="2090686" y="0"/>
                  <a:pt x="2097249" y="5834"/>
                  <a:pt x="2097249" y="13856"/>
                </a:cubicBezTo>
                <a:cubicBezTo>
                  <a:pt x="2097249" y="19690"/>
                  <a:pt x="2090686" y="26254"/>
                  <a:pt x="2083393" y="26254"/>
                </a:cubicBezTo>
                <a:cubicBezTo>
                  <a:pt x="2076829" y="26254"/>
                  <a:pt x="2070995" y="19690"/>
                  <a:pt x="2070995" y="13856"/>
                </a:cubicBezTo>
                <a:cubicBezTo>
                  <a:pt x="2070995" y="5834"/>
                  <a:pt x="2076829" y="0"/>
                  <a:pt x="2083393" y="0"/>
                </a:cubicBezTo>
                <a:close/>
                <a:moveTo>
                  <a:pt x="2011835" y="0"/>
                </a:moveTo>
                <a:cubicBezTo>
                  <a:pt x="2019855" y="0"/>
                  <a:pt x="2026421" y="5834"/>
                  <a:pt x="2026421" y="13856"/>
                </a:cubicBezTo>
                <a:cubicBezTo>
                  <a:pt x="2026421" y="19690"/>
                  <a:pt x="2019855" y="26254"/>
                  <a:pt x="2011835" y="26254"/>
                </a:cubicBezTo>
                <a:cubicBezTo>
                  <a:pt x="2006003" y="26254"/>
                  <a:pt x="2000168" y="19690"/>
                  <a:pt x="2000168" y="13856"/>
                </a:cubicBezTo>
                <a:cubicBezTo>
                  <a:pt x="2000168" y="5834"/>
                  <a:pt x="2006003" y="0"/>
                  <a:pt x="2011835" y="0"/>
                </a:cubicBezTo>
                <a:close/>
                <a:moveTo>
                  <a:pt x="1938365" y="0"/>
                </a:moveTo>
                <a:cubicBezTo>
                  <a:pt x="1946388" y="0"/>
                  <a:pt x="1952222" y="5834"/>
                  <a:pt x="1952222" y="13856"/>
                </a:cubicBezTo>
                <a:cubicBezTo>
                  <a:pt x="1952222" y="19690"/>
                  <a:pt x="1946388" y="26254"/>
                  <a:pt x="1938365" y="26254"/>
                </a:cubicBezTo>
                <a:cubicBezTo>
                  <a:pt x="1931072" y="26254"/>
                  <a:pt x="1925971" y="19690"/>
                  <a:pt x="1925971" y="13856"/>
                </a:cubicBezTo>
                <a:cubicBezTo>
                  <a:pt x="1925971" y="5834"/>
                  <a:pt x="1931072" y="0"/>
                  <a:pt x="1938365" y="0"/>
                </a:cubicBezTo>
                <a:close/>
                <a:moveTo>
                  <a:pt x="1869922" y="0"/>
                </a:moveTo>
                <a:cubicBezTo>
                  <a:pt x="1878483" y="0"/>
                  <a:pt x="1884712" y="5834"/>
                  <a:pt x="1884712" y="13856"/>
                </a:cubicBezTo>
                <a:cubicBezTo>
                  <a:pt x="1884712" y="19690"/>
                  <a:pt x="1878483" y="26254"/>
                  <a:pt x="1869922" y="26254"/>
                </a:cubicBezTo>
                <a:cubicBezTo>
                  <a:pt x="1862138" y="26254"/>
                  <a:pt x="1855131" y="19690"/>
                  <a:pt x="1855131" y="13856"/>
                </a:cubicBezTo>
                <a:cubicBezTo>
                  <a:pt x="1855131" y="5834"/>
                  <a:pt x="1862138" y="0"/>
                  <a:pt x="1869922" y="0"/>
                </a:cubicBezTo>
                <a:close/>
                <a:moveTo>
                  <a:pt x="1799087" y="0"/>
                </a:moveTo>
                <a:cubicBezTo>
                  <a:pt x="1807649" y="0"/>
                  <a:pt x="1813879" y="5834"/>
                  <a:pt x="1813879" y="13856"/>
                </a:cubicBezTo>
                <a:cubicBezTo>
                  <a:pt x="1813879" y="19690"/>
                  <a:pt x="1807649" y="26254"/>
                  <a:pt x="1799087" y="26254"/>
                </a:cubicBezTo>
                <a:cubicBezTo>
                  <a:pt x="1790527" y="26254"/>
                  <a:pt x="1784303" y="19690"/>
                  <a:pt x="1784303" y="13856"/>
                </a:cubicBezTo>
                <a:cubicBezTo>
                  <a:pt x="1784303" y="5834"/>
                  <a:pt x="1790527" y="0"/>
                  <a:pt x="1799087" y="0"/>
                </a:cubicBezTo>
                <a:close/>
                <a:moveTo>
                  <a:pt x="1728262" y="0"/>
                </a:moveTo>
                <a:cubicBezTo>
                  <a:pt x="1736828" y="0"/>
                  <a:pt x="1743052" y="5834"/>
                  <a:pt x="1743052" y="13856"/>
                </a:cubicBezTo>
                <a:cubicBezTo>
                  <a:pt x="1743052" y="19690"/>
                  <a:pt x="1736828" y="26254"/>
                  <a:pt x="1728262" y="26254"/>
                </a:cubicBezTo>
                <a:cubicBezTo>
                  <a:pt x="1719700" y="26254"/>
                  <a:pt x="1713474" y="19690"/>
                  <a:pt x="1713474" y="13856"/>
                </a:cubicBezTo>
                <a:cubicBezTo>
                  <a:pt x="1713474" y="5834"/>
                  <a:pt x="1719700" y="0"/>
                  <a:pt x="1728262" y="0"/>
                </a:cubicBezTo>
                <a:close/>
                <a:moveTo>
                  <a:pt x="1656501" y="0"/>
                </a:moveTo>
                <a:cubicBezTo>
                  <a:pt x="1663792" y="0"/>
                  <a:pt x="1668900" y="5834"/>
                  <a:pt x="1668900" y="13856"/>
                </a:cubicBezTo>
                <a:cubicBezTo>
                  <a:pt x="1668900" y="19690"/>
                  <a:pt x="1663792" y="26254"/>
                  <a:pt x="1656501" y="26254"/>
                </a:cubicBezTo>
                <a:cubicBezTo>
                  <a:pt x="1648481" y="26254"/>
                  <a:pt x="1642655" y="19690"/>
                  <a:pt x="1642655" y="13856"/>
                </a:cubicBezTo>
                <a:cubicBezTo>
                  <a:pt x="1642655" y="5834"/>
                  <a:pt x="1648481" y="0"/>
                  <a:pt x="1656501" y="0"/>
                </a:cubicBezTo>
                <a:close/>
                <a:moveTo>
                  <a:pt x="1582299" y="0"/>
                </a:moveTo>
                <a:cubicBezTo>
                  <a:pt x="1588134" y="0"/>
                  <a:pt x="1594704" y="5834"/>
                  <a:pt x="1594704" y="13856"/>
                </a:cubicBezTo>
                <a:cubicBezTo>
                  <a:pt x="1594704" y="19690"/>
                  <a:pt x="1588134" y="26254"/>
                  <a:pt x="1582299" y="26254"/>
                </a:cubicBezTo>
                <a:cubicBezTo>
                  <a:pt x="1574277" y="26254"/>
                  <a:pt x="1568444" y="19690"/>
                  <a:pt x="1568444" y="13856"/>
                </a:cubicBezTo>
                <a:cubicBezTo>
                  <a:pt x="1568444" y="5834"/>
                  <a:pt x="1574277" y="0"/>
                  <a:pt x="158229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de-DE" sz="3266" dirty="0">
              <a:latin typeface="Nunito Sans ExtraLight" pitchFamily="2" charset="77"/>
            </a:endParaRPr>
          </a:p>
        </p:txBody>
      </p:sp>
      <p:sp>
        <p:nvSpPr>
          <p:cNvPr id="13" name="Freeform 1">
            <a:extLst>
              <a:ext uri="{FF2B5EF4-FFF2-40B4-BE49-F238E27FC236}">
                <a16:creationId xmlns:a16="http://schemas.microsoft.com/office/drawing/2014/main" id="{F70001C4-25DF-42A9-B0A0-E39AAFEF34C5}"/>
              </a:ext>
            </a:extLst>
          </p:cNvPr>
          <p:cNvSpPr>
            <a:spLocks noChangeArrowheads="1"/>
          </p:cNvSpPr>
          <p:nvPr userDrawn="1"/>
        </p:nvSpPr>
        <p:spPr bwMode="auto">
          <a:xfrm rot="13500000">
            <a:off x="8554870" y="2298264"/>
            <a:ext cx="2553637" cy="6324200"/>
          </a:xfrm>
          <a:custGeom>
            <a:avLst/>
            <a:gdLst>
              <a:gd name="T0" fmla="*/ 0 w 4138"/>
              <a:gd name="T1" fmla="*/ 10223 h 10245"/>
              <a:gd name="T2" fmla="*/ 0 w 4138"/>
              <a:gd name="T3" fmla="*/ 10223 h 10245"/>
              <a:gd name="T4" fmla="*/ 1549 w 4138"/>
              <a:gd name="T5" fmla="*/ 8731 h 10245"/>
              <a:gd name="T6" fmla="*/ 1549 w 4138"/>
              <a:gd name="T7" fmla="*/ 8731 h 10245"/>
              <a:gd name="T8" fmla="*/ 2011 w 4138"/>
              <a:gd name="T9" fmla="*/ 6622 h 10245"/>
              <a:gd name="T10" fmla="*/ 2011 w 4138"/>
              <a:gd name="T11" fmla="*/ 6622 h 10245"/>
              <a:gd name="T12" fmla="*/ 2941 w 4138"/>
              <a:gd name="T13" fmla="*/ 3654 h 10245"/>
              <a:gd name="T14" fmla="*/ 2941 w 4138"/>
              <a:gd name="T15" fmla="*/ 3654 h 10245"/>
              <a:gd name="T16" fmla="*/ 2247 w 4138"/>
              <a:gd name="T17" fmla="*/ 159 h 10245"/>
              <a:gd name="T18" fmla="*/ 2247 w 4138"/>
              <a:gd name="T19" fmla="*/ 159 h 10245"/>
              <a:gd name="T20" fmla="*/ 2107 w 4138"/>
              <a:gd name="T21" fmla="*/ 2 h 10245"/>
              <a:gd name="T22" fmla="*/ 2133 w 4138"/>
              <a:gd name="T23" fmla="*/ 0 h 10245"/>
              <a:gd name="T24" fmla="*/ 2120 w 4138"/>
              <a:gd name="T25" fmla="*/ 0 h 10245"/>
              <a:gd name="T26" fmla="*/ 2133 w 4138"/>
              <a:gd name="T27" fmla="*/ 0 h 10245"/>
              <a:gd name="T28" fmla="*/ 2133 w 4138"/>
              <a:gd name="T29" fmla="*/ 0 h 10245"/>
              <a:gd name="T30" fmla="*/ 2266 w 4138"/>
              <a:gd name="T31" fmla="*/ 140 h 10245"/>
              <a:gd name="T32" fmla="*/ 2266 w 4138"/>
              <a:gd name="T33" fmla="*/ 140 h 10245"/>
              <a:gd name="T34" fmla="*/ 2962 w 4138"/>
              <a:gd name="T35" fmla="*/ 3669 h 10245"/>
              <a:gd name="T36" fmla="*/ 2962 w 4138"/>
              <a:gd name="T37" fmla="*/ 3669 h 10245"/>
              <a:gd name="T38" fmla="*/ 2036 w 4138"/>
              <a:gd name="T39" fmla="*/ 6625 h 10245"/>
              <a:gd name="T40" fmla="*/ 2036 w 4138"/>
              <a:gd name="T41" fmla="*/ 6625 h 10245"/>
              <a:gd name="T42" fmla="*/ 1573 w 4138"/>
              <a:gd name="T43" fmla="*/ 8743 h 10245"/>
              <a:gd name="T44" fmla="*/ 1573 w 4138"/>
              <a:gd name="T45" fmla="*/ 8743 h 10245"/>
              <a:gd name="T46" fmla="*/ 13 w 4138"/>
              <a:gd name="T47" fmla="*/ 10244 h 10245"/>
              <a:gd name="T48" fmla="*/ 0 w 4138"/>
              <a:gd name="T49" fmla="*/ 10223 h 10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138" h="10245">
                <a:moveTo>
                  <a:pt x="0" y="10223"/>
                </a:moveTo>
                <a:lnTo>
                  <a:pt x="0" y="10223"/>
                </a:lnTo>
                <a:cubicBezTo>
                  <a:pt x="13" y="10217"/>
                  <a:pt x="1109" y="9592"/>
                  <a:pt x="1549" y="8731"/>
                </a:cubicBezTo>
                <a:lnTo>
                  <a:pt x="1549" y="8731"/>
                </a:lnTo>
                <a:cubicBezTo>
                  <a:pt x="1966" y="7914"/>
                  <a:pt x="1988" y="7287"/>
                  <a:pt x="2011" y="6622"/>
                </a:cubicBezTo>
                <a:lnTo>
                  <a:pt x="2011" y="6622"/>
                </a:lnTo>
                <a:cubicBezTo>
                  <a:pt x="2038" y="5791"/>
                  <a:pt x="2067" y="4928"/>
                  <a:pt x="2941" y="3654"/>
                </a:cubicBezTo>
                <a:lnTo>
                  <a:pt x="2941" y="3654"/>
                </a:lnTo>
                <a:cubicBezTo>
                  <a:pt x="4103" y="1962"/>
                  <a:pt x="2706" y="606"/>
                  <a:pt x="2247" y="159"/>
                </a:cubicBezTo>
                <a:lnTo>
                  <a:pt x="2247" y="159"/>
                </a:lnTo>
                <a:cubicBezTo>
                  <a:pt x="2145" y="60"/>
                  <a:pt x="2109" y="24"/>
                  <a:pt x="2107" y="2"/>
                </a:cubicBezTo>
                <a:lnTo>
                  <a:pt x="2133" y="0"/>
                </a:lnTo>
                <a:lnTo>
                  <a:pt x="2120" y="0"/>
                </a:lnTo>
                <a:lnTo>
                  <a:pt x="2133" y="0"/>
                </a:lnTo>
                <a:lnTo>
                  <a:pt x="2133" y="0"/>
                </a:lnTo>
                <a:cubicBezTo>
                  <a:pt x="2135" y="15"/>
                  <a:pt x="2198" y="77"/>
                  <a:pt x="2266" y="140"/>
                </a:cubicBezTo>
                <a:lnTo>
                  <a:pt x="2266" y="140"/>
                </a:lnTo>
                <a:cubicBezTo>
                  <a:pt x="2730" y="591"/>
                  <a:pt x="4137" y="1958"/>
                  <a:pt x="2962" y="3669"/>
                </a:cubicBezTo>
                <a:lnTo>
                  <a:pt x="2962" y="3669"/>
                </a:lnTo>
                <a:cubicBezTo>
                  <a:pt x="2092" y="4936"/>
                  <a:pt x="2063" y="5795"/>
                  <a:pt x="2036" y="6625"/>
                </a:cubicBezTo>
                <a:lnTo>
                  <a:pt x="2036" y="6625"/>
                </a:lnTo>
                <a:cubicBezTo>
                  <a:pt x="2013" y="7291"/>
                  <a:pt x="1992" y="7920"/>
                  <a:pt x="1573" y="8743"/>
                </a:cubicBezTo>
                <a:lnTo>
                  <a:pt x="1573" y="8743"/>
                </a:lnTo>
                <a:cubicBezTo>
                  <a:pt x="1128" y="9611"/>
                  <a:pt x="26" y="10238"/>
                  <a:pt x="13" y="10244"/>
                </a:cubicBezTo>
                <a:lnTo>
                  <a:pt x="0" y="10223"/>
                </a:ln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Nunito Sans ExtraLight" pitchFamily="2" charset="77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5DBBA29-8976-4EB7-A576-50AF9D5E33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0317"/>
          <a:stretch/>
        </p:blipFill>
        <p:spPr>
          <a:xfrm>
            <a:off x="-2933129" y="0"/>
            <a:ext cx="714293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1463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&#10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ayoutschutz" hidden="1">
            <a:extLst>
              <a:ext uri="{FF2B5EF4-FFF2-40B4-BE49-F238E27FC236}">
                <a16:creationId xmlns:a16="http://schemas.microsoft.com/office/drawing/2014/main" id="{243CC649-AF1F-4C3F-B66A-183E7DDCFE0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01600"/>
            <a:ext cx="12192000" cy="67564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318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ayoutschutz" hidden="1">
            <a:extLst>
              <a:ext uri="{FF2B5EF4-FFF2-40B4-BE49-F238E27FC236}">
                <a16:creationId xmlns:a16="http://schemas.microsoft.com/office/drawing/2014/main" id="{243CC649-AF1F-4C3F-B66A-183E7DDCFE0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01600"/>
            <a:ext cx="12192000" cy="67564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902AA79-263C-4E30-A353-EF65797CE0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0317"/>
          <a:stretch/>
        </p:blipFill>
        <p:spPr>
          <a:xfrm>
            <a:off x="0" y="0"/>
            <a:ext cx="714293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6149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ikto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ayoutschutz" hidden="1">
            <a:extLst>
              <a:ext uri="{FF2B5EF4-FFF2-40B4-BE49-F238E27FC236}">
                <a16:creationId xmlns:a16="http://schemas.microsoft.com/office/drawing/2014/main" id="{243CC649-AF1F-4C3F-B66A-183E7DDCFE0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01600"/>
            <a:ext cx="12192000" cy="67564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B5F7914-0D78-4A15-92BC-ED4B1762B28A}"/>
              </a:ext>
            </a:extLst>
          </p:cNvPr>
          <p:cNvGrpSpPr/>
          <p:nvPr userDrawn="1"/>
        </p:nvGrpSpPr>
        <p:grpSpPr>
          <a:xfrm>
            <a:off x="2297748" y="1783814"/>
            <a:ext cx="1290654" cy="1256277"/>
            <a:chOff x="2297748" y="1783814"/>
            <a:chExt cx="1290654" cy="1256277"/>
          </a:xfrm>
        </p:grpSpPr>
        <p:sp>
          <p:nvSpPr>
            <p:cNvPr id="15" name="Oval 3">
              <a:extLst>
                <a:ext uri="{FF2B5EF4-FFF2-40B4-BE49-F238E27FC236}">
                  <a16:creationId xmlns:a16="http://schemas.microsoft.com/office/drawing/2014/main" id="{C3CD3ABC-9D56-4C54-B230-E52D8CADD884}"/>
                </a:ext>
              </a:extLst>
            </p:cNvPr>
            <p:cNvSpPr/>
            <p:nvPr/>
          </p:nvSpPr>
          <p:spPr>
            <a:xfrm>
              <a:off x="2297748" y="1783814"/>
              <a:ext cx="1290654" cy="125627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grpSp>
          <p:nvGrpSpPr>
            <p:cNvPr id="16" name="Growth" descr="Geschäftswachstum">
              <a:extLst>
                <a:ext uri="{FF2B5EF4-FFF2-40B4-BE49-F238E27FC236}">
                  <a16:creationId xmlns:a16="http://schemas.microsoft.com/office/drawing/2014/main" id="{3291111C-6127-4F02-9684-532263315E96}"/>
                </a:ext>
              </a:extLst>
            </p:cNvPr>
            <p:cNvGrpSpPr/>
            <p:nvPr>
              <p:custDataLst>
                <p:tags r:id="rId17"/>
              </p:custDataLst>
            </p:nvPr>
          </p:nvGrpSpPr>
          <p:grpSpPr>
            <a:xfrm>
              <a:off x="2615348" y="2076069"/>
              <a:ext cx="743666" cy="723858"/>
              <a:chOff x="4381266" y="1989001"/>
              <a:chExt cx="540000" cy="540000"/>
            </a:xfrm>
            <a:solidFill>
              <a:schemeClr val="bg1">
                <a:lumMod val="95000"/>
              </a:schemeClr>
            </a:solidFill>
          </p:grpSpPr>
          <p:sp>
            <p:nvSpPr>
              <p:cNvPr id="17" name="MIO_PICTOGRAM_PART1">
                <a:extLst>
                  <a:ext uri="{FF2B5EF4-FFF2-40B4-BE49-F238E27FC236}">
                    <a16:creationId xmlns:a16="http://schemas.microsoft.com/office/drawing/2014/main" id="{8AB3C7B9-C8E9-448E-9279-2F46C4847678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4420079" y="2167595"/>
                <a:ext cx="466875" cy="298125"/>
              </a:xfrm>
              <a:custGeom>
                <a:avLst/>
                <a:gdLst>
                  <a:gd name="connsiteX0" fmla="*/ 377438 w 466875"/>
                  <a:gd name="connsiteY0" fmla="*/ 113625 h 298125"/>
                  <a:gd name="connsiteX1" fmla="*/ 434250 w 466875"/>
                  <a:gd name="connsiteY1" fmla="*/ 56812 h 298125"/>
                  <a:gd name="connsiteX2" fmla="*/ 467438 w 466875"/>
                  <a:gd name="connsiteY2" fmla="*/ 90000 h 298125"/>
                  <a:gd name="connsiteX3" fmla="*/ 467438 w 466875"/>
                  <a:gd name="connsiteY3" fmla="*/ 0 h 298125"/>
                  <a:gd name="connsiteX4" fmla="*/ 377438 w 466875"/>
                  <a:gd name="connsiteY4" fmla="*/ 0 h 298125"/>
                  <a:gd name="connsiteX5" fmla="*/ 410625 w 466875"/>
                  <a:gd name="connsiteY5" fmla="*/ 33188 h 298125"/>
                  <a:gd name="connsiteX6" fmla="*/ 354938 w 466875"/>
                  <a:gd name="connsiteY6" fmla="*/ 88875 h 298125"/>
                  <a:gd name="connsiteX7" fmla="*/ 259313 w 466875"/>
                  <a:gd name="connsiteY7" fmla="*/ 184500 h 298125"/>
                  <a:gd name="connsiteX8" fmla="*/ 174938 w 466875"/>
                  <a:gd name="connsiteY8" fmla="*/ 100125 h 298125"/>
                  <a:gd name="connsiteX9" fmla="*/ 0 w 466875"/>
                  <a:gd name="connsiteY9" fmla="*/ 275063 h 298125"/>
                  <a:gd name="connsiteX10" fmla="*/ 23625 w 466875"/>
                  <a:gd name="connsiteY10" fmla="*/ 298688 h 298125"/>
                  <a:gd name="connsiteX11" fmla="*/ 174938 w 466875"/>
                  <a:gd name="connsiteY11" fmla="*/ 147375 h 298125"/>
                  <a:gd name="connsiteX12" fmla="*/ 259313 w 466875"/>
                  <a:gd name="connsiteY12" fmla="*/ 231750 h 298125"/>
                  <a:gd name="connsiteX13" fmla="*/ 377438 w 466875"/>
                  <a:gd name="connsiteY13" fmla="*/ 113625 h 29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66875" h="298125">
                    <a:moveTo>
                      <a:pt x="377438" y="113625"/>
                    </a:moveTo>
                    <a:lnTo>
                      <a:pt x="434250" y="56812"/>
                    </a:lnTo>
                    <a:lnTo>
                      <a:pt x="467438" y="90000"/>
                    </a:lnTo>
                    <a:lnTo>
                      <a:pt x="467438" y="0"/>
                    </a:lnTo>
                    <a:lnTo>
                      <a:pt x="377438" y="0"/>
                    </a:lnTo>
                    <a:lnTo>
                      <a:pt x="410625" y="33188"/>
                    </a:lnTo>
                    <a:lnTo>
                      <a:pt x="354938" y="88875"/>
                    </a:lnTo>
                    <a:lnTo>
                      <a:pt x="259313" y="184500"/>
                    </a:lnTo>
                    <a:lnTo>
                      <a:pt x="174938" y="100125"/>
                    </a:lnTo>
                    <a:lnTo>
                      <a:pt x="0" y="275063"/>
                    </a:lnTo>
                    <a:lnTo>
                      <a:pt x="23625" y="298688"/>
                    </a:lnTo>
                    <a:lnTo>
                      <a:pt x="174938" y="147375"/>
                    </a:lnTo>
                    <a:lnTo>
                      <a:pt x="259313" y="231750"/>
                    </a:lnTo>
                    <a:lnTo>
                      <a:pt x="377438" y="113625"/>
                    </a:lnTo>
                    <a:close/>
                  </a:path>
                </a:pathLst>
              </a:custGeom>
              <a:grpFill/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  <p:sp>
            <p:nvSpPr>
              <p:cNvPr id="18" name="MIO_PICTOGRAM_PART2">
                <a:extLst>
                  <a:ext uri="{FF2B5EF4-FFF2-40B4-BE49-F238E27FC236}">
                    <a16:creationId xmlns:a16="http://schemas.microsoft.com/office/drawing/2014/main" id="{43101D2E-3E6D-4207-ADE2-9F739AF25EF3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4454391" y="2073376"/>
                <a:ext cx="56250" cy="56250"/>
              </a:xfrm>
              <a:custGeom>
                <a:avLst/>
                <a:gdLst>
                  <a:gd name="connsiteX0" fmla="*/ 56250 w 56250"/>
                  <a:gd name="connsiteY0" fmla="*/ 28125 h 56250"/>
                  <a:gd name="connsiteX1" fmla="*/ 28125 w 56250"/>
                  <a:gd name="connsiteY1" fmla="*/ 56250 h 56250"/>
                  <a:gd name="connsiteX2" fmla="*/ 0 w 56250"/>
                  <a:gd name="connsiteY2" fmla="*/ 28125 h 56250"/>
                  <a:gd name="connsiteX3" fmla="*/ 28125 w 56250"/>
                  <a:gd name="connsiteY3" fmla="*/ 0 h 56250"/>
                  <a:gd name="connsiteX4" fmla="*/ 56250 w 56250"/>
                  <a:gd name="connsiteY4" fmla="*/ 28125 h 5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250" h="56250">
                    <a:moveTo>
                      <a:pt x="56250" y="28125"/>
                    </a:moveTo>
                    <a:cubicBezTo>
                      <a:pt x="56250" y="43658"/>
                      <a:pt x="43658" y="56250"/>
                      <a:pt x="28125" y="56250"/>
                    </a:cubicBezTo>
                    <a:cubicBezTo>
                      <a:pt x="12592" y="56250"/>
                      <a:pt x="0" y="43658"/>
                      <a:pt x="0" y="28125"/>
                    </a:cubicBezTo>
                    <a:cubicBezTo>
                      <a:pt x="0" y="12592"/>
                      <a:pt x="12592" y="0"/>
                      <a:pt x="28125" y="0"/>
                    </a:cubicBezTo>
                    <a:cubicBezTo>
                      <a:pt x="43658" y="0"/>
                      <a:pt x="56250" y="12592"/>
                      <a:pt x="56250" y="28125"/>
                    </a:cubicBezTo>
                    <a:close/>
                  </a:path>
                </a:pathLst>
              </a:custGeom>
              <a:grpFill/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  <p:sp>
            <p:nvSpPr>
              <p:cNvPr id="19" name="MIO_PICTOGRAM_PART2">
                <a:extLst>
                  <a:ext uri="{FF2B5EF4-FFF2-40B4-BE49-F238E27FC236}">
                    <a16:creationId xmlns:a16="http://schemas.microsoft.com/office/drawing/2014/main" id="{6C8CF735-04AB-4BCC-97A9-65CD21C4C934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4415099" y="2135252"/>
                <a:ext cx="354375" cy="236250"/>
              </a:xfrm>
              <a:custGeom>
                <a:avLst/>
                <a:gdLst>
                  <a:gd name="connsiteX0" fmla="*/ 338373 w 354375"/>
                  <a:gd name="connsiteY0" fmla="*/ 110867 h 236250"/>
                  <a:gd name="connsiteX1" fmla="*/ 343998 w 354375"/>
                  <a:gd name="connsiteY1" fmla="*/ 105242 h 236250"/>
                  <a:gd name="connsiteX2" fmla="*/ 356879 w 354375"/>
                  <a:gd name="connsiteY2" fmla="*/ 92361 h 236250"/>
                  <a:gd name="connsiteX3" fmla="*/ 341242 w 354375"/>
                  <a:gd name="connsiteY3" fmla="*/ 22049 h 236250"/>
                  <a:gd name="connsiteX4" fmla="*/ 337417 w 354375"/>
                  <a:gd name="connsiteY4" fmla="*/ 15749 h 236250"/>
                  <a:gd name="connsiteX5" fmla="*/ 314917 w 354375"/>
                  <a:gd name="connsiteY5" fmla="*/ 3767 h 236250"/>
                  <a:gd name="connsiteX6" fmla="*/ 269579 w 354375"/>
                  <a:gd name="connsiteY6" fmla="*/ 3767 h 236250"/>
                  <a:gd name="connsiteX7" fmla="*/ 247079 w 354375"/>
                  <a:gd name="connsiteY7" fmla="*/ 15749 h 236250"/>
                  <a:gd name="connsiteX8" fmla="*/ 243254 w 354375"/>
                  <a:gd name="connsiteY8" fmla="*/ 22049 h 236250"/>
                  <a:gd name="connsiteX9" fmla="*/ 236167 w 354375"/>
                  <a:gd name="connsiteY9" fmla="*/ 55011 h 236250"/>
                  <a:gd name="connsiteX10" fmla="*/ 236167 w 354375"/>
                  <a:gd name="connsiteY10" fmla="*/ 55011 h 236250"/>
                  <a:gd name="connsiteX11" fmla="*/ 228798 w 354375"/>
                  <a:gd name="connsiteY11" fmla="*/ 22049 h 236250"/>
                  <a:gd name="connsiteX12" fmla="*/ 224917 w 354375"/>
                  <a:gd name="connsiteY12" fmla="*/ 15749 h 236250"/>
                  <a:gd name="connsiteX13" fmla="*/ 202417 w 354375"/>
                  <a:gd name="connsiteY13" fmla="*/ 3767 h 236250"/>
                  <a:gd name="connsiteX14" fmla="*/ 134917 w 354375"/>
                  <a:gd name="connsiteY14" fmla="*/ 15749 h 236250"/>
                  <a:gd name="connsiteX15" fmla="*/ 131092 w 354375"/>
                  <a:gd name="connsiteY15" fmla="*/ 22049 h 236250"/>
                  <a:gd name="connsiteX16" fmla="*/ 123667 w 354375"/>
                  <a:gd name="connsiteY16" fmla="*/ 53942 h 236250"/>
                  <a:gd name="connsiteX17" fmla="*/ 123667 w 354375"/>
                  <a:gd name="connsiteY17" fmla="*/ 53942 h 236250"/>
                  <a:gd name="connsiteX18" fmla="*/ 116354 w 354375"/>
                  <a:gd name="connsiteY18" fmla="*/ 22049 h 236250"/>
                  <a:gd name="connsiteX19" fmla="*/ 112417 w 354375"/>
                  <a:gd name="connsiteY19" fmla="*/ 15749 h 236250"/>
                  <a:gd name="connsiteX20" fmla="*/ 89917 w 354375"/>
                  <a:gd name="connsiteY20" fmla="*/ 3767 h 236250"/>
                  <a:gd name="connsiteX21" fmla="*/ 44579 w 354375"/>
                  <a:gd name="connsiteY21" fmla="*/ 3767 h 236250"/>
                  <a:gd name="connsiteX22" fmla="*/ 22079 w 354375"/>
                  <a:gd name="connsiteY22" fmla="*/ 15749 h 236250"/>
                  <a:gd name="connsiteX23" fmla="*/ 18254 w 354375"/>
                  <a:gd name="connsiteY23" fmla="*/ 22049 h 236250"/>
                  <a:gd name="connsiteX24" fmla="*/ 367 w 354375"/>
                  <a:gd name="connsiteY24" fmla="*/ 103724 h 236250"/>
                  <a:gd name="connsiteX25" fmla="*/ 8857 w 354375"/>
                  <a:gd name="connsiteY25" fmla="*/ 118018 h 236250"/>
                  <a:gd name="connsiteX26" fmla="*/ 9310 w 354375"/>
                  <a:gd name="connsiteY26" fmla="*/ 118124 h 236250"/>
                  <a:gd name="connsiteX27" fmla="*/ 11167 w 354375"/>
                  <a:gd name="connsiteY27" fmla="*/ 118124 h 236250"/>
                  <a:gd name="connsiteX28" fmla="*/ 22417 w 354375"/>
                  <a:gd name="connsiteY28" fmla="*/ 109292 h 236250"/>
                  <a:gd name="connsiteX29" fmla="*/ 39292 w 354375"/>
                  <a:gd name="connsiteY29" fmla="*/ 33749 h 236250"/>
                  <a:gd name="connsiteX30" fmla="*/ 39292 w 354375"/>
                  <a:gd name="connsiteY30" fmla="*/ 33749 h 236250"/>
                  <a:gd name="connsiteX31" fmla="*/ 39292 w 354375"/>
                  <a:gd name="connsiteY31" fmla="*/ 73686 h 236250"/>
                  <a:gd name="connsiteX32" fmla="*/ 22417 w 354375"/>
                  <a:gd name="connsiteY32" fmla="*/ 157499 h 236250"/>
                  <a:gd name="connsiteX33" fmla="*/ 39292 w 354375"/>
                  <a:gd name="connsiteY33" fmla="*/ 157499 h 236250"/>
                  <a:gd name="connsiteX34" fmla="*/ 39292 w 354375"/>
                  <a:gd name="connsiteY34" fmla="*/ 241255 h 236250"/>
                  <a:gd name="connsiteX35" fmla="*/ 61792 w 354375"/>
                  <a:gd name="connsiteY35" fmla="*/ 218755 h 236250"/>
                  <a:gd name="connsiteX36" fmla="*/ 61792 w 354375"/>
                  <a:gd name="connsiteY36" fmla="*/ 157499 h 236250"/>
                  <a:gd name="connsiteX37" fmla="*/ 73042 w 354375"/>
                  <a:gd name="connsiteY37" fmla="*/ 157499 h 236250"/>
                  <a:gd name="connsiteX38" fmla="*/ 73042 w 354375"/>
                  <a:gd name="connsiteY38" fmla="*/ 207505 h 236250"/>
                  <a:gd name="connsiteX39" fmla="*/ 95542 w 354375"/>
                  <a:gd name="connsiteY39" fmla="*/ 185005 h 236250"/>
                  <a:gd name="connsiteX40" fmla="*/ 95542 w 354375"/>
                  <a:gd name="connsiteY40" fmla="*/ 157499 h 236250"/>
                  <a:gd name="connsiteX41" fmla="*/ 112417 w 354375"/>
                  <a:gd name="connsiteY41" fmla="*/ 157499 h 236250"/>
                  <a:gd name="connsiteX42" fmla="*/ 95542 w 354375"/>
                  <a:gd name="connsiteY42" fmla="*/ 73742 h 236250"/>
                  <a:gd name="connsiteX43" fmla="*/ 95542 w 354375"/>
                  <a:gd name="connsiteY43" fmla="*/ 34367 h 236250"/>
                  <a:gd name="connsiteX44" fmla="*/ 95542 w 354375"/>
                  <a:gd name="connsiteY44" fmla="*/ 34367 h 236250"/>
                  <a:gd name="connsiteX45" fmla="*/ 112417 w 354375"/>
                  <a:gd name="connsiteY45" fmla="*/ 107830 h 236250"/>
                  <a:gd name="connsiteX46" fmla="*/ 123667 w 354375"/>
                  <a:gd name="connsiteY46" fmla="*/ 118124 h 236250"/>
                  <a:gd name="connsiteX47" fmla="*/ 123667 w 354375"/>
                  <a:gd name="connsiteY47" fmla="*/ 118124 h 236250"/>
                  <a:gd name="connsiteX48" fmla="*/ 134579 w 354375"/>
                  <a:gd name="connsiteY48" fmla="*/ 109292 h 236250"/>
                  <a:gd name="connsiteX49" fmla="*/ 134917 w 354375"/>
                  <a:gd name="connsiteY49" fmla="*/ 106874 h 236250"/>
                  <a:gd name="connsiteX50" fmla="*/ 151342 w 354375"/>
                  <a:gd name="connsiteY50" fmla="*/ 34705 h 236250"/>
                  <a:gd name="connsiteX51" fmla="*/ 151342 w 354375"/>
                  <a:gd name="connsiteY51" fmla="*/ 34705 h 236250"/>
                  <a:gd name="connsiteX52" fmla="*/ 151342 w 354375"/>
                  <a:gd name="connsiteY52" fmla="*/ 129036 h 236250"/>
                  <a:gd name="connsiteX53" fmla="*/ 163773 w 354375"/>
                  <a:gd name="connsiteY53" fmla="*/ 116549 h 236250"/>
                  <a:gd name="connsiteX54" fmla="*/ 195593 w 354375"/>
                  <a:gd name="connsiteY54" fmla="*/ 116531 h 236250"/>
                  <a:gd name="connsiteX55" fmla="*/ 195610 w 354375"/>
                  <a:gd name="connsiteY55" fmla="*/ 116549 h 236250"/>
                  <a:gd name="connsiteX56" fmla="*/ 208042 w 354375"/>
                  <a:gd name="connsiteY56" fmla="*/ 128530 h 236250"/>
                  <a:gd name="connsiteX57" fmla="*/ 208042 w 354375"/>
                  <a:gd name="connsiteY57" fmla="*/ 34761 h 236250"/>
                  <a:gd name="connsiteX58" fmla="*/ 208042 w 354375"/>
                  <a:gd name="connsiteY58" fmla="*/ 34761 h 236250"/>
                  <a:gd name="connsiteX59" fmla="*/ 224917 w 354375"/>
                  <a:gd name="connsiteY59" fmla="*/ 109349 h 236250"/>
                  <a:gd name="connsiteX60" fmla="*/ 236167 w 354375"/>
                  <a:gd name="connsiteY60" fmla="*/ 118124 h 236250"/>
                  <a:gd name="connsiteX61" fmla="*/ 236167 w 354375"/>
                  <a:gd name="connsiteY61" fmla="*/ 118124 h 236250"/>
                  <a:gd name="connsiteX62" fmla="*/ 247135 w 354375"/>
                  <a:gd name="connsiteY62" fmla="*/ 109292 h 236250"/>
                  <a:gd name="connsiteX63" fmla="*/ 264010 w 354375"/>
                  <a:gd name="connsiteY63" fmla="*/ 34705 h 236250"/>
                  <a:gd name="connsiteX64" fmla="*/ 264010 w 354375"/>
                  <a:gd name="connsiteY64" fmla="*/ 34705 h 236250"/>
                  <a:gd name="connsiteX65" fmla="*/ 264010 w 354375"/>
                  <a:gd name="connsiteY65" fmla="*/ 184892 h 236250"/>
                  <a:gd name="connsiteX66" fmla="*/ 264010 w 354375"/>
                  <a:gd name="connsiteY66" fmla="*/ 184892 h 236250"/>
                  <a:gd name="connsiteX67" fmla="*/ 286510 w 354375"/>
                  <a:gd name="connsiteY67" fmla="*/ 162392 h 236250"/>
                  <a:gd name="connsiteX68" fmla="*/ 286510 w 354375"/>
                  <a:gd name="connsiteY68" fmla="*/ 123749 h 236250"/>
                  <a:gd name="connsiteX69" fmla="*/ 297760 w 354375"/>
                  <a:gd name="connsiteY69" fmla="*/ 123749 h 236250"/>
                  <a:gd name="connsiteX70" fmla="*/ 297760 w 354375"/>
                  <a:gd name="connsiteY70" fmla="*/ 151367 h 236250"/>
                  <a:gd name="connsiteX71" fmla="*/ 320260 w 354375"/>
                  <a:gd name="connsiteY71" fmla="*/ 128867 h 236250"/>
                  <a:gd name="connsiteX72" fmla="*/ 320260 w 354375"/>
                  <a:gd name="connsiteY72" fmla="*/ 34761 h 236250"/>
                  <a:gd name="connsiteX73" fmla="*/ 320260 w 354375"/>
                  <a:gd name="connsiteY73" fmla="*/ 34761 h 236250"/>
                  <a:gd name="connsiteX74" fmla="*/ 337979 w 354375"/>
                  <a:gd name="connsiteY74" fmla="*/ 110924 h 23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354375" h="236250">
                    <a:moveTo>
                      <a:pt x="338373" y="110867"/>
                    </a:moveTo>
                    <a:lnTo>
                      <a:pt x="343998" y="105242"/>
                    </a:lnTo>
                    <a:lnTo>
                      <a:pt x="356879" y="92361"/>
                    </a:lnTo>
                    <a:lnTo>
                      <a:pt x="341242" y="22049"/>
                    </a:lnTo>
                    <a:cubicBezTo>
                      <a:pt x="340763" y="19558"/>
                      <a:pt x="339406" y="17322"/>
                      <a:pt x="337417" y="15749"/>
                    </a:cubicBezTo>
                    <a:cubicBezTo>
                      <a:pt x="330679" y="10462"/>
                      <a:pt x="323063" y="6407"/>
                      <a:pt x="314917" y="3767"/>
                    </a:cubicBezTo>
                    <a:cubicBezTo>
                      <a:pt x="300221" y="-1256"/>
                      <a:pt x="284274" y="-1256"/>
                      <a:pt x="269579" y="3767"/>
                    </a:cubicBezTo>
                    <a:cubicBezTo>
                      <a:pt x="261435" y="6413"/>
                      <a:pt x="253819" y="10468"/>
                      <a:pt x="247079" y="15749"/>
                    </a:cubicBezTo>
                    <a:cubicBezTo>
                      <a:pt x="245133" y="17360"/>
                      <a:pt x="243786" y="19579"/>
                      <a:pt x="243254" y="22049"/>
                    </a:cubicBezTo>
                    <a:lnTo>
                      <a:pt x="236167" y="55011"/>
                    </a:lnTo>
                    <a:lnTo>
                      <a:pt x="236167" y="55011"/>
                    </a:lnTo>
                    <a:lnTo>
                      <a:pt x="228798" y="22049"/>
                    </a:lnTo>
                    <a:cubicBezTo>
                      <a:pt x="228282" y="19559"/>
                      <a:pt x="226908" y="17329"/>
                      <a:pt x="224917" y="15749"/>
                    </a:cubicBezTo>
                    <a:cubicBezTo>
                      <a:pt x="218179" y="10462"/>
                      <a:pt x="210563" y="6407"/>
                      <a:pt x="202417" y="3767"/>
                    </a:cubicBezTo>
                    <a:cubicBezTo>
                      <a:pt x="179323" y="-3686"/>
                      <a:pt x="154035" y="802"/>
                      <a:pt x="134917" y="15749"/>
                    </a:cubicBezTo>
                    <a:cubicBezTo>
                      <a:pt x="132970" y="17360"/>
                      <a:pt x="131623" y="19579"/>
                      <a:pt x="131092" y="22049"/>
                    </a:cubicBezTo>
                    <a:lnTo>
                      <a:pt x="123667" y="53942"/>
                    </a:lnTo>
                    <a:cubicBezTo>
                      <a:pt x="123667" y="53942"/>
                      <a:pt x="123667" y="53942"/>
                      <a:pt x="123667" y="53942"/>
                    </a:cubicBezTo>
                    <a:lnTo>
                      <a:pt x="116354" y="22049"/>
                    </a:lnTo>
                    <a:cubicBezTo>
                      <a:pt x="115793" y="19563"/>
                      <a:pt x="114404" y="17342"/>
                      <a:pt x="112417" y="15749"/>
                    </a:cubicBezTo>
                    <a:cubicBezTo>
                      <a:pt x="105676" y="10468"/>
                      <a:pt x="98060" y="6413"/>
                      <a:pt x="89917" y="3767"/>
                    </a:cubicBezTo>
                    <a:cubicBezTo>
                      <a:pt x="75221" y="-1256"/>
                      <a:pt x="59274" y="-1256"/>
                      <a:pt x="44579" y="3767"/>
                    </a:cubicBezTo>
                    <a:cubicBezTo>
                      <a:pt x="36440" y="6425"/>
                      <a:pt x="28827" y="10479"/>
                      <a:pt x="22079" y="15749"/>
                    </a:cubicBezTo>
                    <a:cubicBezTo>
                      <a:pt x="20133" y="17360"/>
                      <a:pt x="18785" y="19579"/>
                      <a:pt x="18254" y="22049"/>
                    </a:cubicBezTo>
                    <a:lnTo>
                      <a:pt x="367" y="103724"/>
                    </a:lnTo>
                    <a:cubicBezTo>
                      <a:pt x="-1236" y="110016"/>
                      <a:pt x="2566" y="116415"/>
                      <a:pt x="8857" y="118018"/>
                    </a:cubicBezTo>
                    <a:cubicBezTo>
                      <a:pt x="9008" y="118056"/>
                      <a:pt x="9159" y="118092"/>
                      <a:pt x="9310" y="118124"/>
                    </a:cubicBezTo>
                    <a:cubicBezTo>
                      <a:pt x="9928" y="118179"/>
                      <a:pt x="10549" y="118179"/>
                      <a:pt x="11167" y="118124"/>
                    </a:cubicBezTo>
                    <a:cubicBezTo>
                      <a:pt x="16546" y="118249"/>
                      <a:pt x="21261" y="114548"/>
                      <a:pt x="22417" y="109292"/>
                    </a:cubicBezTo>
                    <a:lnTo>
                      <a:pt x="39292" y="33749"/>
                    </a:lnTo>
                    <a:lnTo>
                      <a:pt x="39292" y="33749"/>
                    </a:lnTo>
                    <a:lnTo>
                      <a:pt x="39292" y="73686"/>
                    </a:lnTo>
                    <a:lnTo>
                      <a:pt x="22417" y="157499"/>
                    </a:lnTo>
                    <a:lnTo>
                      <a:pt x="39292" y="157499"/>
                    </a:lnTo>
                    <a:lnTo>
                      <a:pt x="39292" y="241255"/>
                    </a:lnTo>
                    <a:lnTo>
                      <a:pt x="61792" y="218755"/>
                    </a:lnTo>
                    <a:lnTo>
                      <a:pt x="61792" y="157499"/>
                    </a:lnTo>
                    <a:lnTo>
                      <a:pt x="73042" y="157499"/>
                    </a:lnTo>
                    <a:lnTo>
                      <a:pt x="73042" y="207505"/>
                    </a:lnTo>
                    <a:lnTo>
                      <a:pt x="95542" y="185005"/>
                    </a:lnTo>
                    <a:lnTo>
                      <a:pt x="95542" y="157499"/>
                    </a:lnTo>
                    <a:lnTo>
                      <a:pt x="112417" y="157499"/>
                    </a:lnTo>
                    <a:lnTo>
                      <a:pt x="95542" y="73742"/>
                    </a:lnTo>
                    <a:lnTo>
                      <a:pt x="95542" y="34367"/>
                    </a:lnTo>
                    <a:lnTo>
                      <a:pt x="95542" y="34367"/>
                    </a:lnTo>
                    <a:lnTo>
                      <a:pt x="112417" y="107830"/>
                    </a:lnTo>
                    <a:cubicBezTo>
                      <a:pt x="112914" y="113667"/>
                      <a:pt x="117809" y="118145"/>
                      <a:pt x="123667" y="118124"/>
                    </a:cubicBezTo>
                    <a:lnTo>
                      <a:pt x="123667" y="118124"/>
                    </a:lnTo>
                    <a:cubicBezTo>
                      <a:pt x="128920" y="118089"/>
                      <a:pt x="133450" y="114423"/>
                      <a:pt x="134579" y="109292"/>
                    </a:cubicBezTo>
                    <a:lnTo>
                      <a:pt x="134917" y="106874"/>
                    </a:lnTo>
                    <a:lnTo>
                      <a:pt x="151342" y="34705"/>
                    </a:lnTo>
                    <a:cubicBezTo>
                      <a:pt x="151342" y="34705"/>
                      <a:pt x="151342" y="34705"/>
                      <a:pt x="151342" y="34705"/>
                    </a:cubicBezTo>
                    <a:lnTo>
                      <a:pt x="151342" y="129036"/>
                    </a:lnTo>
                    <a:lnTo>
                      <a:pt x="163773" y="116549"/>
                    </a:lnTo>
                    <a:cubicBezTo>
                      <a:pt x="172555" y="107757"/>
                      <a:pt x="186801" y="107749"/>
                      <a:pt x="195593" y="116531"/>
                    </a:cubicBezTo>
                    <a:cubicBezTo>
                      <a:pt x="195598" y="116537"/>
                      <a:pt x="195605" y="116543"/>
                      <a:pt x="195610" y="116549"/>
                    </a:cubicBezTo>
                    <a:lnTo>
                      <a:pt x="208042" y="128530"/>
                    </a:lnTo>
                    <a:lnTo>
                      <a:pt x="208042" y="34761"/>
                    </a:lnTo>
                    <a:cubicBezTo>
                      <a:pt x="208042" y="34761"/>
                      <a:pt x="208042" y="34761"/>
                      <a:pt x="208042" y="34761"/>
                    </a:cubicBezTo>
                    <a:lnTo>
                      <a:pt x="224917" y="109349"/>
                    </a:lnTo>
                    <a:cubicBezTo>
                      <a:pt x="226095" y="114582"/>
                      <a:pt x="230804" y="118255"/>
                      <a:pt x="236167" y="118124"/>
                    </a:cubicBezTo>
                    <a:lnTo>
                      <a:pt x="236167" y="118124"/>
                    </a:lnTo>
                    <a:cubicBezTo>
                      <a:pt x="241441" y="118115"/>
                      <a:pt x="246001" y="114443"/>
                      <a:pt x="247135" y="109292"/>
                    </a:cubicBezTo>
                    <a:lnTo>
                      <a:pt x="264010" y="34705"/>
                    </a:lnTo>
                    <a:cubicBezTo>
                      <a:pt x="264010" y="34705"/>
                      <a:pt x="264010" y="34705"/>
                      <a:pt x="264010" y="34705"/>
                    </a:cubicBezTo>
                    <a:lnTo>
                      <a:pt x="264010" y="184892"/>
                    </a:lnTo>
                    <a:lnTo>
                      <a:pt x="264010" y="184892"/>
                    </a:lnTo>
                    <a:lnTo>
                      <a:pt x="286510" y="162392"/>
                    </a:lnTo>
                    <a:lnTo>
                      <a:pt x="286510" y="123749"/>
                    </a:lnTo>
                    <a:lnTo>
                      <a:pt x="297760" y="123749"/>
                    </a:lnTo>
                    <a:lnTo>
                      <a:pt x="297760" y="151367"/>
                    </a:lnTo>
                    <a:lnTo>
                      <a:pt x="320260" y="128867"/>
                    </a:lnTo>
                    <a:lnTo>
                      <a:pt x="320260" y="34761"/>
                    </a:lnTo>
                    <a:cubicBezTo>
                      <a:pt x="320260" y="34761"/>
                      <a:pt x="320260" y="34761"/>
                      <a:pt x="320260" y="34761"/>
                    </a:cubicBezTo>
                    <a:lnTo>
                      <a:pt x="337979" y="110924"/>
                    </a:lnTo>
                    <a:close/>
                  </a:path>
                </a:pathLst>
              </a:custGeom>
              <a:grpFill/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  <p:sp>
            <p:nvSpPr>
              <p:cNvPr id="20" name="MIO_PICTOGRAM_PART2">
                <a:extLst>
                  <a:ext uri="{FF2B5EF4-FFF2-40B4-BE49-F238E27FC236}">
                    <a16:creationId xmlns:a16="http://schemas.microsoft.com/office/drawing/2014/main" id="{B92A5B30-1645-4C7E-9546-3F4AD65F185B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4679335" y="2073376"/>
                <a:ext cx="56250" cy="56250"/>
              </a:xfrm>
              <a:custGeom>
                <a:avLst/>
                <a:gdLst>
                  <a:gd name="connsiteX0" fmla="*/ 56250 w 56250"/>
                  <a:gd name="connsiteY0" fmla="*/ 28125 h 56250"/>
                  <a:gd name="connsiteX1" fmla="*/ 28125 w 56250"/>
                  <a:gd name="connsiteY1" fmla="*/ 56250 h 56250"/>
                  <a:gd name="connsiteX2" fmla="*/ 0 w 56250"/>
                  <a:gd name="connsiteY2" fmla="*/ 28125 h 56250"/>
                  <a:gd name="connsiteX3" fmla="*/ 28125 w 56250"/>
                  <a:gd name="connsiteY3" fmla="*/ 0 h 56250"/>
                  <a:gd name="connsiteX4" fmla="*/ 56250 w 56250"/>
                  <a:gd name="connsiteY4" fmla="*/ 28125 h 5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250" h="56250">
                    <a:moveTo>
                      <a:pt x="56250" y="28125"/>
                    </a:moveTo>
                    <a:cubicBezTo>
                      <a:pt x="56250" y="43658"/>
                      <a:pt x="43658" y="56250"/>
                      <a:pt x="28125" y="56250"/>
                    </a:cubicBezTo>
                    <a:cubicBezTo>
                      <a:pt x="12592" y="56250"/>
                      <a:pt x="0" y="43658"/>
                      <a:pt x="0" y="28125"/>
                    </a:cubicBezTo>
                    <a:cubicBezTo>
                      <a:pt x="0" y="12592"/>
                      <a:pt x="12592" y="0"/>
                      <a:pt x="28125" y="0"/>
                    </a:cubicBezTo>
                    <a:cubicBezTo>
                      <a:pt x="43658" y="0"/>
                      <a:pt x="56250" y="12592"/>
                      <a:pt x="56250" y="28125"/>
                    </a:cubicBezTo>
                    <a:close/>
                  </a:path>
                </a:pathLst>
              </a:custGeom>
              <a:grpFill/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  <p:sp>
            <p:nvSpPr>
              <p:cNvPr id="21" name="MIO_PICTOGRAM_PART2">
                <a:extLst>
                  <a:ext uri="{FF2B5EF4-FFF2-40B4-BE49-F238E27FC236}">
                    <a16:creationId xmlns:a16="http://schemas.microsoft.com/office/drawing/2014/main" id="{0D9A49A2-F539-4578-B204-05C6A11AE997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4566666" y="2073376"/>
                <a:ext cx="56250" cy="56250"/>
              </a:xfrm>
              <a:custGeom>
                <a:avLst/>
                <a:gdLst>
                  <a:gd name="connsiteX0" fmla="*/ 56250 w 56250"/>
                  <a:gd name="connsiteY0" fmla="*/ 28125 h 56250"/>
                  <a:gd name="connsiteX1" fmla="*/ 28125 w 56250"/>
                  <a:gd name="connsiteY1" fmla="*/ 56250 h 56250"/>
                  <a:gd name="connsiteX2" fmla="*/ 0 w 56250"/>
                  <a:gd name="connsiteY2" fmla="*/ 28125 h 56250"/>
                  <a:gd name="connsiteX3" fmla="*/ 28125 w 56250"/>
                  <a:gd name="connsiteY3" fmla="*/ 0 h 56250"/>
                  <a:gd name="connsiteX4" fmla="*/ 56250 w 56250"/>
                  <a:gd name="connsiteY4" fmla="*/ 28125 h 5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250" h="56250">
                    <a:moveTo>
                      <a:pt x="56250" y="28125"/>
                    </a:moveTo>
                    <a:cubicBezTo>
                      <a:pt x="56250" y="43658"/>
                      <a:pt x="43658" y="56250"/>
                      <a:pt x="28125" y="56250"/>
                    </a:cubicBezTo>
                    <a:cubicBezTo>
                      <a:pt x="12592" y="56250"/>
                      <a:pt x="0" y="43658"/>
                      <a:pt x="0" y="28125"/>
                    </a:cubicBezTo>
                    <a:cubicBezTo>
                      <a:pt x="0" y="12592"/>
                      <a:pt x="12592" y="0"/>
                      <a:pt x="28125" y="0"/>
                    </a:cubicBezTo>
                    <a:cubicBezTo>
                      <a:pt x="43658" y="0"/>
                      <a:pt x="56250" y="12592"/>
                      <a:pt x="56250" y="28125"/>
                    </a:cubicBezTo>
                    <a:close/>
                  </a:path>
                </a:pathLst>
              </a:custGeom>
              <a:grpFill/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</p:grp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972C6241-299F-4EF2-BDE6-B64570C79DAF}"/>
              </a:ext>
            </a:extLst>
          </p:cNvPr>
          <p:cNvGrpSpPr/>
          <p:nvPr userDrawn="1"/>
        </p:nvGrpSpPr>
        <p:grpSpPr>
          <a:xfrm>
            <a:off x="5501099" y="1783814"/>
            <a:ext cx="1290654" cy="1256277"/>
            <a:chOff x="5501099" y="1783814"/>
            <a:chExt cx="1290654" cy="1256277"/>
          </a:xfrm>
        </p:grpSpPr>
        <p:sp>
          <p:nvSpPr>
            <p:cNvPr id="23" name="Oval 9">
              <a:extLst>
                <a:ext uri="{FF2B5EF4-FFF2-40B4-BE49-F238E27FC236}">
                  <a16:creationId xmlns:a16="http://schemas.microsoft.com/office/drawing/2014/main" id="{ABB1FE5E-02B1-4391-AD48-11ADEB67355B}"/>
                </a:ext>
              </a:extLst>
            </p:cNvPr>
            <p:cNvSpPr/>
            <p:nvPr/>
          </p:nvSpPr>
          <p:spPr>
            <a:xfrm>
              <a:off x="5501099" y="1783814"/>
              <a:ext cx="1290654" cy="1256277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24753BED-67CF-4ECB-ADAD-2B431199D8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698517" y="1987076"/>
              <a:ext cx="839443" cy="839443"/>
            </a:xfrm>
            <a:prstGeom prst="rect">
              <a:avLst/>
            </a:prstGeom>
            <a:noFill/>
          </p:spPr>
        </p:pic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181B907B-0215-4B39-9A6F-FA6654B9D549}"/>
              </a:ext>
            </a:extLst>
          </p:cNvPr>
          <p:cNvGrpSpPr/>
          <p:nvPr userDrawn="1"/>
        </p:nvGrpSpPr>
        <p:grpSpPr>
          <a:xfrm>
            <a:off x="8704450" y="1783814"/>
            <a:ext cx="1290654" cy="1256277"/>
            <a:chOff x="8704450" y="1783814"/>
            <a:chExt cx="1290654" cy="1256277"/>
          </a:xfrm>
        </p:grpSpPr>
        <p:sp>
          <p:nvSpPr>
            <p:cNvPr id="26" name="Oval 14">
              <a:extLst>
                <a:ext uri="{FF2B5EF4-FFF2-40B4-BE49-F238E27FC236}">
                  <a16:creationId xmlns:a16="http://schemas.microsoft.com/office/drawing/2014/main" id="{1A2CBE4F-10B0-4208-B811-B358DCA87262}"/>
                </a:ext>
              </a:extLst>
            </p:cNvPr>
            <p:cNvSpPr/>
            <p:nvPr/>
          </p:nvSpPr>
          <p:spPr>
            <a:xfrm>
              <a:off x="8704450" y="1783814"/>
              <a:ext cx="1290654" cy="1256277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27" name="Books 01" descr="Bücher">
              <a:extLst>
                <a:ext uri="{FF2B5EF4-FFF2-40B4-BE49-F238E27FC236}">
                  <a16:creationId xmlns:a16="http://schemas.microsoft.com/office/drawing/2014/main" id="{FFC530DE-EAD3-4AA7-A194-3B8DBB4A6D5C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9024401" y="2162319"/>
              <a:ext cx="629718" cy="535353"/>
            </a:xfrm>
            <a:custGeom>
              <a:avLst/>
              <a:gdLst>
                <a:gd name="connsiteX0" fmla="*/ 479250 w 478125"/>
                <a:gd name="connsiteY0" fmla="*/ 157500 h 444375"/>
                <a:gd name="connsiteX1" fmla="*/ 450000 w 478125"/>
                <a:gd name="connsiteY1" fmla="*/ 146813 h 444375"/>
                <a:gd name="connsiteX2" fmla="*/ 450000 w 478125"/>
                <a:gd name="connsiteY2" fmla="*/ 85500 h 444375"/>
                <a:gd name="connsiteX3" fmla="*/ 479250 w 478125"/>
                <a:gd name="connsiteY3" fmla="*/ 73125 h 444375"/>
                <a:gd name="connsiteX4" fmla="*/ 281250 w 478125"/>
                <a:gd name="connsiteY4" fmla="*/ 0 h 444375"/>
                <a:gd name="connsiteX5" fmla="*/ 40500 w 478125"/>
                <a:gd name="connsiteY5" fmla="*/ 84375 h 444375"/>
                <a:gd name="connsiteX6" fmla="*/ 16875 w 478125"/>
                <a:gd name="connsiteY6" fmla="*/ 151875 h 444375"/>
                <a:gd name="connsiteX7" fmla="*/ 19687 w 478125"/>
                <a:gd name="connsiteY7" fmla="*/ 176625 h 444375"/>
                <a:gd name="connsiteX8" fmla="*/ 0 w 478125"/>
                <a:gd name="connsiteY8" fmla="*/ 241875 h 444375"/>
                <a:gd name="connsiteX9" fmla="*/ 16875 w 478125"/>
                <a:gd name="connsiteY9" fmla="*/ 290813 h 444375"/>
                <a:gd name="connsiteX10" fmla="*/ 15750 w 478125"/>
                <a:gd name="connsiteY10" fmla="*/ 326250 h 444375"/>
                <a:gd name="connsiteX11" fmla="*/ 45000 w 478125"/>
                <a:gd name="connsiteY11" fmla="*/ 382500 h 444375"/>
                <a:gd name="connsiteX12" fmla="*/ 201375 w 478125"/>
                <a:gd name="connsiteY12" fmla="*/ 447188 h 444375"/>
                <a:gd name="connsiteX13" fmla="*/ 478125 w 478125"/>
                <a:gd name="connsiteY13" fmla="*/ 332438 h 444375"/>
                <a:gd name="connsiteX14" fmla="*/ 448875 w 478125"/>
                <a:gd name="connsiteY14" fmla="*/ 321750 h 444375"/>
                <a:gd name="connsiteX15" fmla="*/ 448875 w 478125"/>
                <a:gd name="connsiteY15" fmla="*/ 259875 h 444375"/>
                <a:gd name="connsiteX16" fmla="*/ 478125 w 478125"/>
                <a:gd name="connsiteY16" fmla="*/ 247500 h 444375"/>
                <a:gd name="connsiteX17" fmla="*/ 433125 w 478125"/>
                <a:gd name="connsiteY17" fmla="*/ 230625 h 444375"/>
                <a:gd name="connsiteX18" fmla="*/ 433125 w 478125"/>
                <a:gd name="connsiteY18" fmla="*/ 176625 h 444375"/>
                <a:gd name="connsiteX19" fmla="*/ 479250 w 478125"/>
                <a:gd name="connsiteY19" fmla="*/ 157500 h 444375"/>
                <a:gd name="connsiteX20" fmla="*/ 47250 w 478125"/>
                <a:gd name="connsiteY20" fmla="*/ 123750 h 444375"/>
                <a:gd name="connsiteX21" fmla="*/ 203625 w 478125"/>
                <a:gd name="connsiteY21" fmla="*/ 185063 h 444375"/>
                <a:gd name="connsiteX22" fmla="*/ 428063 w 478125"/>
                <a:gd name="connsiteY22" fmla="*/ 94500 h 444375"/>
                <a:gd name="connsiteX23" fmla="*/ 428063 w 478125"/>
                <a:gd name="connsiteY23" fmla="*/ 142875 h 444375"/>
                <a:gd name="connsiteX24" fmla="*/ 203625 w 478125"/>
                <a:gd name="connsiteY24" fmla="*/ 236250 h 444375"/>
                <a:gd name="connsiteX25" fmla="*/ 47250 w 478125"/>
                <a:gd name="connsiteY25" fmla="*/ 174375 h 444375"/>
                <a:gd name="connsiteX26" fmla="*/ 47250 w 478125"/>
                <a:gd name="connsiteY26" fmla="*/ 123750 h 444375"/>
                <a:gd name="connsiteX27" fmla="*/ 426938 w 478125"/>
                <a:gd name="connsiteY27" fmla="*/ 317813 h 444375"/>
                <a:gd name="connsiteX28" fmla="*/ 202500 w 478125"/>
                <a:gd name="connsiteY28" fmla="*/ 410625 h 444375"/>
                <a:gd name="connsiteX29" fmla="*/ 45563 w 478125"/>
                <a:gd name="connsiteY29" fmla="*/ 348750 h 444375"/>
                <a:gd name="connsiteX30" fmla="*/ 45563 w 478125"/>
                <a:gd name="connsiteY30" fmla="*/ 304875 h 444375"/>
                <a:gd name="connsiteX31" fmla="*/ 185625 w 478125"/>
                <a:gd name="connsiteY31" fmla="*/ 362250 h 444375"/>
                <a:gd name="connsiteX32" fmla="*/ 427500 w 478125"/>
                <a:gd name="connsiteY32" fmla="*/ 266625 h 444375"/>
                <a:gd name="connsiteX33" fmla="*/ 426938 w 478125"/>
                <a:gd name="connsiteY33" fmla="*/ 317813 h 444375"/>
                <a:gd name="connsiteX34" fmla="*/ 411188 w 478125"/>
                <a:gd name="connsiteY34" fmla="*/ 233438 h 444375"/>
                <a:gd name="connsiteX35" fmla="*/ 186750 w 478125"/>
                <a:gd name="connsiteY35" fmla="*/ 326250 h 444375"/>
                <a:gd name="connsiteX36" fmla="*/ 30375 w 478125"/>
                <a:gd name="connsiteY36" fmla="*/ 264375 h 444375"/>
                <a:gd name="connsiteX37" fmla="*/ 30375 w 478125"/>
                <a:gd name="connsiteY37" fmla="*/ 213750 h 444375"/>
                <a:gd name="connsiteX38" fmla="*/ 191250 w 478125"/>
                <a:gd name="connsiteY38" fmla="*/ 277875 h 444375"/>
                <a:gd name="connsiteX39" fmla="*/ 411750 w 478125"/>
                <a:gd name="connsiteY39" fmla="*/ 185625 h 444375"/>
                <a:gd name="connsiteX40" fmla="*/ 411750 w 478125"/>
                <a:gd name="connsiteY40" fmla="*/ 233438 h 44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78125" h="444375">
                  <a:moveTo>
                    <a:pt x="479250" y="157500"/>
                  </a:moveTo>
                  <a:lnTo>
                    <a:pt x="450000" y="146813"/>
                  </a:lnTo>
                  <a:lnTo>
                    <a:pt x="450000" y="85500"/>
                  </a:lnTo>
                  <a:lnTo>
                    <a:pt x="479250" y="73125"/>
                  </a:lnTo>
                  <a:lnTo>
                    <a:pt x="281250" y="0"/>
                  </a:lnTo>
                  <a:lnTo>
                    <a:pt x="40500" y="84375"/>
                  </a:lnTo>
                  <a:cubicBezTo>
                    <a:pt x="17438" y="95625"/>
                    <a:pt x="16875" y="126562"/>
                    <a:pt x="16875" y="151875"/>
                  </a:cubicBezTo>
                  <a:cubicBezTo>
                    <a:pt x="16875" y="160313"/>
                    <a:pt x="18000" y="168750"/>
                    <a:pt x="19687" y="176625"/>
                  </a:cubicBezTo>
                  <a:cubicBezTo>
                    <a:pt x="562" y="189000"/>
                    <a:pt x="0" y="217688"/>
                    <a:pt x="0" y="241875"/>
                  </a:cubicBezTo>
                  <a:cubicBezTo>
                    <a:pt x="0" y="261563"/>
                    <a:pt x="4500" y="279563"/>
                    <a:pt x="16875" y="290813"/>
                  </a:cubicBezTo>
                  <a:cubicBezTo>
                    <a:pt x="14063" y="300375"/>
                    <a:pt x="15750" y="312188"/>
                    <a:pt x="15750" y="326250"/>
                  </a:cubicBezTo>
                  <a:cubicBezTo>
                    <a:pt x="15750" y="351563"/>
                    <a:pt x="22500" y="374625"/>
                    <a:pt x="45000" y="382500"/>
                  </a:cubicBezTo>
                  <a:lnTo>
                    <a:pt x="201375" y="447188"/>
                  </a:lnTo>
                  <a:lnTo>
                    <a:pt x="478125" y="332438"/>
                  </a:lnTo>
                  <a:lnTo>
                    <a:pt x="448875" y="321750"/>
                  </a:lnTo>
                  <a:lnTo>
                    <a:pt x="448875" y="259875"/>
                  </a:lnTo>
                  <a:lnTo>
                    <a:pt x="478125" y="247500"/>
                  </a:lnTo>
                  <a:lnTo>
                    <a:pt x="433125" y="230625"/>
                  </a:lnTo>
                  <a:lnTo>
                    <a:pt x="433125" y="176625"/>
                  </a:lnTo>
                  <a:lnTo>
                    <a:pt x="479250" y="157500"/>
                  </a:lnTo>
                  <a:close/>
                  <a:moveTo>
                    <a:pt x="47250" y="123750"/>
                  </a:moveTo>
                  <a:lnTo>
                    <a:pt x="203625" y="185063"/>
                  </a:lnTo>
                  <a:lnTo>
                    <a:pt x="428063" y="94500"/>
                  </a:lnTo>
                  <a:lnTo>
                    <a:pt x="428063" y="142875"/>
                  </a:lnTo>
                  <a:lnTo>
                    <a:pt x="203625" y="236250"/>
                  </a:lnTo>
                  <a:lnTo>
                    <a:pt x="47250" y="174375"/>
                  </a:lnTo>
                  <a:lnTo>
                    <a:pt x="47250" y="123750"/>
                  </a:lnTo>
                  <a:close/>
                  <a:moveTo>
                    <a:pt x="426938" y="317813"/>
                  </a:moveTo>
                  <a:lnTo>
                    <a:pt x="202500" y="410625"/>
                  </a:lnTo>
                  <a:lnTo>
                    <a:pt x="45563" y="348750"/>
                  </a:lnTo>
                  <a:lnTo>
                    <a:pt x="45563" y="304875"/>
                  </a:lnTo>
                  <a:lnTo>
                    <a:pt x="185625" y="362250"/>
                  </a:lnTo>
                  <a:lnTo>
                    <a:pt x="427500" y="266625"/>
                  </a:lnTo>
                  <a:lnTo>
                    <a:pt x="426938" y="317813"/>
                  </a:lnTo>
                  <a:close/>
                  <a:moveTo>
                    <a:pt x="411188" y="233438"/>
                  </a:moveTo>
                  <a:lnTo>
                    <a:pt x="186750" y="326250"/>
                  </a:lnTo>
                  <a:lnTo>
                    <a:pt x="30375" y="264375"/>
                  </a:lnTo>
                  <a:lnTo>
                    <a:pt x="30375" y="213750"/>
                  </a:lnTo>
                  <a:lnTo>
                    <a:pt x="191250" y="277875"/>
                  </a:lnTo>
                  <a:lnTo>
                    <a:pt x="411750" y="185625"/>
                  </a:lnTo>
                  <a:lnTo>
                    <a:pt x="411750" y="23343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de-DE" dirty="0">
                <a:solidFill>
                  <a:prstClr val="black"/>
                </a:solidFill>
                <a:latin typeface="Segoe UI Light"/>
                <a:cs typeface="Segoe UI Light"/>
              </a:endParaRP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B445FB13-A7BB-4F45-B383-C4C40874028D}"/>
              </a:ext>
            </a:extLst>
          </p:cNvPr>
          <p:cNvGrpSpPr/>
          <p:nvPr userDrawn="1"/>
        </p:nvGrpSpPr>
        <p:grpSpPr>
          <a:xfrm>
            <a:off x="3985789" y="4135920"/>
            <a:ext cx="1290654" cy="1256277"/>
            <a:chOff x="3985789" y="4135920"/>
            <a:chExt cx="1290654" cy="1256277"/>
          </a:xfrm>
        </p:grpSpPr>
        <p:sp>
          <p:nvSpPr>
            <p:cNvPr id="29" name="Oval 19">
              <a:extLst>
                <a:ext uri="{FF2B5EF4-FFF2-40B4-BE49-F238E27FC236}">
                  <a16:creationId xmlns:a16="http://schemas.microsoft.com/office/drawing/2014/main" id="{C0A7A97F-CE5D-41CB-9B80-90A737F7EE8C}"/>
                </a:ext>
              </a:extLst>
            </p:cNvPr>
            <p:cNvSpPr/>
            <p:nvPr/>
          </p:nvSpPr>
          <p:spPr>
            <a:xfrm>
              <a:off x="3985789" y="4135920"/>
              <a:ext cx="1290654" cy="125627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grpSp>
          <p:nvGrpSpPr>
            <p:cNvPr id="30" name="Presentator" descr="Lehrer">
              <a:extLst>
                <a:ext uri="{FF2B5EF4-FFF2-40B4-BE49-F238E27FC236}">
                  <a16:creationId xmlns:a16="http://schemas.microsoft.com/office/drawing/2014/main" id="{B875D276-B64D-49D9-B4CE-47A2099D9768}"/>
                </a:ext>
              </a:extLst>
            </p:cNvPr>
            <p:cNvGrpSpPr/>
            <p:nvPr>
              <p:custDataLst>
                <p:tags r:id="rId12"/>
              </p:custDataLst>
            </p:nvPr>
          </p:nvGrpSpPr>
          <p:grpSpPr>
            <a:xfrm>
              <a:off x="4271606" y="4560184"/>
              <a:ext cx="678594" cy="430962"/>
              <a:chOff x="4404890" y="1375876"/>
              <a:chExt cx="492749" cy="321499"/>
            </a:xfrm>
          </p:grpSpPr>
          <p:sp>
            <p:nvSpPr>
              <p:cNvPr id="31" name="MIO_PICTOGRAM_PART1">
                <a:extLst>
                  <a:ext uri="{FF2B5EF4-FFF2-40B4-BE49-F238E27FC236}">
                    <a16:creationId xmlns:a16="http://schemas.microsoft.com/office/drawing/2014/main" id="{8DE9F0D8-43F1-460C-8F13-DA98B016C08B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4492639" y="1375876"/>
                <a:ext cx="405000" cy="281250"/>
              </a:xfrm>
              <a:custGeom>
                <a:avLst/>
                <a:gdLst>
                  <a:gd name="connsiteX0" fmla="*/ 382500 w 405000"/>
                  <a:gd name="connsiteY0" fmla="*/ 0 h 281250"/>
                  <a:gd name="connsiteX1" fmla="*/ 22500 w 405000"/>
                  <a:gd name="connsiteY1" fmla="*/ 0 h 281250"/>
                  <a:gd name="connsiteX2" fmla="*/ 0 w 405000"/>
                  <a:gd name="connsiteY2" fmla="*/ 22500 h 281250"/>
                  <a:gd name="connsiteX3" fmla="*/ 0 w 405000"/>
                  <a:gd name="connsiteY3" fmla="*/ 104063 h 281250"/>
                  <a:gd name="connsiteX4" fmla="*/ 20250 w 405000"/>
                  <a:gd name="connsiteY4" fmla="*/ 101250 h 281250"/>
                  <a:gd name="connsiteX5" fmla="*/ 33750 w 405000"/>
                  <a:gd name="connsiteY5" fmla="*/ 102375 h 281250"/>
                  <a:gd name="connsiteX6" fmla="*/ 33750 w 405000"/>
                  <a:gd name="connsiteY6" fmla="*/ 33750 h 281250"/>
                  <a:gd name="connsiteX7" fmla="*/ 371250 w 405000"/>
                  <a:gd name="connsiteY7" fmla="*/ 33750 h 281250"/>
                  <a:gd name="connsiteX8" fmla="*/ 371250 w 405000"/>
                  <a:gd name="connsiteY8" fmla="*/ 247500 h 281250"/>
                  <a:gd name="connsiteX9" fmla="*/ 180563 w 405000"/>
                  <a:gd name="connsiteY9" fmla="*/ 247500 h 281250"/>
                  <a:gd name="connsiteX10" fmla="*/ 148500 w 405000"/>
                  <a:gd name="connsiteY10" fmla="*/ 281250 h 281250"/>
                  <a:gd name="connsiteX11" fmla="*/ 382500 w 405000"/>
                  <a:gd name="connsiteY11" fmla="*/ 281250 h 281250"/>
                  <a:gd name="connsiteX12" fmla="*/ 405000 w 405000"/>
                  <a:gd name="connsiteY12" fmla="*/ 258750 h 281250"/>
                  <a:gd name="connsiteX13" fmla="*/ 405000 w 405000"/>
                  <a:gd name="connsiteY13" fmla="*/ 22500 h 281250"/>
                  <a:gd name="connsiteX14" fmla="*/ 382500 w 405000"/>
                  <a:gd name="connsiteY14" fmla="*/ 0 h 281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05000" h="281250">
                    <a:moveTo>
                      <a:pt x="382500" y="0"/>
                    </a:moveTo>
                    <a:lnTo>
                      <a:pt x="22500" y="0"/>
                    </a:lnTo>
                    <a:cubicBezTo>
                      <a:pt x="10125" y="0"/>
                      <a:pt x="0" y="10125"/>
                      <a:pt x="0" y="22500"/>
                    </a:cubicBezTo>
                    <a:lnTo>
                      <a:pt x="0" y="104063"/>
                    </a:lnTo>
                    <a:cubicBezTo>
                      <a:pt x="6188" y="102375"/>
                      <a:pt x="13500" y="101250"/>
                      <a:pt x="20250" y="101250"/>
                    </a:cubicBezTo>
                    <a:cubicBezTo>
                      <a:pt x="24750" y="101250"/>
                      <a:pt x="29250" y="101812"/>
                      <a:pt x="33750" y="102375"/>
                    </a:cubicBezTo>
                    <a:lnTo>
                      <a:pt x="33750" y="33750"/>
                    </a:lnTo>
                    <a:lnTo>
                      <a:pt x="371250" y="33750"/>
                    </a:lnTo>
                    <a:lnTo>
                      <a:pt x="371250" y="247500"/>
                    </a:lnTo>
                    <a:lnTo>
                      <a:pt x="180563" y="247500"/>
                    </a:lnTo>
                    <a:lnTo>
                      <a:pt x="148500" y="281250"/>
                    </a:lnTo>
                    <a:lnTo>
                      <a:pt x="382500" y="281250"/>
                    </a:lnTo>
                    <a:cubicBezTo>
                      <a:pt x="394875" y="281250"/>
                      <a:pt x="405000" y="271125"/>
                      <a:pt x="405000" y="258750"/>
                    </a:cubicBezTo>
                    <a:lnTo>
                      <a:pt x="405000" y="22500"/>
                    </a:lnTo>
                    <a:cubicBezTo>
                      <a:pt x="405000" y="10125"/>
                      <a:pt x="394875" y="0"/>
                      <a:pt x="382500" y="0"/>
                    </a:cubicBezTo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  <p:sp>
            <p:nvSpPr>
              <p:cNvPr id="32" name="MIO_PICTOGRAM_PART2">
                <a:extLst>
                  <a:ext uri="{FF2B5EF4-FFF2-40B4-BE49-F238E27FC236}">
                    <a16:creationId xmlns:a16="http://schemas.microsoft.com/office/drawing/2014/main" id="{A3AD7331-7068-45D0-A187-A9905B18FC82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4465629" y="1499625"/>
                <a:ext cx="95625" cy="95625"/>
              </a:xfrm>
              <a:custGeom>
                <a:avLst/>
                <a:gdLst>
                  <a:gd name="connsiteX0" fmla="*/ 47823 w 95625"/>
                  <a:gd name="connsiteY0" fmla="*/ 95625 h 95625"/>
                  <a:gd name="connsiteX1" fmla="*/ 95636 w 95625"/>
                  <a:gd name="connsiteY1" fmla="*/ 47813 h 95625"/>
                  <a:gd name="connsiteX2" fmla="*/ 47823 w 95625"/>
                  <a:gd name="connsiteY2" fmla="*/ 0 h 95625"/>
                  <a:gd name="connsiteX3" fmla="*/ 11 w 95625"/>
                  <a:gd name="connsiteY3" fmla="*/ 47813 h 95625"/>
                  <a:gd name="connsiteX4" fmla="*/ 47823 w 95625"/>
                  <a:gd name="connsiteY4" fmla="*/ 95625 h 95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625" h="95625">
                    <a:moveTo>
                      <a:pt x="47823" y="95625"/>
                    </a:moveTo>
                    <a:cubicBezTo>
                      <a:pt x="74261" y="95625"/>
                      <a:pt x="95636" y="74250"/>
                      <a:pt x="95636" y="47813"/>
                    </a:cubicBezTo>
                    <a:cubicBezTo>
                      <a:pt x="95636" y="21375"/>
                      <a:pt x="74261" y="0"/>
                      <a:pt x="47823" y="0"/>
                    </a:cubicBezTo>
                    <a:cubicBezTo>
                      <a:pt x="21386" y="0"/>
                      <a:pt x="11" y="21375"/>
                      <a:pt x="11" y="47813"/>
                    </a:cubicBezTo>
                    <a:cubicBezTo>
                      <a:pt x="-552" y="74250"/>
                      <a:pt x="21386" y="95625"/>
                      <a:pt x="47823" y="95625"/>
                    </a:cubicBezTo>
                  </a:path>
                </a:pathLst>
              </a:custGeom>
              <a:solidFill>
                <a:srgbClr val="123F6E"/>
              </a:solidFill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  <p:sp>
            <p:nvSpPr>
              <p:cNvPr id="33" name="MIO_PICTOGRAM_PART2">
                <a:extLst>
                  <a:ext uri="{FF2B5EF4-FFF2-40B4-BE49-F238E27FC236}">
                    <a16:creationId xmlns:a16="http://schemas.microsoft.com/office/drawing/2014/main" id="{B4121691-3BDB-4D4F-8A3A-8F3CA35CCA9B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4404890" y="1528625"/>
                <a:ext cx="292500" cy="168750"/>
              </a:xfrm>
              <a:custGeom>
                <a:avLst/>
                <a:gdLst>
                  <a:gd name="connsiteX0" fmla="*/ 292500 w 292500"/>
                  <a:gd name="connsiteY0" fmla="*/ 10937 h 168750"/>
                  <a:gd name="connsiteX1" fmla="*/ 259313 w 292500"/>
                  <a:gd name="connsiteY1" fmla="*/ 3625 h 168750"/>
                  <a:gd name="connsiteX2" fmla="*/ 254813 w 292500"/>
                  <a:gd name="connsiteY2" fmla="*/ 8125 h 168750"/>
                  <a:gd name="connsiteX3" fmla="*/ 172688 w 292500"/>
                  <a:gd name="connsiteY3" fmla="*/ 93625 h 168750"/>
                  <a:gd name="connsiteX4" fmla="*/ 147938 w 292500"/>
                  <a:gd name="connsiteY4" fmla="*/ 83500 h 168750"/>
                  <a:gd name="connsiteX5" fmla="*/ 108563 w 292500"/>
                  <a:gd name="connsiteY5" fmla="*/ 78437 h 168750"/>
                  <a:gd name="connsiteX6" fmla="*/ 69188 w 292500"/>
                  <a:gd name="connsiteY6" fmla="*/ 84625 h 168750"/>
                  <a:gd name="connsiteX7" fmla="*/ 19125 w 292500"/>
                  <a:gd name="connsiteY7" fmla="*/ 111062 h 168750"/>
                  <a:gd name="connsiteX8" fmla="*/ 11813 w 292500"/>
                  <a:gd name="connsiteY8" fmla="*/ 124000 h 168750"/>
                  <a:gd name="connsiteX9" fmla="*/ 0 w 292500"/>
                  <a:gd name="connsiteY9" fmla="*/ 173500 h 168750"/>
                  <a:gd name="connsiteX10" fmla="*/ 168188 w 292500"/>
                  <a:gd name="connsiteY10" fmla="*/ 173500 h 168750"/>
                  <a:gd name="connsiteX11" fmla="*/ 168188 w 292500"/>
                  <a:gd name="connsiteY11" fmla="*/ 172937 h 168750"/>
                  <a:gd name="connsiteX12" fmla="*/ 216000 w 292500"/>
                  <a:gd name="connsiteY12" fmla="*/ 117250 h 168750"/>
                  <a:gd name="connsiteX13" fmla="*/ 289688 w 292500"/>
                  <a:gd name="connsiteY13" fmla="*/ 39625 h 168750"/>
                  <a:gd name="connsiteX14" fmla="*/ 292500 w 292500"/>
                  <a:gd name="connsiteY14" fmla="*/ 10937 h 16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92500" h="168750">
                    <a:moveTo>
                      <a:pt x="292500" y="10937"/>
                    </a:moveTo>
                    <a:cubicBezTo>
                      <a:pt x="285188" y="-313"/>
                      <a:pt x="270563" y="-3125"/>
                      <a:pt x="259313" y="3625"/>
                    </a:cubicBezTo>
                    <a:cubicBezTo>
                      <a:pt x="257063" y="4750"/>
                      <a:pt x="255938" y="7000"/>
                      <a:pt x="254813" y="8125"/>
                    </a:cubicBezTo>
                    <a:lnTo>
                      <a:pt x="172688" y="93625"/>
                    </a:lnTo>
                    <a:cubicBezTo>
                      <a:pt x="164813" y="89687"/>
                      <a:pt x="156375" y="86312"/>
                      <a:pt x="147938" y="83500"/>
                    </a:cubicBezTo>
                    <a:cubicBezTo>
                      <a:pt x="135000" y="81250"/>
                      <a:pt x="121500" y="78437"/>
                      <a:pt x="108563" y="78437"/>
                    </a:cubicBezTo>
                    <a:cubicBezTo>
                      <a:pt x="95625" y="78437"/>
                      <a:pt x="82125" y="80687"/>
                      <a:pt x="69188" y="84625"/>
                    </a:cubicBezTo>
                    <a:cubicBezTo>
                      <a:pt x="50063" y="89687"/>
                      <a:pt x="33188" y="99250"/>
                      <a:pt x="19125" y="111062"/>
                    </a:cubicBezTo>
                    <a:cubicBezTo>
                      <a:pt x="15750" y="114437"/>
                      <a:pt x="12938" y="119500"/>
                      <a:pt x="11813" y="124000"/>
                    </a:cubicBezTo>
                    <a:lnTo>
                      <a:pt x="0" y="173500"/>
                    </a:lnTo>
                    <a:lnTo>
                      <a:pt x="168188" y="173500"/>
                    </a:lnTo>
                    <a:lnTo>
                      <a:pt x="168188" y="172937"/>
                    </a:lnTo>
                    <a:lnTo>
                      <a:pt x="216000" y="117250"/>
                    </a:lnTo>
                    <a:lnTo>
                      <a:pt x="289688" y="39625"/>
                    </a:lnTo>
                    <a:cubicBezTo>
                      <a:pt x="296438" y="32875"/>
                      <a:pt x="298688" y="19937"/>
                      <a:pt x="292500" y="10937"/>
                    </a:cubicBezTo>
                  </a:path>
                </a:pathLst>
              </a:custGeom>
              <a:solidFill>
                <a:srgbClr val="323476"/>
              </a:solidFill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</p:grp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DA9D9E75-984E-4F7A-B968-6191A89D1791}"/>
              </a:ext>
            </a:extLst>
          </p:cNvPr>
          <p:cNvGrpSpPr/>
          <p:nvPr userDrawn="1"/>
        </p:nvGrpSpPr>
        <p:grpSpPr>
          <a:xfrm>
            <a:off x="7272534" y="4135920"/>
            <a:ext cx="1290654" cy="1256277"/>
            <a:chOff x="7272534" y="4135920"/>
            <a:chExt cx="1290654" cy="1256277"/>
          </a:xfrm>
        </p:grpSpPr>
        <p:sp>
          <p:nvSpPr>
            <p:cNvPr id="35" name="Oval 19">
              <a:extLst>
                <a:ext uri="{FF2B5EF4-FFF2-40B4-BE49-F238E27FC236}">
                  <a16:creationId xmlns:a16="http://schemas.microsoft.com/office/drawing/2014/main" id="{7F69C0EB-609C-4051-8FC4-C2826FEDF449}"/>
                </a:ext>
              </a:extLst>
            </p:cNvPr>
            <p:cNvSpPr/>
            <p:nvPr/>
          </p:nvSpPr>
          <p:spPr>
            <a:xfrm>
              <a:off x="7272534" y="4135920"/>
              <a:ext cx="1290654" cy="1256277"/>
            </a:xfrm>
            <a:prstGeom prst="ellipse">
              <a:avLst/>
            </a:prstGeom>
            <a:solidFill>
              <a:srgbClr val="9BA4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grpSp>
          <p:nvGrpSpPr>
            <p:cNvPr id="36" name="Checklist" descr="Prüfliste">
              <a:extLst>
                <a:ext uri="{FF2B5EF4-FFF2-40B4-BE49-F238E27FC236}">
                  <a16:creationId xmlns:a16="http://schemas.microsoft.com/office/drawing/2014/main" id="{8859F601-FE76-4CFD-AD08-FA07D464E6F1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7537336" y="4443514"/>
              <a:ext cx="743640" cy="680765"/>
              <a:chOff x="7848631" y="1989001"/>
              <a:chExt cx="540000" cy="540000"/>
            </a:xfrm>
            <a:solidFill>
              <a:srgbClr val="323476"/>
            </a:solidFill>
          </p:grpSpPr>
          <p:sp>
            <p:nvSpPr>
              <p:cNvPr id="37" name="MIO_PICTOGRAM_PART2">
                <a:extLst>
                  <a:ext uri="{FF2B5EF4-FFF2-40B4-BE49-F238E27FC236}">
                    <a16:creationId xmlns:a16="http://schemas.microsoft.com/office/drawing/2014/main" id="{17FA07A6-8D85-4F7F-9750-3A6CA633758E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>
              <a:xfrm>
                <a:off x="7944256" y="2034001"/>
                <a:ext cx="348750" cy="450000"/>
              </a:xfrm>
              <a:custGeom>
                <a:avLst/>
                <a:gdLst>
                  <a:gd name="connsiteX0" fmla="*/ 33750 w 348750"/>
                  <a:gd name="connsiteY0" fmla="*/ 33750 h 450000"/>
                  <a:gd name="connsiteX1" fmla="*/ 315000 w 348750"/>
                  <a:gd name="connsiteY1" fmla="*/ 33750 h 450000"/>
                  <a:gd name="connsiteX2" fmla="*/ 315000 w 348750"/>
                  <a:gd name="connsiteY2" fmla="*/ 416250 h 450000"/>
                  <a:gd name="connsiteX3" fmla="*/ 33750 w 348750"/>
                  <a:gd name="connsiteY3" fmla="*/ 416250 h 450000"/>
                  <a:gd name="connsiteX4" fmla="*/ 33750 w 348750"/>
                  <a:gd name="connsiteY4" fmla="*/ 33750 h 450000"/>
                  <a:gd name="connsiteX5" fmla="*/ 0 w 348750"/>
                  <a:gd name="connsiteY5" fmla="*/ 450000 h 450000"/>
                  <a:gd name="connsiteX6" fmla="*/ 348750 w 348750"/>
                  <a:gd name="connsiteY6" fmla="*/ 450000 h 450000"/>
                  <a:gd name="connsiteX7" fmla="*/ 348750 w 348750"/>
                  <a:gd name="connsiteY7" fmla="*/ 0 h 450000"/>
                  <a:gd name="connsiteX8" fmla="*/ 0 w 348750"/>
                  <a:gd name="connsiteY8" fmla="*/ 0 h 450000"/>
                  <a:gd name="connsiteX9" fmla="*/ 0 w 348750"/>
                  <a:gd name="connsiteY9" fmla="*/ 450000 h 45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8750" h="450000">
                    <a:moveTo>
                      <a:pt x="33750" y="33750"/>
                    </a:moveTo>
                    <a:lnTo>
                      <a:pt x="315000" y="33750"/>
                    </a:lnTo>
                    <a:lnTo>
                      <a:pt x="315000" y="416250"/>
                    </a:lnTo>
                    <a:lnTo>
                      <a:pt x="33750" y="416250"/>
                    </a:lnTo>
                    <a:lnTo>
                      <a:pt x="33750" y="33750"/>
                    </a:lnTo>
                    <a:close/>
                    <a:moveTo>
                      <a:pt x="0" y="450000"/>
                    </a:moveTo>
                    <a:lnTo>
                      <a:pt x="348750" y="450000"/>
                    </a:lnTo>
                    <a:lnTo>
                      <a:pt x="348750" y="0"/>
                    </a:lnTo>
                    <a:lnTo>
                      <a:pt x="0" y="0"/>
                    </a:lnTo>
                    <a:lnTo>
                      <a:pt x="0" y="450000"/>
                    </a:lnTo>
                    <a:close/>
                  </a:path>
                </a:pathLst>
              </a:custGeom>
              <a:grpFill/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  <p:sp>
            <p:nvSpPr>
              <p:cNvPr id="38" name="MIO_PICTOGRAM_PART2">
                <a:extLst>
                  <a:ext uri="{FF2B5EF4-FFF2-40B4-BE49-F238E27FC236}">
                    <a16:creationId xmlns:a16="http://schemas.microsoft.com/office/drawing/2014/main" id="{AF5576F5-D721-483B-BCFA-0A0B4D1EB493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>
              <a:xfrm>
                <a:off x="8129881" y="2118376"/>
                <a:ext cx="95625" cy="22500"/>
              </a:xfrm>
              <a:custGeom>
                <a:avLst/>
                <a:gdLst>
                  <a:gd name="connsiteX0" fmla="*/ 0 w 95625"/>
                  <a:gd name="connsiteY0" fmla="*/ 0 h 22500"/>
                  <a:gd name="connsiteX1" fmla="*/ 95625 w 95625"/>
                  <a:gd name="connsiteY1" fmla="*/ 0 h 22500"/>
                  <a:gd name="connsiteX2" fmla="*/ 95625 w 95625"/>
                  <a:gd name="connsiteY2" fmla="*/ 22500 h 22500"/>
                  <a:gd name="connsiteX3" fmla="*/ 0 w 95625"/>
                  <a:gd name="connsiteY3" fmla="*/ 22500 h 2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625" h="22500">
                    <a:moveTo>
                      <a:pt x="0" y="0"/>
                    </a:moveTo>
                    <a:lnTo>
                      <a:pt x="95625" y="0"/>
                    </a:lnTo>
                    <a:lnTo>
                      <a:pt x="95625" y="22500"/>
                    </a:lnTo>
                    <a:lnTo>
                      <a:pt x="0" y="2250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  <p:sp>
            <p:nvSpPr>
              <p:cNvPr id="39" name="MIO_PICTOGRAM_PART2">
                <a:extLst>
                  <a:ext uri="{FF2B5EF4-FFF2-40B4-BE49-F238E27FC236}">
                    <a16:creationId xmlns:a16="http://schemas.microsoft.com/office/drawing/2014/main" id="{88AA6E95-EBA6-4E47-835E-03DFFB215405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>
              <a:xfrm>
                <a:off x="8129881" y="2208376"/>
                <a:ext cx="95625" cy="22500"/>
              </a:xfrm>
              <a:custGeom>
                <a:avLst/>
                <a:gdLst>
                  <a:gd name="connsiteX0" fmla="*/ 0 w 95625"/>
                  <a:gd name="connsiteY0" fmla="*/ 0 h 22500"/>
                  <a:gd name="connsiteX1" fmla="*/ 95625 w 95625"/>
                  <a:gd name="connsiteY1" fmla="*/ 0 h 22500"/>
                  <a:gd name="connsiteX2" fmla="*/ 95625 w 95625"/>
                  <a:gd name="connsiteY2" fmla="*/ 22500 h 22500"/>
                  <a:gd name="connsiteX3" fmla="*/ 0 w 95625"/>
                  <a:gd name="connsiteY3" fmla="*/ 22500 h 2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625" h="22500">
                    <a:moveTo>
                      <a:pt x="0" y="0"/>
                    </a:moveTo>
                    <a:lnTo>
                      <a:pt x="95625" y="0"/>
                    </a:lnTo>
                    <a:lnTo>
                      <a:pt x="95625" y="22500"/>
                    </a:lnTo>
                    <a:lnTo>
                      <a:pt x="0" y="2250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  <p:sp>
            <p:nvSpPr>
              <p:cNvPr id="40" name="MIO_PICTOGRAM_PART2">
                <a:extLst>
                  <a:ext uri="{FF2B5EF4-FFF2-40B4-BE49-F238E27FC236}">
                    <a16:creationId xmlns:a16="http://schemas.microsoft.com/office/drawing/2014/main" id="{339E1725-EB6A-4856-8D0D-3CB5FEB6307E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>
              <a:xfrm>
                <a:off x="8129881" y="2388376"/>
                <a:ext cx="95625" cy="22500"/>
              </a:xfrm>
              <a:custGeom>
                <a:avLst/>
                <a:gdLst>
                  <a:gd name="connsiteX0" fmla="*/ 0 w 95625"/>
                  <a:gd name="connsiteY0" fmla="*/ 0 h 22500"/>
                  <a:gd name="connsiteX1" fmla="*/ 95625 w 95625"/>
                  <a:gd name="connsiteY1" fmla="*/ 0 h 22500"/>
                  <a:gd name="connsiteX2" fmla="*/ 95625 w 95625"/>
                  <a:gd name="connsiteY2" fmla="*/ 22500 h 22500"/>
                  <a:gd name="connsiteX3" fmla="*/ 0 w 95625"/>
                  <a:gd name="connsiteY3" fmla="*/ 22500 h 2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625" h="22500">
                    <a:moveTo>
                      <a:pt x="0" y="0"/>
                    </a:moveTo>
                    <a:lnTo>
                      <a:pt x="95625" y="0"/>
                    </a:lnTo>
                    <a:lnTo>
                      <a:pt x="95625" y="22500"/>
                    </a:lnTo>
                    <a:lnTo>
                      <a:pt x="0" y="2250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  <p:sp>
            <p:nvSpPr>
              <p:cNvPr id="41" name="MIO_PICTOGRAM_PART2">
                <a:extLst>
                  <a:ext uri="{FF2B5EF4-FFF2-40B4-BE49-F238E27FC236}">
                    <a16:creationId xmlns:a16="http://schemas.microsoft.com/office/drawing/2014/main" id="{4CB9F97B-E659-4DC8-B53C-6953CD930D0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8129881" y="2298376"/>
                <a:ext cx="95625" cy="22500"/>
              </a:xfrm>
              <a:custGeom>
                <a:avLst/>
                <a:gdLst>
                  <a:gd name="connsiteX0" fmla="*/ 0 w 95625"/>
                  <a:gd name="connsiteY0" fmla="*/ 0 h 22500"/>
                  <a:gd name="connsiteX1" fmla="*/ 95625 w 95625"/>
                  <a:gd name="connsiteY1" fmla="*/ 0 h 22500"/>
                  <a:gd name="connsiteX2" fmla="*/ 95625 w 95625"/>
                  <a:gd name="connsiteY2" fmla="*/ 22500 h 22500"/>
                  <a:gd name="connsiteX3" fmla="*/ 0 w 95625"/>
                  <a:gd name="connsiteY3" fmla="*/ 22500 h 2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625" h="22500">
                    <a:moveTo>
                      <a:pt x="0" y="0"/>
                    </a:moveTo>
                    <a:lnTo>
                      <a:pt x="95625" y="0"/>
                    </a:lnTo>
                    <a:lnTo>
                      <a:pt x="95625" y="22500"/>
                    </a:lnTo>
                    <a:lnTo>
                      <a:pt x="0" y="2250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  <p:sp>
            <p:nvSpPr>
              <p:cNvPr id="42" name="MIO_PICTOGRAM_PART2">
                <a:extLst>
                  <a:ext uri="{FF2B5EF4-FFF2-40B4-BE49-F238E27FC236}">
                    <a16:creationId xmlns:a16="http://schemas.microsoft.com/office/drawing/2014/main" id="{71BD180C-A79A-4073-BD54-AA5054974F2A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8011756" y="2090251"/>
                <a:ext cx="78750" cy="67500"/>
              </a:xfrm>
              <a:custGeom>
                <a:avLst/>
                <a:gdLst>
                  <a:gd name="connsiteX0" fmla="*/ 83250 w 78750"/>
                  <a:gd name="connsiteY0" fmla="*/ 15750 h 67500"/>
                  <a:gd name="connsiteX1" fmla="*/ 67500 w 78750"/>
                  <a:gd name="connsiteY1" fmla="*/ 0 h 67500"/>
                  <a:gd name="connsiteX2" fmla="*/ 30375 w 78750"/>
                  <a:gd name="connsiteY2" fmla="*/ 37125 h 67500"/>
                  <a:gd name="connsiteX3" fmla="*/ 15750 w 78750"/>
                  <a:gd name="connsiteY3" fmla="*/ 22500 h 67500"/>
                  <a:gd name="connsiteX4" fmla="*/ 0 w 78750"/>
                  <a:gd name="connsiteY4" fmla="*/ 38250 h 67500"/>
                  <a:gd name="connsiteX5" fmla="*/ 30375 w 78750"/>
                  <a:gd name="connsiteY5" fmla="*/ 68625 h 67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8750" h="67500">
                    <a:moveTo>
                      <a:pt x="83250" y="15750"/>
                    </a:moveTo>
                    <a:lnTo>
                      <a:pt x="67500" y="0"/>
                    </a:lnTo>
                    <a:lnTo>
                      <a:pt x="30375" y="37125"/>
                    </a:lnTo>
                    <a:lnTo>
                      <a:pt x="15750" y="22500"/>
                    </a:lnTo>
                    <a:lnTo>
                      <a:pt x="0" y="38250"/>
                    </a:lnTo>
                    <a:lnTo>
                      <a:pt x="30375" y="68625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  <p:sp>
            <p:nvSpPr>
              <p:cNvPr id="43" name="MIO_PICTOGRAM_PART2">
                <a:extLst>
                  <a:ext uri="{FF2B5EF4-FFF2-40B4-BE49-F238E27FC236}">
                    <a16:creationId xmlns:a16="http://schemas.microsoft.com/office/drawing/2014/main" id="{55B78C9A-3E3A-4D96-BEF4-EEADFDBDFD08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8011756" y="2180251"/>
                <a:ext cx="78750" cy="67500"/>
              </a:xfrm>
              <a:custGeom>
                <a:avLst/>
                <a:gdLst>
                  <a:gd name="connsiteX0" fmla="*/ 83250 w 78750"/>
                  <a:gd name="connsiteY0" fmla="*/ 15750 h 67500"/>
                  <a:gd name="connsiteX1" fmla="*/ 67500 w 78750"/>
                  <a:gd name="connsiteY1" fmla="*/ 0 h 67500"/>
                  <a:gd name="connsiteX2" fmla="*/ 30375 w 78750"/>
                  <a:gd name="connsiteY2" fmla="*/ 37125 h 67500"/>
                  <a:gd name="connsiteX3" fmla="*/ 15750 w 78750"/>
                  <a:gd name="connsiteY3" fmla="*/ 22500 h 67500"/>
                  <a:gd name="connsiteX4" fmla="*/ 0 w 78750"/>
                  <a:gd name="connsiteY4" fmla="*/ 38250 h 67500"/>
                  <a:gd name="connsiteX5" fmla="*/ 30375 w 78750"/>
                  <a:gd name="connsiteY5" fmla="*/ 68625 h 67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8750" h="67500">
                    <a:moveTo>
                      <a:pt x="83250" y="15750"/>
                    </a:moveTo>
                    <a:lnTo>
                      <a:pt x="67500" y="0"/>
                    </a:lnTo>
                    <a:lnTo>
                      <a:pt x="30375" y="37125"/>
                    </a:lnTo>
                    <a:lnTo>
                      <a:pt x="15750" y="22500"/>
                    </a:lnTo>
                    <a:lnTo>
                      <a:pt x="0" y="38250"/>
                    </a:lnTo>
                    <a:lnTo>
                      <a:pt x="30375" y="68625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  <p:sp>
            <p:nvSpPr>
              <p:cNvPr id="44" name="MIO_PICTOGRAM_PART2">
                <a:extLst>
                  <a:ext uri="{FF2B5EF4-FFF2-40B4-BE49-F238E27FC236}">
                    <a16:creationId xmlns:a16="http://schemas.microsoft.com/office/drawing/2014/main" id="{28CA057E-1893-452D-9F5E-C3D01198B02E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8011756" y="2270251"/>
                <a:ext cx="78750" cy="67500"/>
              </a:xfrm>
              <a:custGeom>
                <a:avLst/>
                <a:gdLst>
                  <a:gd name="connsiteX0" fmla="*/ 83250 w 78750"/>
                  <a:gd name="connsiteY0" fmla="*/ 15750 h 67500"/>
                  <a:gd name="connsiteX1" fmla="*/ 67500 w 78750"/>
                  <a:gd name="connsiteY1" fmla="*/ 0 h 67500"/>
                  <a:gd name="connsiteX2" fmla="*/ 30375 w 78750"/>
                  <a:gd name="connsiteY2" fmla="*/ 37125 h 67500"/>
                  <a:gd name="connsiteX3" fmla="*/ 15750 w 78750"/>
                  <a:gd name="connsiteY3" fmla="*/ 22500 h 67500"/>
                  <a:gd name="connsiteX4" fmla="*/ 0 w 78750"/>
                  <a:gd name="connsiteY4" fmla="*/ 38250 h 67500"/>
                  <a:gd name="connsiteX5" fmla="*/ 30375 w 78750"/>
                  <a:gd name="connsiteY5" fmla="*/ 68625 h 67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8750" h="67500">
                    <a:moveTo>
                      <a:pt x="83250" y="15750"/>
                    </a:moveTo>
                    <a:lnTo>
                      <a:pt x="67500" y="0"/>
                    </a:lnTo>
                    <a:lnTo>
                      <a:pt x="30375" y="37125"/>
                    </a:lnTo>
                    <a:lnTo>
                      <a:pt x="15750" y="22500"/>
                    </a:lnTo>
                    <a:lnTo>
                      <a:pt x="0" y="38250"/>
                    </a:lnTo>
                    <a:lnTo>
                      <a:pt x="30375" y="68625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  <p:sp>
            <p:nvSpPr>
              <p:cNvPr id="45" name="MIO_PICTOGRAM_PART2">
                <a:extLst>
                  <a:ext uri="{FF2B5EF4-FFF2-40B4-BE49-F238E27FC236}">
                    <a16:creationId xmlns:a16="http://schemas.microsoft.com/office/drawing/2014/main" id="{A34765A5-DEC5-4BE1-89CC-8BCE622831DC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8011756" y="2359126"/>
                <a:ext cx="78750" cy="67500"/>
              </a:xfrm>
              <a:custGeom>
                <a:avLst/>
                <a:gdLst>
                  <a:gd name="connsiteX0" fmla="*/ 83250 w 78750"/>
                  <a:gd name="connsiteY0" fmla="*/ 15750 h 67500"/>
                  <a:gd name="connsiteX1" fmla="*/ 67500 w 78750"/>
                  <a:gd name="connsiteY1" fmla="*/ 0 h 67500"/>
                  <a:gd name="connsiteX2" fmla="*/ 30375 w 78750"/>
                  <a:gd name="connsiteY2" fmla="*/ 37125 h 67500"/>
                  <a:gd name="connsiteX3" fmla="*/ 15750 w 78750"/>
                  <a:gd name="connsiteY3" fmla="*/ 22500 h 67500"/>
                  <a:gd name="connsiteX4" fmla="*/ 0 w 78750"/>
                  <a:gd name="connsiteY4" fmla="*/ 38250 h 67500"/>
                  <a:gd name="connsiteX5" fmla="*/ 30375 w 78750"/>
                  <a:gd name="connsiteY5" fmla="*/ 68625 h 67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8750" h="67500">
                    <a:moveTo>
                      <a:pt x="83250" y="15750"/>
                    </a:moveTo>
                    <a:lnTo>
                      <a:pt x="67500" y="0"/>
                    </a:lnTo>
                    <a:lnTo>
                      <a:pt x="30375" y="37125"/>
                    </a:lnTo>
                    <a:lnTo>
                      <a:pt x="15750" y="22500"/>
                    </a:lnTo>
                    <a:lnTo>
                      <a:pt x="0" y="38250"/>
                    </a:lnTo>
                    <a:lnTo>
                      <a:pt x="30375" y="68625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55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cs typeface="Segoe UI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040966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">
            <a:extLst>
              <a:ext uri="{FF2B5EF4-FFF2-40B4-BE49-F238E27FC236}">
                <a16:creationId xmlns:a16="http://schemas.microsoft.com/office/drawing/2014/main" id="{F5DCFECE-A3AC-4BA2-A625-15FA048964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22803" y="2713077"/>
            <a:ext cx="7236884" cy="120574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323476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Seperator shee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E10509D-3EAC-47D7-B44D-46B0ADE1A7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0317"/>
          <a:stretch/>
        </p:blipFill>
        <p:spPr>
          <a:xfrm>
            <a:off x="-2933129" y="0"/>
            <a:ext cx="7142932" cy="6858000"/>
          </a:xfrm>
          <a:prstGeom prst="rect">
            <a:avLst/>
          </a:prstGeom>
        </p:spPr>
      </p:pic>
      <p:sp>
        <p:nvSpPr>
          <p:cNvPr id="6" name="Freeform 15">
            <a:extLst>
              <a:ext uri="{FF2B5EF4-FFF2-40B4-BE49-F238E27FC236}">
                <a16:creationId xmlns:a16="http://schemas.microsoft.com/office/drawing/2014/main" id="{911B6800-2FE8-4BC6-BCD6-B7671BA09098}"/>
              </a:ext>
            </a:extLst>
          </p:cNvPr>
          <p:cNvSpPr>
            <a:spLocks noChangeArrowheads="1"/>
          </p:cNvSpPr>
          <p:nvPr userDrawn="1"/>
        </p:nvSpPr>
        <p:spPr bwMode="auto">
          <a:xfrm rot="18900000">
            <a:off x="7471417" y="4502350"/>
            <a:ext cx="6175803" cy="1832361"/>
          </a:xfrm>
          <a:custGeom>
            <a:avLst/>
            <a:gdLst>
              <a:gd name="connsiteX0" fmla="*/ 8010930 w 8023328"/>
              <a:gd name="connsiteY0" fmla="*/ 2354267 h 2380521"/>
              <a:gd name="connsiteX1" fmla="*/ 8023328 w 8023328"/>
              <a:gd name="connsiteY1" fmla="*/ 2366665 h 2380521"/>
              <a:gd name="connsiteX2" fmla="*/ 8010930 w 8023328"/>
              <a:gd name="connsiteY2" fmla="*/ 2380521 h 2380521"/>
              <a:gd name="connsiteX3" fmla="*/ 7997074 w 8023328"/>
              <a:gd name="connsiteY3" fmla="*/ 2366665 h 2380521"/>
              <a:gd name="connsiteX4" fmla="*/ 8010930 w 8023328"/>
              <a:gd name="connsiteY4" fmla="*/ 2354267 h 2380521"/>
              <a:gd name="connsiteX5" fmla="*/ 7940099 w 8023328"/>
              <a:gd name="connsiteY5" fmla="*/ 2354267 h 2380521"/>
              <a:gd name="connsiteX6" fmla="*/ 7952497 w 8023328"/>
              <a:gd name="connsiteY6" fmla="*/ 2366665 h 2380521"/>
              <a:gd name="connsiteX7" fmla="*/ 7940099 w 8023328"/>
              <a:gd name="connsiteY7" fmla="*/ 2380521 h 2380521"/>
              <a:gd name="connsiteX8" fmla="*/ 7926243 w 8023328"/>
              <a:gd name="connsiteY8" fmla="*/ 2366665 h 2380521"/>
              <a:gd name="connsiteX9" fmla="*/ 7940099 w 8023328"/>
              <a:gd name="connsiteY9" fmla="*/ 2354267 h 2380521"/>
              <a:gd name="connsiteX10" fmla="*/ 7869269 w 8023328"/>
              <a:gd name="connsiteY10" fmla="*/ 2354267 h 2380521"/>
              <a:gd name="connsiteX11" fmla="*/ 7881667 w 8023328"/>
              <a:gd name="connsiteY11" fmla="*/ 2366665 h 2380521"/>
              <a:gd name="connsiteX12" fmla="*/ 7869269 w 8023328"/>
              <a:gd name="connsiteY12" fmla="*/ 2380521 h 2380521"/>
              <a:gd name="connsiteX13" fmla="*/ 7855413 w 8023328"/>
              <a:gd name="connsiteY13" fmla="*/ 2366665 h 2380521"/>
              <a:gd name="connsiteX14" fmla="*/ 7869269 w 8023328"/>
              <a:gd name="connsiteY14" fmla="*/ 2354267 h 2380521"/>
              <a:gd name="connsiteX15" fmla="*/ 7796980 w 8023328"/>
              <a:gd name="connsiteY15" fmla="*/ 2354267 h 2380521"/>
              <a:gd name="connsiteX16" fmla="*/ 7810836 w 8023328"/>
              <a:gd name="connsiteY16" fmla="*/ 2366665 h 2380521"/>
              <a:gd name="connsiteX17" fmla="*/ 7796980 w 8023328"/>
              <a:gd name="connsiteY17" fmla="*/ 2380521 h 2380521"/>
              <a:gd name="connsiteX18" fmla="*/ 7784582 w 8023328"/>
              <a:gd name="connsiteY18" fmla="*/ 2366665 h 2380521"/>
              <a:gd name="connsiteX19" fmla="*/ 7796980 w 8023328"/>
              <a:gd name="connsiteY19" fmla="*/ 2354267 h 2380521"/>
              <a:gd name="connsiteX20" fmla="*/ 8010930 w 8023328"/>
              <a:gd name="connsiteY20" fmla="*/ 2283438 h 2380521"/>
              <a:gd name="connsiteX21" fmla="*/ 8023328 w 8023328"/>
              <a:gd name="connsiteY21" fmla="*/ 2295835 h 2380521"/>
              <a:gd name="connsiteX22" fmla="*/ 8010930 w 8023328"/>
              <a:gd name="connsiteY22" fmla="*/ 2309691 h 2380521"/>
              <a:gd name="connsiteX23" fmla="*/ 7997074 w 8023328"/>
              <a:gd name="connsiteY23" fmla="*/ 2295835 h 2380521"/>
              <a:gd name="connsiteX24" fmla="*/ 8010930 w 8023328"/>
              <a:gd name="connsiteY24" fmla="*/ 2283438 h 2380521"/>
              <a:gd name="connsiteX25" fmla="*/ 7940099 w 8023328"/>
              <a:gd name="connsiteY25" fmla="*/ 2283438 h 2380521"/>
              <a:gd name="connsiteX26" fmla="*/ 7952497 w 8023328"/>
              <a:gd name="connsiteY26" fmla="*/ 2295835 h 2380521"/>
              <a:gd name="connsiteX27" fmla="*/ 7940099 w 8023328"/>
              <a:gd name="connsiteY27" fmla="*/ 2309691 h 2380521"/>
              <a:gd name="connsiteX28" fmla="*/ 7926243 w 8023328"/>
              <a:gd name="connsiteY28" fmla="*/ 2295835 h 2380521"/>
              <a:gd name="connsiteX29" fmla="*/ 7940099 w 8023328"/>
              <a:gd name="connsiteY29" fmla="*/ 2283438 h 2380521"/>
              <a:gd name="connsiteX30" fmla="*/ 7869269 w 8023328"/>
              <a:gd name="connsiteY30" fmla="*/ 2283438 h 2380521"/>
              <a:gd name="connsiteX31" fmla="*/ 7881667 w 8023328"/>
              <a:gd name="connsiteY31" fmla="*/ 2295835 h 2380521"/>
              <a:gd name="connsiteX32" fmla="*/ 7869269 w 8023328"/>
              <a:gd name="connsiteY32" fmla="*/ 2309691 h 2380521"/>
              <a:gd name="connsiteX33" fmla="*/ 7855413 w 8023328"/>
              <a:gd name="connsiteY33" fmla="*/ 2295835 h 2380521"/>
              <a:gd name="connsiteX34" fmla="*/ 7869269 w 8023328"/>
              <a:gd name="connsiteY34" fmla="*/ 2283438 h 2380521"/>
              <a:gd name="connsiteX35" fmla="*/ 7796980 w 8023328"/>
              <a:gd name="connsiteY35" fmla="*/ 2283438 h 2380521"/>
              <a:gd name="connsiteX36" fmla="*/ 7810836 w 8023328"/>
              <a:gd name="connsiteY36" fmla="*/ 2295835 h 2380521"/>
              <a:gd name="connsiteX37" fmla="*/ 7796980 w 8023328"/>
              <a:gd name="connsiteY37" fmla="*/ 2309691 h 2380521"/>
              <a:gd name="connsiteX38" fmla="*/ 7784582 w 8023328"/>
              <a:gd name="connsiteY38" fmla="*/ 2295835 h 2380521"/>
              <a:gd name="connsiteX39" fmla="*/ 7796980 w 8023328"/>
              <a:gd name="connsiteY39" fmla="*/ 2283438 h 2380521"/>
              <a:gd name="connsiteX40" fmla="*/ 7726151 w 8023328"/>
              <a:gd name="connsiteY40" fmla="*/ 2283438 h 2380521"/>
              <a:gd name="connsiteX41" fmla="*/ 7740007 w 8023328"/>
              <a:gd name="connsiteY41" fmla="*/ 2295835 h 2380521"/>
              <a:gd name="connsiteX42" fmla="*/ 7726151 w 8023328"/>
              <a:gd name="connsiteY42" fmla="*/ 2309691 h 2380521"/>
              <a:gd name="connsiteX43" fmla="*/ 7713753 w 8023328"/>
              <a:gd name="connsiteY43" fmla="*/ 2295835 h 2380521"/>
              <a:gd name="connsiteX44" fmla="*/ 7726151 w 8023328"/>
              <a:gd name="connsiteY44" fmla="*/ 2283438 h 2380521"/>
              <a:gd name="connsiteX45" fmla="*/ 7940099 w 8023328"/>
              <a:gd name="connsiteY45" fmla="*/ 2209234 h 2380521"/>
              <a:gd name="connsiteX46" fmla="*/ 7952497 w 8023328"/>
              <a:gd name="connsiteY46" fmla="*/ 2224022 h 2380521"/>
              <a:gd name="connsiteX47" fmla="*/ 7940099 w 8023328"/>
              <a:gd name="connsiteY47" fmla="*/ 2238810 h 2380521"/>
              <a:gd name="connsiteX48" fmla="*/ 7926243 w 8023328"/>
              <a:gd name="connsiteY48" fmla="*/ 2224022 h 2380521"/>
              <a:gd name="connsiteX49" fmla="*/ 7940099 w 8023328"/>
              <a:gd name="connsiteY49" fmla="*/ 2209234 h 2380521"/>
              <a:gd name="connsiteX50" fmla="*/ 7867811 w 8023328"/>
              <a:gd name="connsiteY50" fmla="*/ 2209234 h 2380521"/>
              <a:gd name="connsiteX51" fmla="*/ 7881667 w 8023328"/>
              <a:gd name="connsiteY51" fmla="*/ 2224022 h 2380521"/>
              <a:gd name="connsiteX52" fmla="*/ 7867811 w 8023328"/>
              <a:gd name="connsiteY52" fmla="*/ 2238810 h 2380521"/>
              <a:gd name="connsiteX53" fmla="*/ 7855413 w 8023328"/>
              <a:gd name="connsiteY53" fmla="*/ 2224022 h 2380521"/>
              <a:gd name="connsiteX54" fmla="*/ 7867811 w 8023328"/>
              <a:gd name="connsiteY54" fmla="*/ 2209234 h 2380521"/>
              <a:gd name="connsiteX55" fmla="*/ 7796980 w 8023328"/>
              <a:gd name="connsiteY55" fmla="*/ 2209234 h 2380521"/>
              <a:gd name="connsiteX56" fmla="*/ 7810836 w 8023328"/>
              <a:gd name="connsiteY56" fmla="*/ 2224022 h 2380521"/>
              <a:gd name="connsiteX57" fmla="*/ 7796980 w 8023328"/>
              <a:gd name="connsiteY57" fmla="*/ 2238810 h 2380521"/>
              <a:gd name="connsiteX58" fmla="*/ 7784582 w 8023328"/>
              <a:gd name="connsiteY58" fmla="*/ 2224022 h 2380521"/>
              <a:gd name="connsiteX59" fmla="*/ 7796980 w 8023328"/>
              <a:gd name="connsiteY59" fmla="*/ 2209234 h 2380521"/>
              <a:gd name="connsiteX60" fmla="*/ 7726151 w 8023328"/>
              <a:gd name="connsiteY60" fmla="*/ 2209234 h 2380521"/>
              <a:gd name="connsiteX61" fmla="*/ 7740007 w 8023328"/>
              <a:gd name="connsiteY61" fmla="*/ 2224022 h 2380521"/>
              <a:gd name="connsiteX62" fmla="*/ 7726151 w 8023328"/>
              <a:gd name="connsiteY62" fmla="*/ 2238810 h 2380521"/>
              <a:gd name="connsiteX63" fmla="*/ 7713753 w 8023328"/>
              <a:gd name="connsiteY63" fmla="*/ 2224022 h 2380521"/>
              <a:gd name="connsiteX64" fmla="*/ 7726151 w 8023328"/>
              <a:gd name="connsiteY64" fmla="*/ 2209234 h 2380521"/>
              <a:gd name="connsiteX65" fmla="*/ 7940099 w 8023328"/>
              <a:gd name="connsiteY65" fmla="*/ 2138403 h 2380521"/>
              <a:gd name="connsiteX66" fmla="*/ 7952497 w 8023328"/>
              <a:gd name="connsiteY66" fmla="*/ 2153192 h 2380521"/>
              <a:gd name="connsiteX67" fmla="*/ 7940099 w 8023328"/>
              <a:gd name="connsiteY67" fmla="*/ 2167981 h 2380521"/>
              <a:gd name="connsiteX68" fmla="*/ 7926243 w 8023328"/>
              <a:gd name="connsiteY68" fmla="*/ 2153192 h 2380521"/>
              <a:gd name="connsiteX69" fmla="*/ 7940099 w 8023328"/>
              <a:gd name="connsiteY69" fmla="*/ 2138403 h 2380521"/>
              <a:gd name="connsiteX70" fmla="*/ 7867811 w 8023328"/>
              <a:gd name="connsiteY70" fmla="*/ 2138403 h 2380521"/>
              <a:gd name="connsiteX71" fmla="*/ 7881667 w 8023328"/>
              <a:gd name="connsiteY71" fmla="*/ 2153192 h 2380521"/>
              <a:gd name="connsiteX72" fmla="*/ 7867811 w 8023328"/>
              <a:gd name="connsiteY72" fmla="*/ 2167981 h 2380521"/>
              <a:gd name="connsiteX73" fmla="*/ 7855413 w 8023328"/>
              <a:gd name="connsiteY73" fmla="*/ 2153192 h 2380521"/>
              <a:gd name="connsiteX74" fmla="*/ 7867811 w 8023328"/>
              <a:gd name="connsiteY74" fmla="*/ 2138403 h 2380521"/>
              <a:gd name="connsiteX75" fmla="*/ 7796980 w 8023328"/>
              <a:gd name="connsiteY75" fmla="*/ 2138403 h 2380521"/>
              <a:gd name="connsiteX76" fmla="*/ 7810836 w 8023328"/>
              <a:gd name="connsiteY76" fmla="*/ 2153192 h 2380521"/>
              <a:gd name="connsiteX77" fmla="*/ 7796980 w 8023328"/>
              <a:gd name="connsiteY77" fmla="*/ 2167981 h 2380521"/>
              <a:gd name="connsiteX78" fmla="*/ 7784582 w 8023328"/>
              <a:gd name="connsiteY78" fmla="*/ 2153192 h 2380521"/>
              <a:gd name="connsiteX79" fmla="*/ 7796980 w 8023328"/>
              <a:gd name="connsiteY79" fmla="*/ 2138403 h 2380521"/>
              <a:gd name="connsiteX80" fmla="*/ 7726151 w 8023328"/>
              <a:gd name="connsiteY80" fmla="*/ 2138403 h 2380521"/>
              <a:gd name="connsiteX81" fmla="*/ 7740007 w 8023328"/>
              <a:gd name="connsiteY81" fmla="*/ 2153192 h 2380521"/>
              <a:gd name="connsiteX82" fmla="*/ 7726151 w 8023328"/>
              <a:gd name="connsiteY82" fmla="*/ 2167981 h 2380521"/>
              <a:gd name="connsiteX83" fmla="*/ 7713753 w 8023328"/>
              <a:gd name="connsiteY83" fmla="*/ 2153192 h 2380521"/>
              <a:gd name="connsiteX84" fmla="*/ 7726151 w 8023328"/>
              <a:gd name="connsiteY84" fmla="*/ 2138403 h 2380521"/>
              <a:gd name="connsiteX85" fmla="*/ 7654337 w 8023328"/>
              <a:gd name="connsiteY85" fmla="*/ 2138403 h 2380521"/>
              <a:gd name="connsiteX86" fmla="*/ 7669126 w 8023328"/>
              <a:gd name="connsiteY86" fmla="*/ 2153192 h 2380521"/>
              <a:gd name="connsiteX87" fmla="*/ 7654337 w 8023328"/>
              <a:gd name="connsiteY87" fmla="*/ 2167981 h 2380521"/>
              <a:gd name="connsiteX88" fmla="*/ 7639549 w 8023328"/>
              <a:gd name="connsiteY88" fmla="*/ 2153192 h 2380521"/>
              <a:gd name="connsiteX89" fmla="*/ 7654337 w 8023328"/>
              <a:gd name="connsiteY89" fmla="*/ 2138403 h 2380521"/>
              <a:gd name="connsiteX90" fmla="*/ 7867811 w 8023328"/>
              <a:gd name="connsiteY90" fmla="*/ 2067574 h 2380521"/>
              <a:gd name="connsiteX91" fmla="*/ 7881667 w 8023328"/>
              <a:gd name="connsiteY91" fmla="*/ 2082362 h 2380521"/>
              <a:gd name="connsiteX92" fmla="*/ 7867811 w 8023328"/>
              <a:gd name="connsiteY92" fmla="*/ 2097150 h 2380521"/>
              <a:gd name="connsiteX93" fmla="*/ 7855413 w 8023328"/>
              <a:gd name="connsiteY93" fmla="*/ 2082362 h 2380521"/>
              <a:gd name="connsiteX94" fmla="*/ 7867811 w 8023328"/>
              <a:gd name="connsiteY94" fmla="*/ 2067574 h 2380521"/>
              <a:gd name="connsiteX95" fmla="*/ 7796980 w 8023328"/>
              <a:gd name="connsiteY95" fmla="*/ 2067574 h 2380521"/>
              <a:gd name="connsiteX96" fmla="*/ 7810836 w 8023328"/>
              <a:gd name="connsiteY96" fmla="*/ 2082362 h 2380521"/>
              <a:gd name="connsiteX97" fmla="*/ 7796980 w 8023328"/>
              <a:gd name="connsiteY97" fmla="*/ 2097150 h 2380521"/>
              <a:gd name="connsiteX98" fmla="*/ 7784582 w 8023328"/>
              <a:gd name="connsiteY98" fmla="*/ 2082362 h 2380521"/>
              <a:gd name="connsiteX99" fmla="*/ 7796980 w 8023328"/>
              <a:gd name="connsiteY99" fmla="*/ 2067574 h 2380521"/>
              <a:gd name="connsiteX100" fmla="*/ 7726151 w 8023328"/>
              <a:gd name="connsiteY100" fmla="*/ 2067574 h 2380521"/>
              <a:gd name="connsiteX101" fmla="*/ 7740007 w 8023328"/>
              <a:gd name="connsiteY101" fmla="*/ 2082362 h 2380521"/>
              <a:gd name="connsiteX102" fmla="*/ 7726151 w 8023328"/>
              <a:gd name="connsiteY102" fmla="*/ 2097150 h 2380521"/>
              <a:gd name="connsiteX103" fmla="*/ 7713753 w 8023328"/>
              <a:gd name="connsiteY103" fmla="*/ 2082362 h 2380521"/>
              <a:gd name="connsiteX104" fmla="*/ 7726151 w 8023328"/>
              <a:gd name="connsiteY104" fmla="*/ 2067574 h 2380521"/>
              <a:gd name="connsiteX105" fmla="*/ 7654337 w 8023328"/>
              <a:gd name="connsiteY105" fmla="*/ 2067574 h 2380521"/>
              <a:gd name="connsiteX106" fmla="*/ 7669126 w 8023328"/>
              <a:gd name="connsiteY106" fmla="*/ 2082362 h 2380521"/>
              <a:gd name="connsiteX107" fmla="*/ 7654337 w 8023328"/>
              <a:gd name="connsiteY107" fmla="*/ 2097150 h 2380521"/>
              <a:gd name="connsiteX108" fmla="*/ 7639549 w 8023328"/>
              <a:gd name="connsiteY108" fmla="*/ 2082362 h 2380521"/>
              <a:gd name="connsiteX109" fmla="*/ 7654337 w 8023328"/>
              <a:gd name="connsiteY109" fmla="*/ 2067574 h 2380521"/>
              <a:gd name="connsiteX110" fmla="*/ 7583507 w 8023328"/>
              <a:gd name="connsiteY110" fmla="*/ 2067574 h 2380521"/>
              <a:gd name="connsiteX111" fmla="*/ 7598297 w 8023328"/>
              <a:gd name="connsiteY111" fmla="*/ 2082362 h 2380521"/>
              <a:gd name="connsiteX112" fmla="*/ 7583507 w 8023328"/>
              <a:gd name="connsiteY112" fmla="*/ 2097150 h 2380521"/>
              <a:gd name="connsiteX113" fmla="*/ 7568718 w 8023328"/>
              <a:gd name="connsiteY113" fmla="*/ 2082362 h 2380521"/>
              <a:gd name="connsiteX114" fmla="*/ 7583507 w 8023328"/>
              <a:gd name="connsiteY114" fmla="*/ 2067574 h 2380521"/>
              <a:gd name="connsiteX115" fmla="*/ 7867811 w 8023328"/>
              <a:gd name="connsiteY115" fmla="*/ 1996742 h 2380521"/>
              <a:gd name="connsiteX116" fmla="*/ 7881667 w 8023328"/>
              <a:gd name="connsiteY116" fmla="*/ 2010598 h 2380521"/>
              <a:gd name="connsiteX117" fmla="*/ 7867811 w 8023328"/>
              <a:gd name="connsiteY117" fmla="*/ 2022995 h 2380521"/>
              <a:gd name="connsiteX118" fmla="*/ 7855413 w 8023328"/>
              <a:gd name="connsiteY118" fmla="*/ 2010598 h 2380521"/>
              <a:gd name="connsiteX119" fmla="*/ 7867811 w 8023328"/>
              <a:gd name="connsiteY119" fmla="*/ 1996742 h 2380521"/>
              <a:gd name="connsiteX120" fmla="*/ 7796980 w 8023328"/>
              <a:gd name="connsiteY120" fmla="*/ 1996742 h 2380521"/>
              <a:gd name="connsiteX121" fmla="*/ 7810836 w 8023328"/>
              <a:gd name="connsiteY121" fmla="*/ 2010598 h 2380521"/>
              <a:gd name="connsiteX122" fmla="*/ 7796980 w 8023328"/>
              <a:gd name="connsiteY122" fmla="*/ 2022995 h 2380521"/>
              <a:gd name="connsiteX123" fmla="*/ 7784582 w 8023328"/>
              <a:gd name="connsiteY123" fmla="*/ 2010598 h 2380521"/>
              <a:gd name="connsiteX124" fmla="*/ 7796980 w 8023328"/>
              <a:gd name="connsiteY124" fmla="*/ 1996742 h 2380521"/>
              <a:gd name="connsiteX125" fmla="*/ 7726151 w 8023328"/>
              <a:gd name="connsiteY125" fmla="*/ 1996742 h 2380521"/>
              <a:gd name="connsiteX126" fmla="*/ 7740007 w 8023328"/>
              <a:gd name="connsiteY126" fmla="*/ 2010598 h 2380521"/>
              <a:gd name="connsiteX127" fmla="*/ 7726151 w 8023328"/>
              <a:gd name="connsiteY127" fmla="*/ 2022995 h 2380521"/>
              <a:gd name="connsiteX128" fmla="*/ 7713753 w 8023328"/>
              <a:gd name="connsiteY128" fmla="*/ 2010598 h 2380521"/>
              <a:gd name="connsiteX129" fmla="*/ 7726151 w 8023328"/>
              <a:gd name="connsiteY129" fmla="*/ 1996742 h 2380521"/>
              <a:gd name="connsiteX130" fmla="*/ 7654337 w 8023328"/>
              <a:gd name="connsiteY130" fmla="*/ 1996742 h 2380521"/>
              <a:gd name="connsiteX131" fmla="*/ 7669126 w 8023328"/>
              <a:gd name="connsiteY131" fmla="*/ 2010598 h 2380521"/>
              <a:gd name="connsiteX132" fmla="*/ 7654337 w 8023328"/>
              <a:gd name="connsiteY132" fmla="*/ 2022995 h 2380521"/>
              <a:gd name="connsiteX133" fmla="*/ 7639549 w 8023328"/>
              <a:gd name="connsiteY133" fmla="*/ 2010598 h 2380521"/>
              <a:gd name="connsiteX134" fmla="*/ 7654337 w 8023328"/>
              <a:gd name="connsiteY134" fmla="*/ 1996742 h 2380521"/>
              <a:gd name="connsiteX135" fmla="*/ 7583507 w 8023328"/>
              <a:gd name="connsiteY135" fmla="*/ 1996742 h 2380521"/>
              <a:gd name="connsiteX136" fmla="*/ 7598297 w 8023328"/>
              <a:gd name="connsiteY136" fmla="*/ 2010598 h 2380521"/>
              <a:gd name="connsiteX137" fmla="*/ 7583507 w 8023328"/>
              <a:gd name="connsiteY137" fmla="*/ 2022995 h 2380521"/>
              <a:gd name="connsiteX138" fmla="*/ 7568718 w 8023328"/>
              <a:gd name="connsiteY138" fmla="*/ 2010598 h 2380521"/>
              <a:gd name="connsiteX139" fmla="*/ 7583507 w 8023328"/>
              <a:gd name="connsiteY139" fmla="*/ 1996742 h 2380521"/>
              <a:gd name="connsiteX140" fmla="*/ 7512677 w 8023328"/>
              <a:gd name="connsiteY140" fmla="*/ 1996742 h 2380521"/>
              <a:gd name="connsiteX141" fmla="*/ 7527466 w 8023328"/>
              <a:gd name="connsiteY141" fmla="*/ 2010598 h 2380521"/>
              <a:gd name="connsiteX142" fmla="*/ 7512677 w 8023328"/>
              <a:gd name="connsiteY142" fmla="*/ 2022995 h 2380521"/>
              <a:gd name="connsiteX143" fmla="*/ 7497889 w 8023328"/>
              <a:gd name="connsiteY143" fmla="*/ 2010598 h 2380521"/>
              <a:gd name="connsiteX144" fmla="*/ 7512677 w 8023328"/>
              <a:gd name="connsiteY144" fmla="*/ 1996742 h 2380521"/>
              <a:gd name="connsiteX145" fmla="*/ 7796980 w 8023328"/>
              <a:gd name="connsiteY145" fmla="*/ 1925913 h 2380521"/>
              <a:gd name="connsiteX146" fmla="*/ 7810836 w 8023328"/>
              <a:gd name="connsiteY146" fmla="*/ 1939769 h 2380521"/>
              <a:gd name="connsiteX147" fmla="*/ 7796980 w 8023328"/>
              <a:gd name="connsiteY147" fmla="*/ 1952166 h 2380521"/>
              <a:gd name="connsiteX148" fmla="*/ 7784582 w 8023328"/>
              <a:gd name="connsiteY148" fmla="*/ 1939769 h 2380521"/>
              <a:gd name="connsiteX149" fmla="*/ 7796980 w 8023328"/>
              <a:gd name="connsiteY149" fmla="*/ 1925913 h 2380521"/>
              <a:gd name="connsiteX150" fmla="*/ 7726151 w 8023328"/>
              <a:gd name="connsiteY150" fmla="*/ 1925913 h 2380521"/>
              <a:gd name="connsiteX151" fmla="*/ 7740007 w 8023328"/>
              <a:gd name="connsiteY151" fmla="*/ 1939769 h 2380521"/>
              <a:gd name="connsiteX152" fmla="*/ 7726151 w 8023328"/>
              <a:gd name="connsiteY152" fmla="*/ 1952166 h 2380521"/>
              <a:gd name="connsiteX153" fmla="*/ 7713753 w 8023328"/>
              <a:gd name="connsiteY153" fmla="*/ 1939769 h 2380521"/>
              <a:gd name="connsiteX154" fmla="*/ 7726151 w 8023328"/>
              <a:gd name="connsiteY154" fmla="*/ 1925913 h 2380521"/>
              <a:gd name="connsiteX155" fmla="*/ 7654337 w 8023328"/>
              <a:gd name="connsiteY155" fmla="*/ 1925913 h 2380521"/>
              <a:gd name="connsiteX156" fmla="*/ 7669126 w 8023328"/>
              <a:gd name="connsiteY156" fmla="*/ 1939769 h 2380521"/>
              <a:gd name="connsiteX157" fmla="*/ 7654337 w 8023328"/>
              <a:gd name="connsiteY157" fmla="*/ 1952166 h 2380521"/>
              <a:gd name="connsiteX158" fmla="*/ 7639549 w 8023328"/>
              <a:gd name="connsiteY158" fmla="*/ 1939769 h 2380521"/>
              <a:gd name="connsiteX159" fmla="*/ 7654337 w 8023328"/>
              <a:gd name="connsiteY159" fmla="*/ 1925913 h 2380521"/>
              <a:gd name="connsiteX160" fmla="*/ 7583507 w 8023328"/>
              <a:gd name="connsiteY160" fmla="*/ 1925913 h 2380521"/>
              <a:gd name="connsiteX161" fmla="*/ 7598297 w 8023328"/>
              <a:gd name="connsiteY161" fmla="*/ 1939769 h 2380521"/>
              <a:gd name="connsiteX162" fmla="*/ 7583507 w 8023328"/>
              <a:gd name="connsiteY162" fmla="*/ 1952166 h 2380521"/>
              <a:gd name="connsiteX163" fmla="*/ 7568718 w 8023328"/>
              <a:gd name="connsiteY163" fmla="*/ 1939769 h 2380521"/>
              <a:gd name="connsiteX164" fmla="*/ 7583507 w 8023328"/>
              <a:gd name="connsiteY164" fmla="*/ 1925913 h 2380521"/>
              <a:gd name="connsiteX165" fmla="*/ 7512677 w 8023328"/>
              <a:gd name="connsiteY165" fmla="*/ 1925913 h 2380521"/>
              <a:gd name="connsiteX166" fmla="*/ 7527466 w 8023328"/>
              <a:gd name="connsiteY166" fmla="*/ 1939769 h 2380521"/>
              <a:gd name="connsiteX167" fmla="*/ 7512677 w 8023328"/>
              <a:gd name="connsiteY167" fmla="*/ 1952166 h 2380521"/>
              <a:gd name="connsiteX168" fmla="*/ 7497889 w 8023328"/>
              <a:gd name="connsiteY168" fmla="*/ 1939769 h 2380521"/>
              <a:gd name="connsiteX169" fmla="*/ 7512677 w 8023328"/>
              <a:gd name="connsiteY169" fmla="*/ 1925913 h 2380521"/>
              <a:gd name="connsiteX170" fmla="*/ 7440913 w 8023328"/>
              <a:gd name="connsiteY170" fmla="*/ 1925913 h 2380521"/>
              <a:gd name="connsiteX171" fmla="*/ 7453310 w 8023328"/>
              <a:gd name="connsiteY171" fmla="*/ 1939769 h 2380521"/>
              <a:gd name="connsiteX172" fmla="*/ 7440913 w 8023328"/>
              <a:gd name="connsiteY172" fmla="*/ 1952166 h 2380521"/>
              <a:gd name="connsiteX173" fmla="*/ 7427057 w 8023328"/>
              <a:gd name="connsiteY173" fmla="*/ 1939769 h 2380521"/>
              <a:gd name="connsiteX174" fmla="*/ 7440913 w 8023328"/>
              <a:gd name="connsiteY174" fmla="*/ 1925913 h 2380521"/>
              <a:gd name="connsiteX175" fmla="*/ 7726151 w 8023328"/>
              <a:gd name="connsiteY175" fmla="*/ 1855081 h 2380521"/>
              <a:gd name="connsiteX176" fmla="*/ 7740007 w 8023328"/>
              <a:gd name="connsiteY176" fmla="*/ 1868937 h 2380521"/>
              <a:gd name="connsiteX177" fmla="*/ 7726151 w 8023328"/>
              <a:gd name="connsiteY177" fmla="*/ 1881334 h 2380521"/>
              <a:gd name="connsiteX178" fmla="*/ 7713753 w 8023328"/>
              <a:gd name="connsiteY178" fmla="*/ 1868937 h 2380521"/>
              <a:gd name="connsiteX179" fmla="*/ 7726151 w 8023328"/>
              <a:gd name="connsiteY179" fmla="*/ 1855081 h 2380521"/>
              <a:gd name="connsiteX180" fmla="*/ 7654337 w 8023328"/>
              <a:gd name="connsiteY180" fmla="*/ 1855081 h 2380521"/>
              <a:gd name="connsiteX181" fmla="*/ 7669126 w 8023328"/>
              <a:gd name="connsiteY181" fmla="*/ 1868937 h 2380521"/>
              <a:gd name="connsiteX182" fmla="*/ 7654337 w 8023328"/>
              <a:gd name="connsiteY182" fmla="*/ 1881334 h 2380521"/>
              <a:gd name="connsiteX183" fmla="*/ 7639549 w 8023328"/>
              <a:gd name="connsiteY183" fmla="*/ 1868937 h 2380521"/>
              <a:gd name="connsiteX184" fmla="*/ 7654337 w 8023328"/>
              <a:gd name="connsiteY184" fmla="*/ 1855081 h 2380521"/>
              <a:gd name="connsiteX185" fmla="*/ 7583507 w 8023328"/>
              <a:gd name="connsiteY185" fmla="*/ 1855081 h 2380521"/>
              <a:gd name="connsiteX186" fmla="*/ 7598297 w 8023328"/>
              <a:gd name="connsiteY186" fmla="*/ 1868937 h 2380521"/>
              <a:gd name="connsiteX187" fmla="*/ 7583507 w 8023328"/>
              <a:gd name="connsiteY187" fmla="*/ 1881334 h 2380521"/>
              <a:gd name="connsiteX188" fmla="*/ 7568718 w 8023328"/>
              <a:gd name="connsiteY188" fmla="*/ 1868937 h 2380521"/>
              <a:gd name="connsiteX189" fmla="*/ 7583507 w 8023328"/>
              <a:gd name="connsiteY189" fmla="*/ 1855081 h 2380521"/>
              <a:gd name="connsiteX190" fmla="*/ 7512677 w 8023328"/>
              <a:gd name="connsiteY190" fmla="*/ 1855081 h 2380521"/>
              <a:gd name="connsiteX191" fmla="*/ 7527466 w 8023328"/>
              <a:gd name="connsiteY191" fmla="*/ 1868937 h 2380521"/>
              <a:gd name="connsiteX192" fmla="*/ 7512677 w 8023328"/>
              <a:gd name="connsiteY192" fmla="*/ 1881334 h 2380521"/>
              <a:gd name="connsiteX193" fmla="*/ 7497889 w 8023328"/>
              <a:gd name="connsiteY193" fmla="*/ 1868937 h 2380521"/>
              <a:gd name="connsiteX194" fmla="*/ 7512677 w 8023328"/>
              <a:gd name="connsiteY194" fmla="*/ 1855081 h 2380521"/>
              <a:gd name="connsiteX195" fmla="*/ 7440913 w 8023328"/>
              <a:gd name="connsiteY195" fmla="*/ 1855081 h 2380521"/>
              <a:gd name="connsiteX196" fmla="*/ 7453310 w 8023328"/>
              <a:gd name="connsiteY196" fmla="*/ 1868937 h 2380521"/>
              <a:gd name="connsiteX197" fmla="*/ 7440913 w 8023328"/>
              <a:gd name="connsiteY197" fmla="*/ 1881334 h 2380521"/>
              <a:gd name="connsiteX198" fmla="*/ 7427057 w 8023328"/>
              <a:gd name="connsiteY198" fmla="*/ 1868937 h 2380521"/>
              <a:gd name="connsiteX199" fmla="*/ 7440913 w 8023328"/>
              <a:gd name="connsiteY199" fmla="*/ 1855081 h 2380521"/>
              <a:gd name="connsiteX200" fmla="*/ 7654337 w 8023328"/>
              <a:gd name="connsiteY200" fmla="*/ 1780878 h 2380521"/>
              <a:gd name="connsiteX201" fmla="*/ 7669126 w 8023328"/>
              <a:gd name="connsiteY201" fmla="*/ 1793275 h 2380521"/>
              <a:gd name="connsiteX202" fmla="*/ 7654337 w 8023328"/>
              <a:gd name="connsiteY202" fmla="*/ 1807131 h 2380521"/>
              <a:gd name="connsiteX203" fmla="*/ 7639549 w 8023328"/>
              <a:gd name="connsiteY203" fmla="*/ 1793275 h 2380521"/>
              <a:gd name="connsiteX204" fmla="*/ 7654337 w 8023328"/>
              <a:gd name="connsiteY204" fmla="*/ 1780878 h 2380521"/>
              <a:gd name="connsiteX205" fmla="*/ 7583507 w 8023328"/>
              <a:gd name="connsiteY205" fmla="*/ 1780878 h 2380521"/>
              <a:gd name="connsiteX206" fmla="*/ 7598297 w 8023328"/>
              <a:gd name="connsiteY206" fmla="*/ 1793275 h 2380521"/>
              <a:gd name="connsiteX207" fmla="*/ 7583507 w 8023328"/>
              <a:gd name="connsiteY207" fmla="*/ 1807131 h 2380521"/>
              <a:gd name="connsiteX208" fmla="*/ 7568718 w 8023328"/>
              <a:gd name="connsiteY208" fmla="*/ 1793275 h 2380521"/>
              <a:gd name="connsiteX209" fmla="*/ 7583507 w 8023328"/>
              <a:gd name="connsiteY209" fmla="*/ 1780878 h 2380521"/>
              <a:gd name="connsiteX210" fmla="*/ 7511745 w 8023328"/>
              <a:gd name="connsiteY210" fmla="*/ 1780878 h 2380521"/>
              <a:gd name="connsiteX211" fmla="*/ 7524143 w 8023328"/>
              <a:gd name="connsiteY211" fmla="*/ 1793275 h 2380521"/>
              <a:gd name="connsiteX212" fmla="*/ 7511745 w 8023328"/>
              <a:gd name="connsiteY212" fmla="*/ 1807131 h 2380521"/>
              <a:gd name="connsiteX213" fmla="*/ 7497889 w 8023328"/>
              <a:gd name="connsiteY213" fmla="*/ 1793275 h 2380521"/>
              <a:gd name="connsiteX214" fmla="*/ 7511745 w 8023328"/>
              <a:gd name="connsiteY214" fmla="*/ 1780878 h 2380521"/>
              <a:gd name="connsiteX215" fmla="*/ 7440913 w 8023328"/>
              <a:gd name="connsiteY215" fmla="*/ 1780878 h 2380521"/>
              <a:gd name="connsiteX216" fmla="*/ 7453310 w 8023328"/>
              <a:gd name="connsiteY216" fmla="*/ 1793275 h 2380521"/>
              <a:gd name="connsiteX217" fmla="*/ 7440913 w 8023328"/>
              <a:gd name="connsiteY217" fmla="*/ 1807131 h 2380521"/>
              <a:gd name="connsiteX218" fmla="*/ 7427057 w 8023328"/>
              <a:gd name="connsiteY218" fmla="*/ 1793275 h 2380521"/>
              <a:gd name="connsiteX219" fmla="*/ 7440913 w 8023328"/>
              <a:gd name="connsiteY219" fmla="*/ 1780878 h 2380521"/>
              <a:gd name="connsiteX220" fmla="*/ 7370084 w 8023328"/>
              <a:gd name="connsiteY220" fmla="*/ 1780878 h 2380521"/>
              <a:gd name="connsiteX221" fmla="*/ 7382481 w 8023328"/>
              <a:gd name="connsiteY221" fmla="*/ 1793275 h 2380521"/>
              <a:gd name="connsiteX222" fmla="*/ 7370084 w 8023328"/>
              <a:gd name="connsiteY222" fmla="*/ 1807131 h 2380521"/>
              <a:gd name="connsiteX223" fmla="*/ 7356228 w 8023328"/>
              <a:gd name="connsiteY223" fmla="*/ 1793275 h 2380521"/>
              <a:gd name="connsiteX224" fmla="*/ 7370084 w 8023328"/>
              <a:gd name="connsiteY224" fmla="*/ 1780878 h 2380521"/>
              <a:gd name="connsiteX225" fmla="*/ 7294422 w 8023328"/>
              <a:gd name="connsiteY225" fmla="*/ 1780878 h 2380521"/>
              <a:gd name="connsiteX226" fmla="*/ 7308278 w 8023328"/>
              <a:gd name="connsiteY226" fmla="*/ 1793275 h 2380521"/>
              <a:gd name="connsiteX227" fmla="*/ 7294422 w 8023328"/>
              <a:gd name="connsiteY227" fmla="*/ 1807131 h 2380521"/>
              <a:gd name="connsiteX228" fmla="*/ 7282025 w 8023328"/>
              <a:gd name="connsiteY228" fmla="*/ 1793275 h 2380521"/>
              <a:gd name="connsiteX229" fmla="*/ 7294422 w 8023328"/>
              <a:gd name="connsiteY229" fmla="*/ 1780878 h 2380521"/>
              <a:gd name="connsiteX230" fmla="*/ 7654337 w 8023328"/>
              <a:gd name="connsiteY230" fmla="*/ 1710049 h 2380521"/>
              <a:gd name="connsiteX231" fmla="*/ 7669126 w 8023328"/>
              <a:gd name="connsiteY231" fmla="*/ 1722446 h 2380521"/>
              <a:gd name="connsiteX232" fmla="*/ 7654337 w 8023328"/>
              <a:gd name="connsiteY232" fmla="*/ 1736302 h 2380521"/>
              <a:gd name="connsiteX233" fmla="*/ 7639549 w 8023328"/>
              <a:gd name="connsiteY233" fmla="*/ 1722446 h 2380521"/>
              <a:gd name="connsiteX234" fmla="*/ 7654337 w 8023328"/>
              <a:gd name="connsiteY234" fmla="*/ 1710049 h 2380521"/>
              <a:gd name="connsiteX235" fmla="*/ 7583507 w 8023328"/>
              <a:gd name="connsiteY235" fmla="*/ 1710049 h 2380521"/>
              <a:gd name="connsiteX236" fmla="*/ 7598297 w 8023328"/>
              <a:gd name="connsiteY236" fmla="*/ 1722446 h 2380521"/>
              <a:gd name="connsiteX237" fmla="*/ 7583507 w 8023328"/>
              <a:gd name="connsiteY237" fmla="*/ 1736302 h 2380521"/>
              <a:gd name="connsiteX238" fmla="*/ 7568718 w 8023328"/>
              <a:gd name="connsiteY238" fmla="*/ 1722446 h 2380521"/>
              <a:gd name="connsiteX239" fmla="*/ 7583507 w 8023328"/>
              <a:gd name="connsiteY239" fmla="*/ 1710049 h 2380521"/>
              <a:gd name="connsiteX240" fmla="*/ 7511745 w 8023328"/>
              <a:gd name="connsiteY240" fmla="*/ 1710049 h 2380521"/>
              <a:gd name="connsiteX241" fmla="*/ 7524143 w 8023328"/>
              <a:gd name="connsiteY241" fmla="*/ 1722446 h 2380521"/>
              <a:gd name="connsiteX242" fmla="*/ 7511745 w 8023328"/>
              <a:gd name="connsiteY242" fmla="*/ 1736302 h 2380521"/>
              <a:gd name="connsiteX243" fmla="*/ 7497889 w 8023328"/>
              <a:gd name="connsiteY243" fmla="*/ 1722446 h 2380521"/>
              <a:gd name="connsiteX244" fmla="*/ 7511745 w 8023328"/>
              <a:gd name="connsiteY244" fmla="*/ 1710049 h 2380521"/>
              <a:gd name="connsiteX245" fmla="*/ 7440913 w 8023328"/>
              <a:gd name="connsiteY245" fmla="*/ 1710049 h 2380521"/>
              <a:gd name="connsiteX246" fmla="*/ 7453310 w 8023328"/>
              <a:gd name="connsiteY246" fmla="*/ 1722446 h 2380521"/>
              <a:gd name="connsiteX247" fmla="*/ 7440913 w 8023328"/>
              <a:gd name="connsiteY247" fmla="*/ 1736302 h 2380521"/>
              <a:gd name="connsiteX248" fmla="*/ 7427057 w 8023328"/>
              <a:gd name="connsiteY248" fmla="*/ 1722446 h 2380521"/>
              <a:gd name="connsiteX249" fmla="*/ 7440913 w 8023328"/>
              <a:gd name="connsiteY249" fmla="*/ 1710049 h 2380521"/>
              <a:gd name="connsiteX250" fmla="*/ 7370084 w 8023328"/>
              <a:gd name="connsiteY250" fmla="*/ 1710049 h 2380521"/>
              <a:gd name="connsiteX251" fmla="*/ 7382481 w 8023328"/>
              <a:gd name="connsiteY251" fmla="*/ 1722446 h 2380521"/>
              <a:gd name="connsiteX252" fmla="*/ 7370084 w 8023328"/>
              <a:gd name="connsiteY252" fmla="*/ 1736302 h 2380521"/>
              <a:gd name="connsiteX253" fmla="*/ 7356228 w 8023328"/>
              <a:gd name="connsiteY253" fmla="*/ 1722446 h 2380521"/>
              <a:gd name="connsiteX254" fmla="*/ 7370084 w 8023328"/>
              <a:gd name="connsiteY254" fmla="*/ 1710049 h 2380521"/>
              <a:gd name="connsiteX255" fmla="*/ 7294422 w 8023328"/>
              <a:gd name="connsiteY255" fmla="*/ 1710049 h 2380521"/>
              <a:gd name="connsiteX256" fmla="*/ 7308278 w 8023328"/>
              <a:gd name="connsiteY256" fmla="*/ 1722446 h 2380521"/>
              <a:gd name="connsiteX257" fmla="*/ 7294422 w 8023328"/>
              <a:gd name="connsiteY257" fmla="*/ 1736302 h 2380521"/>
              <a:gd name="connsiteX258" fmla="*/ 7282025 w 8023328"/>
              <a:gd name="connsiteY258" fmla="*/ 1722446 h 2380521"/>
              <a:gd name="connsiteX259" fmla="*/ 7294422 w 8023328"/>
              <a:gd name="connsiteY259" fmla="*/ 1710049 h 2380521"/>
              <a:gd name="connsiteX260" fmla="*/ 7223591 w 8023328"/>
              <a:gd name="connsiteY260" fmla="*/ 1710049 h 2380521"/>
              <a:gd name="connsiteX261" fmla="*/ 7237447 w 8023328"/>
              <a:gd name="connsiteY261" fmla="*/ 1722446 h 2380521"/>
              <a:gd name="connsiteX262" fmla="*/ 7223591 w 8023328"/>
              <a:gd name="connsiteY262" fmla="*/ 1736302 h 2380521"/>
              <a:gd name="connsiteX263" fmla="*/ 7211194 w 8023328"/>
              <a:gd name="connsiteY263" fmla="*/ 1722446 h 2380521"/>
              <a:gd name="connsiteX264" fmla="*/ 7223591 w 8023328"/>
              <a:gd name="connsiteY264" fmla="*/ 1710049 h 2380521"/>
              <a:gd name="connsiteX265" fmla="*/ 7583507 w 8023328"/>
              <a:gd name="connsiteY265" fmla="*/ 1639217 h 2380521"/>
              <a:gd name="connsiteX266" fmla="*/ 7598297 w 8023328"/>
              <a:gd name="connsiteY266" fmla="*/ 1651614 h 2380521"/>
              <a:gd name="connsiteX267" fmla="*/ 7583507 w 8023328"/>
              <a:gd name="connsiteY267" fmla="*/ 1665470 h 2380521"/>
              <a:gd name="connsiteX268" fmla="*/ 7568718 w 8023328"/>
              <a:gd name="connsiteY268" fmla="*/ 1651614 h 2380521"/>
              <a:gd name="connsiteX269" fmla="*/ 7583507 w 8023328"/>
              <a:gd name="connsiteY269" fmla="*/ 1639217 h 2380521"/>
              <a:gd name="connsiteX270" fmla="*/ 7511745 w 8023328"/>
              <a:gd name="connsiteY270" fmla="*/ 1639217 h 2380521"/>
              <a:gd name="connsiteX271" fmla="*/ 7524143 w 8023328"/>
              <a:gd name="connsiteY271" fmla="*/ 1651614 h 2380521"/>
              <a:gd name="connsiteX272" fmla="*/ 7511745 w 8023328"/>
              <a:gd name="connsiteY272" fmla="*/ 1665470 h 2380521"/>
              <a:gd name="connsiteX273" fmla="*/ 7497889 w 8023328"/>
              <a:gd name="connsiteY273" fmla="*/ 1651614 h 2380521"/>
              <a:gd name="connsiteX274" fmla="*/ 7511745 w 8023328"/>
              <a:gd name="connsiteY274" fmla="*/ 1639217 h 2380521"/>
              <a:gd name="connsiteX275" fmla="*/ 7440913 w 8023328"/>
              <a:gd name="connsiteY275" fmla="*/ 1639217 h 2380521"/>
              <a:gd name="connsiteX276" fmla="*/ 7453310 w 8023328"/>
              <a:gd name="connsiteY276" fmla="*/ 1651614 h 2380521"/>
              <a:gd name="connsiteX277" fmla="*/ 7440913 w 8023328"/>
              <a:gd name="connsiteY277" fmla="*/ 1665470 h 2380521"/>
              <a:gd name="connsiteX278" fmla="*/ 7427057 w 8023328"/>
              <a:gd name="connsiteY278" fmla="*/ 1651614 h 2380521"/>
              <a:gd name="connsiteX279" fmla="*/ 7440913 w 8023328"/>
              <a:gd name="connsiteY279" fmla="*/ 1639217 h 2380521"/>
              <a:gd name="connsiteX280" fmla="*/ 7370084 w 8023328"/>
              <a:gd name="connsiteY280" fmla="*/ 1639217 h 2380521"/>
              <a:gd name="connsiteX281" fmla="*/ 7382481 w 8023328"/>
              <a:gd name="connsiteY281" fmla="*/ 1651614 h 2380521"/>
              <a:gd name="connsiteX282" fmla="*/ 7370084 w 8023328"/>
              <a:gd name="connsiteY282" fmla="*/ 1665470 h 2380521"/>
              <a:gd name="connsiteX283" fmla="*/ 7356228 w 8023328"/>
              <a:gd name="connsiteY283" fmla="*/ 1651614 h 2380521"/>
              <a:gd name="connsiteX284" fmla="*/ 7370084 w 8023328"/>
              <a:gd name="connsiteY284" fmla="*/ 1639217 h 2380521"/>
              <a:gd name="connsiteX285" fmla="*/ 7294422 w 8023328"/>
              <a:gd name="connsiteY285" fmla="*/ 1639217 h 2380521"/>
              <a:gd name="connsiteX286" fmla="*/ 7308278 w 8023328"/>
              <a:gd name="connsiteY286" fmla="*/ 1651614 h 2380521"/>
              <a:gd name="connsiteX287" fmla="*/ 7294422 w 8023328"/>
              <a:gd name="connsiteY287" fmla="*/ 1665470 h 2380521"/>
              <a:gd name="connsiteX288" fmla="*/ 7282025 w 8023328"/>
              <a:gd name="connsiteY288" fmla="*/ 1651614 h 2380521"/>
              <a:gd name="connsiteX289" fmla="*/ 7294422 w 8023328"/>
              <a:gd name="connsiteY289" fmla="*/ 1639217 h 2380521"/>
              <a:gd name="connsiteX290" fmla="*/ 7223591 w 8023328"/>
              <a:gd name="connsiteY290" fmla="*/ 1639217 h 2380521"/>
              <a:gd name="connsiteX291" fmla="*/ 7237447 w 8023328"/>
              <a:gd name="connsiteY291" fmla="*/ 1651614 h 2380521"/>
              <a:gd name="connsiteX292" fmla="*/ 7223591 w 8023328"/>
              <a:gd name="connsiteY292" fmla="*/ 1665470 h 2380521"/>
              <a:gd name="connsiteX293" fmla="*/ 7211194 w 8023328"/>
              <a:gd name="connsiteY293" fmla="*/ 1651614 h 2380521"/>
              <a:gd name="connsiteX294" fmla="*/ 7223591 w 8023328"/>
              <a:gd name="connsiteY294" fmla="*/ 1639217 h 2380521"/>
              <a:gd name="connsiteX295" fmla="*/ 7152761 w 8023328"/>
              <a:gd name="connsiteY295" fmla="*/ 1639217 h 2380521"/>
              <a:gd name="connsiteX296" fmla="*/ 7166617 w 8023328"/>
              <a:gd name="connsiteY296" fmla="*/ 1651614 h 2380521"/>
              <a:gd name="connsiteX297" fmla="*/ 7152761 w 8023328"/>
              <a:gd name="connsiteY297" fmla="*/ 1665470 h 2380521"/>
              <a:gd name="connsiteX298" fmla="*/ 7140364 w 8023328"/>
              <a:gd name="connsiteY298" fmla="*/ 1651614 h 2380521"/>
              <a:gd name="connsiteX299" fmla="*/ 7152761 w 8023328"/>
              <a:gd name="connsiteY299" fmla="*/ 1639217 h 2380521"/>
              <a:gd name="connsiteX300" fmla="*/ 7511745 w 8023328"/>
              <a:gd name="connsiteY300" fmla="*/ 1568388 h 2380521"/>
              <a:gd name="connsiteX301" fmla="*/ 7524143 w 8023328"/>
              <a:gd name="connsiteY301" fmla="*/ 1583176 h 2380521"/>
              <a:gd name="connsiteX302" fmla="*/ 7511745 w 8023328"/>
              <a:gd name="connsiteY302" fmla="*/ 1597964 h 2380521"/>
              <a:gd name="connsiteX303" fmla="*/ 7497889 w 8023328"/>
              <a:gd name="connsiteY303" fmla="*/ 1583176 h 2380521"/>
              <a:gd name="connsiteX304" fmla="*/ 7511745 w 8023328"/>
              <a:gd name="connsiteY304" fmla="*/ 1568388 h 2380521"/>
              <a:gd name="connsiteX305" fmla="*/ 7440913 w 8023328"/>
              <a:gd name="connsiteY305" fmla="*/ 1568388 h 2380521"/>
              <a:gd name="connsiteX306" fmla="*/ 7453310 w 8023328"/>
              <a:gd name="connsiteY306" fmla="*/ 1583176 h 2380521"/>
              <a:gd name="connsiteX307" fmla="*/ 7440913 w 8023328"/>
              <a:gd name="connsiteY307" fmla="*/ 1597964 h 2380521"/>
              <a:gd name="connsiteX308" fmla="*/ 7427057 w 8023328"/>
              <a:gd name="connsiteY308" fmla="*/ 1583176 h 2380521"/>
              <a:gd name="connsiteX309" fmla="*/ 7440913 w 8023328"/>
              <a:gd name="connsiteY309" fmla="*/ 1568388 h 2380521"/>
              <a:gd name="connsiteX310" fmla="*/ 7370084 w 8023328"/>
              <a:gd name="connsiteY310" fmla="*/ 1568388 h 2380521"/>
              <a:gd name="connsiteX311" fmla="*/ 7382481 w 8023328"/>
              <a:gd name="connsiteY311" fmla="*/ 1583176 h 2380521"/>
              <a:gd name="connsiteX312" fmla="*/ 7370084 w 8023328"/>
              <a:gd name="connsiteY312" fmla="*/ 1597964 h 2380521"/>
              <a:gd name="connsiteX313" fmla="*/ 7356228 w 8023328"/>
              <a:gd name="connsiteY313" fmla="*/ 1583176 h 2380521"/>
              <a:gd name="connsiteX314" fmla="*/ 7370084 w 8023328"/>
              <a:gd name="connsiteY314" fmla="*/ 1568388 h 2380521"/>
              <a:gd name="connsiteX315" fmla="*/ 7294422 w 8023328"/>
              <a:gd name="connsiteY315" fmla="*/ 1568388 h 2380521"/>
              <a:gd name="connsiteX316" fmla="*/ 7308278 w 8023328"/>
              <a:gd name="connsiteY316" fmla="*/ 1583176 h 2380521"/>
              <a:gd name="connsiteX317" fmla="*/ 7294422 w 8023328"/>
              <a:gd name="connsiteY317" fmla="*/ 1597964 h 2380521"/>
              <a:gd name="connsiteX318" fmla="*/ 7282025 w 8023328"/>
              <a:gd name="connsiteY318" fmla="*/ 1583176 h 2380521"/>
              <a:gd name="connsiteX319" fmla="*/ 7294422 w 8023328"/>
              <a:gd name="connsiteY319" fmla="*/ 1568388 h 2380521"/>
              <a:gd name="connsiteX320" fmla="*/ 7223591 w 8023328"/>
              <a:gd name="connsiteY320" fmla="*/ 1568388 h 2380521"/>
              <a:gd name="connsiteX321" fmla="*/ 7237447 w 8023328"/>
              <a:gd name="connsiteY321" fmla="*/ 1583176 h 2380521"/>
              <a:gd name="connsiteX322" fmla="*/ 7223591 w 8023328"/>
              <a:gd name="connsiteY322" fmla="*/ 1597964 h 2380521"/>
              <a:gd name="connsiteX323" fmla="*/ 7211194 w 8023328"/>
              <a:gd name="connsiteY323" fmla="*/ 1583176 h 2380521"/>
              <a:gd name="connsiteX324" fmla="*/ 7223591 w 8023328"/>
              <a:gd name="connsiteY324" fmla="*/ 1568388 h 2380521"/>
              <a:gd name="connsiteX325" fmla="*/ 7152761 w 8023328"/>
              <a:gd name="connsiteY325" fmla="*/ 1568388 h 2380521"/>
              <a:gd name="connsiteX326" fmla="*/ 7166617 w 8023328"/>
              <a:gd name="connsiteY326" fmla="*/ 1580785 h 2380521"/>
              <a:gd name="connsiteX327" fmla="*/ 7152761 w 8023328"/>
              <a:gd name="connsiteY327" fmla="*/ 1594641 h 2380521"/>
              <a:gd name="connsiteX328" fmla="*/ 7140364 w 8023328"/>
              <a:gd name="connsiteY328" fmla="*/ 1580785 h 2380521"/>
              <a:gd name="connsiteX329" fmla="*/ 7152761 w 8023328"/>
              <a:gd name="connsiteY329" fmla="*/ 1568388 h 2380521"/>
              <a:gd name="connsiteX330" fmla="*/ 7084322 w 8023328"/>
              <a:gd name="connsiteY330" fmla="*/ 1568388 h 2380521"/>
              <a:gd name="connsiteX331" fmla="*/ 7099111 w 8023328"/>
              <a:gd name="connsiteY331" fmla="*/ 1580785 h 2380521"/>
              <a:gd name="connsiteX332" fmla="*/ 7084322 w 8023328"/>
              <a:gd name="connsiteY332" fmla="*/ 1594641 h 2380521"/>
              <a:gd name="connsiteX333" fmla="*/ 7069533 w 8023328"/>
              <a:gd name="connsiteY333" fmla="*/ 1580785 h 2380521"/>
              <a:gd name="connsiteX334" fmla="*/ 7084322 w 8023328"/>
              <a:gd name="connsiteY334" fmla="*/ 1568388 h 2380521"/>
              <a:gd name="connsiteX335" fmla="*/ 7440913 w 8023328"/>
              <a:gd name="connsiteY335" fmla="*/ 1494185 h 2380521"/>
              <a:gd name="connsiteX336" fmla="*/ 7453310 w 8023328"/>
              <a:gd name="connsiteY336" fmla="*/ 1508973 h 2380521"/>
              <a:gd name="connsiteX337" fmla="*/ 7440913 w 8023328"/>
              <a:gd name="connsiteY337" fmla="*/ 1523761 h 2380521"/>
              <a:gd name="connsiteX338" fmla="*/ 7427057 w 8023328"/>
              <a:gd name="connsiteY338" fmla="*/ 1508973 h 2380521"/>
              <a:gd name="connsiteX339" fmla="*/ 7440913 w 8023328"/>
              <a:gd name="connsiteY339" fmla="*/ 1494185 h 2380521"/>
              <a:gd name="connsiteX340" fmla="*/ 7370084 w 8023328"/>
              <a:gd name="connsiteY340" fmla="*/ 1494185 h 2380521"/>
              <a:gd name="connsiteX341" fmla="*/ 7382481 w 8023328"/>
              <a:gd name="connsiteY341" fmla="*/ 1508973 h 2380521"/>
              <a:gd name="connsiteX342" fmla="*/ 7370084 w 8023328"/>
              <a:gd name="connsiteY342" fmla="*/ 1523761 h 2380521"/>
              <a:gd name="connsiteX343" fmla="*/ 7356228 w 8023328"/>
              <a:gd name="connsiteY343" fmla="*/ 1508973 h 2380521"/>
              <a:gd name="connsiteX344" fmla="*/ 7370084 w 8023328"/>
              <a:gd name="connsiteY344" fmla="*/ 1494185 h 2380521"/>
              <a:gd name="connsiteX345" fmla="*/ 7294422 w 8023328"/>
              <a:gd name="connsiteY345" fmla="*/ 1494185 h 2380521"/>
              <a:gd name="connsiteX346" fmla="*/ 7308278 w 8023328"/>
              <a:gd name="connsiteY346" fmla="*/ 1508973 h 2380521"/>
              <a:gd name="connsiteX347" fmla="*/ 7294422 w 8023328"/>
              <a:gd name="connsiteY347" fmla="*/ 1523761 h 2380521"/>
              <a:gd name="connsiteX348" fmla="*/ 7282025 w 8023328"/>
              <a:gd name="connsiteY348" fmla="*/ 1508973 h 2380521"/>
              <a:gd name="connsiteX349" fmla="*/ 7294422 w 8023328"/>
              <a:gd name="connsiteY349" fmla="*/ 1494185 h 2380521"/>
              <a:gd name="connsiteX350" fmla="*/ 7223591 w 8023328"/>
              <a:gd name="connsiteY350" fmla="*/ 1494185 h 2380521"/>
              <a:gd name="connsiteX351" fmla="*/ 7237447 w 8023328"/>
              <a:gd name="connsiteY351" fmla="*/ 1508973 h 2380521"/>
              <a:gd name="connsiteX352" fmla="*/ 7223591 w 8023328"/>
              <a:gd name="connsiteY352" fmla="*/ 1523761 h 2380521"/>
              <a:gd name="connsiteX353" fmla="*/ 7211194 w 8023328"/>
              <a:gd name="connsiteY353" fmla="*/ 1508973 h 2380521"/>
              <a:gd name="connsiteX354" fmla="*/ 7223591 w 8023328"/>
              <a:gd name="connsiteY354" fmla="*/ 1494185 h 2380521"/>
              <a:gd name="connsiteX355" fmla="*/ 7152761 w 8023328"/>
              <a:gd name="connsiteY355" fmla="*/ 1494185 h 2380521"/>
              <a:gd name="connsiteX356" fmla="*/ 7166617 w 8023328"/>
              <a:gd name="connsiteY356" fmla="*/ 1508973 h 2380521"/>
              <a:gd name="connsiteX357" fmla="*/ 7152761 w 8023328"/>
              <a:gd name="connsiteY357" fmla="*/ 1523761 h 2380521"/>
              <a:gd name="connsiteX358" fmla="*/ 7140364 w 8023328"/>
              <a:gd name="connsiteY358" fmla="*/ 1508973 h 2380521"/>
              <a:gd name="connsiteX359" fmla="*/ 7152761 w 8023328"/>
              <a:gd name="connsiteY359" fmla="*/ 1494185 h 2380521"/>
              <a:gd name="connsiteX360" fmla="*/ 7084322 w 8023328"/>
              <a:gd name="connsiteY360" fmla="*/ 1494185 h 2380521"/>
              <a:gd name="connsiteX361" fmla="*/ 7099111 w 8023328"/>
              <a:gd name="connsiteY361" fmla="*/ 1508973 h 2380521"/>
              <a:gd name="connsiteX362" fmla="*/ 7084322 w 8023328"/>
              <a:gd name="connsiteY362" fmla="*/ 1523761 h 2380521"/>
              <a:gd name="connsiteX363" fmla="*/ 7069533 w 8023328"/>
              <a:gd name="connsiteY363" fmla="*/ 1508973 h 2380521"/>
              <a:gd name="connsiteX364" fmla="*/ 7084322 w 8023328"/>
              <a:gd name="connsiteY364" fmla="*/ 1494185 h 2380521"/>
              <a:gd name="connsiteX365" fmla="*/ 7013492 w 8023328"/>
              <a:gd name="connsiteY365" fmla="*/ 1494185 h 2380521"/>
              <a:gd name="connsiteX366" fmla="*/ 7028280 w 8023328"/>
              <a:gd name="connsiteY366" fmla="*/ 1508973 h 2380521"/>
              <a:gd name="connsiteX367" fmla="*/ 7013492 w 8023328"/>
              <a:gd name="connsiteY367" fmla="*/ 1523761 h 2380521"/>
              <a:gd name="connsiteX368" fmla="*/ 6998704 w 8023328"/>
              <a:gd name="connsiteY368" fmla="*/ 1508973 h 2380521"/>
              <a:gd name="connsiteX369" fmla="*/ 7013492 w 8023328"/>
              <a:gd name="connsiteY369" fmla="*/ 1494185 h 2380521"/>
              <a:gd name="connsiteX370" fmla="*/ 6939085 w 8023328"/>
              <a:gd name="connsiteY370" fmla="*/ 1494185 h 2380521"/>
              <a:gd name="connsiteX371" fmla="*/ 6950753 w 8023328"/>
              <a:gd name="connsiteY371" fmla="*/ 1508973 h 2380521"/>
              <a:gd name="connsiteX372" fmla="*/ 6939085 w 8023328"/>
              <a:gd name="connsiteY372" fmla="*/ 1523761 h 2380521"/>
              <a:gd name="connsiteX373" fmla="*/ 6924500 w 8023328"/>
              <a:gd name="connsiteY373" fmla="*/ 1508973 h 2380521"/>
              <a:gd name="connsiteX374" fmla="*/ 6939085 w 8023328"/>
              <a:gd name="connsiteY374" fmla="*/ 1494185 h 2380521"/>
              <a:gd name="connsiteX375" fmla="*/ 83229 w 8023328"/>
              <a:gd name="connsiteY375" fmla="*/ 1426727 h 2380521"/>
              <a:gd name="connsiteX376" fmla="*/ 97085 w 8023328"/>
              <a:gd name="connsiteY376" fmla="*/ 1439124 h 2380521"/>
              <a:gd name="connsiteX377" fmla="*/ 83229 w 8023328"/>
              <a:gd name="connsiteY377" fmla="*/ 1452980 h 2380521"/>
              <a:gd name="connsiteX378" fmla="*/ 70831 w 8023328"/>
              <a:gd name="connsiteY378" fmla="*/ 1439124 h 2380521"/>
              <a:gd name="connsiteX379" fmla="*/ 83229 w 8023328"/>
              <a:gd name="connsiteY379" fmla="*/ 1426727 h 2380521"/>
              <a:gd name="connsiteX380" fmla="*/ 11993 w 8023328"/>
              <a:gd name="connsiteY380" fmla="*/ 1426727 h 2380521"/>
              <a:gd name="connsiteX381" fmla="*/ 26234 w 8023328"/>
              <a:gd name="connsiteY381" fmla="*/ 1439124 h 2380521"/>
              <a:gd name="connsiteX382" fmla="*/ 11993 w 8023328"/>
              <a:gd name="connsiteY382" fmla="*/ 1452980 h 2380521"/>
              <a:gd name="connsiteX383" fmla="*/ 0 w 8023328"/>
              <a:gd name="connsiteY383" fmla="*/ 1439124 h 2380521"/>
              <a:gd name="connsiteX384" fmla="*/ 11993 w 8023328"/>
              <a:gd name="connsiteY384" fmla="*/ 1426727 h 2380521"/>
              <a:gd name="connsiteX385" fmla="*/ 7370084 w 8023328"/>
              <a:gd name="connsiteY385" fmla="*/ 1423353 h 2380521"/>
              <a:gd name="connsiteX386" fmla="*/ 7382481 w 8023328"/>
              <a:gd name="connsiteY386" fmla="*/ 1438142 h 2380521"/>
              <a:gd name="connsiteX387" fmla="*/ 7370084 w 8023328"/>
              <a:gd name="connsiteY387" fmla="*/ 1452931 h 2380521"/>
              <a:gd name="connsiteX388" fmla="*/ 7356228 w 8023328"/>
              <a:gd name="connsiteY388" fmla="*/ 1438142 h 2380521"/>
              <a:gd name="connsiteX389" fmla="*/ 7370084 w 8023328"/>
              <a:gd name="connsiteY389" fmla="*/ 1423353 h 2380521"/>
              <a:gd name="connsiteX390" fmla="*/ 7294422 w 8023328"/>
              <a:gd name="connsiteY390" fmla="*/ 1423353 h 2380521"/>
              <a:gd name="connsiteX391" fmla="*/ 7308278 w 8023328"/>
              <a:gd name="connsiteY391" fmla="*/ 1438142 h 2380521"/>
              <a:gd name="connsiteX392" fmla="*/ 7294422 w 8023328"/>
              <a:gd name="connsiteY392" fmla="*/ 1452931 h 2380521"/>
              <a:gd name="connsiteX393" fmla="*/ 7282025 w 8023328"/>
              <a:gd name="connsiteY393" fmla="*/ 1438142 h 2380521"/>
              <a:gd name="connsiteX394" fmla="*/ 7294422 w 8023328"/>
              <a:gd name="connsiteY394" fmla="*/ 1423353 h 2380521"/>
              <a:gd name="connsiteX395" fmla="*/ 7223591 w 8023328"/>
              <a:gd name="connsiteY395" fmla="*/ 1423353 h 2380521"/>
              <a:gd name="connsiteX396" fmla="*/ 7237447 w 8023328"/>
              <a:gd name="connsiteY396" fmla="*/ 1438142 h 2380521"/>
              <a:gd name="connsiteX397" fmla="*/ 7223591 w 8023328"/>
              <a:gd name="connsiteY397" fmla="*/ 1452931 h 2380521"/>
              <a:gd name="connsiteX398" fmla="*/ 7211194 w 8023328"/>
              <a:gd name="connsiteY398" fmla="*/ 1438142 h 2380521"/>
              <a:gd name="connsiteX399" fmla="*/ 7223591 w 8023328"/>
              <a:gd name="connsiteY399" fmla="*/ 1423353 h 2380521"/>
              <a:gd name="connsiteX400" fmla="*/ 7155152 w 8023328"/>
              <a:gd name="connsiteY400" fmla="*/ 1423353 h 2380521"/>
              <a:gd name="connsiteX401" fmla="*/ 7169940 w 8023328"/>
              <a:gd name="connsiteY401" fmla="*/ 1438142 h 2380521"/>
              <a:gd name="connsiteX402" fmla="*/ 7155152 w 8023328"/>
              <a:gd name="connsiteY402" fmla="*/ 1452931 h 2380521"/>
              <a:gd name="connsiteX403" fmla="*/ 7141920 w 8023328"/>
              <a:gd name="connsiteY403" fmla="*/ 1438142 h 2380521"/>
              <a:gd name="connsiteX404" fmla="*/ 7155152 w 8023328"/>
              <a:gd name="connsiteY404" fmla="*/ 1423353 h 2380521"/>
              <a:gd name="connsiteX405" fmla="*/ 7084322 w 8023328"/>
              <a:gd name="connsiteY405" fmla="*/ 1423353 h 2380521"/>
              <a:gd name="connsiteX406" fmla="*/ 7099111 w 8023328"/>
              <a:gd name="connsiteY406" fmla="*/ 1438142 h 2380521"/>
              <a:gd name="connsiteX407" fmla="*/ 7084322 w 8023328"/>
              <a:gd name="connsiteY407" fmla="*/ 1452931 h 2380521"/>
              <a:gd name="connsiteX408" fmla="*/ 7069533 w 8023328"/>
              <a:gd name="connsiteY408" fmla="*/ 1438142 h 2380521"/>
              <a:gd name="connsiteX409" fmla="*/ 7084322 w 8023328"/>
              <a:gd name="connsiteY409" fmla="*/ 1423353 h 2380521"/>
              <a:gd name="connsiteX410" fmla="*/ 7013492 w 8023328"/>
              <a:gd name="connsiteY410" fmla="*/ 1423353 h 2380521"/>
              <a:gd name="connsiteX411" fmla="*/ 7028280 w 8023328"/>
              <a:gd name="connsiteY411" fmla="*/ 1438142 h 2380521"/>
              <a:gd name="connsiteX412" fmla="*/ 7013492 w 8023328"/>
              <a:gd name="connsiteY412" fmla="*/ 1452931 h 2380521"/>
              <a:gd name="connsiteX413" fmla="*/ 6998704 w 8023328"/>
              <a:gd name="connsiteY413" fmla="*/ 1438142 h 2380521"/>
              <a:gd name="connsiteX414" fmla="*/ 7013492 w 8023328"/>
              <a:gd name="connsiteY414" fmla="*/ 1423353 h 2380521"/>
              <a:gd name="connsiteX415" fmla="*/ 6939085 w 8023328"/>
              <a:gd name="connsiteY415" fmla="*/ 1423353 h 2380521"/>
              <a:gd name="connsiteX416" fmla="*/ 6950753 w 8023328"/>
              <a:gd name="connsiteY416" fmla="*/ 1438142 h 2380521"/>
              <a:gd name="connsiteX417" fmla="*/ 6939085 w 8023328"/>
              <a:gd name="connsiteY417" fmla="*/ 1452931 h 2380521"/>
              <a:gd name="connsiteX418" fmla="*/ 6924500 w 8023328"/>
              <a:gd name="connsiteY418" fmla="*/ 1438142 h 2380521"/>
              <a:gd name="connsiteX419" fmla="*/ 6939085 w 8023328"/>
              <a:gd name="connsiteY419" fmla="*/ 1423353 h 2380521"/>
              <a:gd name="connsiteX420" fmla="*/ 6867525 w 8023328"/>
              <a:gd name="connsiteY420" fmla="*/ 1423353 h 2380521"/>
              <a:gd name="connsiteX421" fmla="*/ 6879922 w 8023328"/>
              <a:gd name="connsiteY421" fmla="*/ 1438142 h 2380521"/>
              <a:gd name="connsiteX422" fmla="*/ 6867525 w 8023328"/>
              <a:gd name="connsiteY422" fmla="*/ 1452931 h 2380521"/>
              <a:gd name="connsiteX423" fmla="*/ 6853669 w 8023328"/>
              <a:gd name="connsiteY423" fmla="*/ 1438142 h 2380521"/>
              <a:gd name="connsiteX424" fmla="*/ 6867525 w 8023328"/>
              <a:gd name="connsiteY424" fmla="*/ 1423353 h 2380521"/>
              <a:gd name="connsiteX425" fmla="*/ 6796696 w 8023328"/>
              <a:gd name="connsiteY425" fmla="*/ 1423353 h 2380521"/>
              <a:gd name="connsiteX426" fmla="*/ 6809093 w 8023328"/>
              <a:gd name="connsiteY426" fmla="*/ 1438142 h 2380521"/>
              <a:gd name="connsiteX427" fmla="*/ 6796696 w 8023328"/>
              <a:gd name="connsiteY427" fmla="*/ 1452931 h 2380521"/>
              <a:gd name="connsiteX428" fmla="*/ 6782840 w 8023328"/>
              <a:gd name="connsiteY428" fmla="*/ 1438142 h 2380521"/>
              <a:gd name="connsiteX429" fmla="*/ 6796696 w 8023328"/>
              <a:gd name="connsiteY429" fmla="*/ 1423353 h 2380521"/>
              <a:gd name="connsiteX430" fmla="*/ 155518 w 8023328"/>
              <a:gd name="connsiteY430" fmla="*/ 1355896 h 2380521"/>
              <a:gd name="connsiteX431" fmla="*/ 167916 w 8023328"/>
              <a:gd name="connsiteY431" fmla="*/ 1368293 h 2380521"/>
              <a:gd name="connsiteX432" fmla="*/ 155518 w 8023328"/>
              <a:gd name="connsiteY432" fmla="*/ 1382149 h 2380521"/>
              <a:gd name="connsiteX433" fmla="*/ 141662 w 8023328"/>
              <a:gd name="connsiteY433" fmla="*/ 1368293 h 2380521"/>
              <a:gd name="connsiteX434" fmla="*/ 155518 w 8023328"/>
              <a:gd name="connsiteY434" fmla="*/ 1355896 h 2380521"/>
              <a:gd name="connsiteX435" fmla="*/ 83230 w 8023328"/>
              <a:gd name="connsiteY435" fmla="*/ 1355896 h 2380521"/>
              <a:gd name="connsiteX436" fmla="*/ 97086 w 8023328"/>
              <a:gd name="connsiteY436" fmla="*/ 1368293 h 2380521"/>
              <a:gd name="connsiteX437" fmla="*/ 83230 w 8023328"/>
              <a:gd name="connsiteY437" fmla="*/ 1382149 h 2380521"/>
              <a:gd name="connsiteX438" fmla="*/ 70832 w 8023328"/>
              <a:gd name="connsiteY438" fmla="*/ 1368293 h 2380521"/>
              <a:gd name="connsiteX439" fmla="*/ 83230 w 8023328"/>
              <a:gd name="connsiteY439" fmla="*/ 1355896 h 2380521"/>
              <a:gd name="connsiteX440" fmla="*/ 11994 w 8023328"/>
              <a:gd name="connsiteY440" fmla="*/ 1355896 h 2380521"/>
              <a:gd name="connsiteX441" fmla="*/ 26235 w 8023328"/>
              <a:gd name="connsiteY441" fmla="*/ 1368293 h 2380521"/>
              <a:gd name="connsiteX442" fmla="*/ 11994 w 8023328"/>
              <a:gd name="connsiteY442" fmla="*/ 1382149 h 2380521"/>
              <a:gd name="connsiteX443" fmla="*/ 2 w 8023328"/>
              <a:gd name="connsiteY443" fmla="*/ 1368293 h 2380521"/>
              <a:gd name="connsiteX444" fmla="*/ 11994 w 8023328"/>
              <a:gd name="connsiteY444" fmla="*/ 1355896 h 2380521"/>
              <a:gd name="connsiteX445" fmla="*/ 7294422 w 8023328"/>
              <a:gd name="connsiteY445" fmla="*/ 1352524 h 2380521"/>
              <a:gd name="connsiteX446" fmla="*/ 7308278 w 8023328"/>
              <a:gd name="connsiteY446" fmla="*/ 1367109 h 2380521"/>
              <a:gd name="connsiteX447" fmla="*/ 7294422 w 8023328"/>
              <a:gd name="connsiteY447" fmla="*/ 1378777 h 2380521"/>
              <a:gd name="connsiteX448" fmla="*/ 7282025 w 8023328"/>
              <a:gd name="connsiteY448" fmla="*/ 1367109 h 2380521"/>
              <a:gd name="connsiteX449" fmla="*/ 7294422 w 8023328"/>
              <a:gd name="connsiteY449" fmla="*/ 1352524 h 2380521"/>
              <a:gd name="connsiteX450" fmla="*/ 7223591 w 8023328"/>
              <a:gd name="connsiteY450" fmla="*/ 1352524 h 2380521"/>
              <a:gd name="connsiteX451" fmla="*/ 7237447 w 8023328"/>
              <a:gd name="connsiteY451" fmla="*/ 1367109 h 2380521"/>
              <a:gd name="connsiteX452" fmla="*/ 7223591 w 8023328"/>
              <a:gd name="connsiteY452" fmla="*/ 1378777 h 2380521"/>
              <a:gd name="connsiteX453" fmla="*/ 7211194 w 8023328"/>
              <a:gd name="connsiteY453" fmla="*/ 1367109 h 2380521"/>
              <a:gd name="connsiteX454" fmla="*/ 7223591 w 8023328"/>
              <a:gd name="connsiteY454" fmla="*/ 1352524 h 2380521"/>
              <a:gd name="connsiteX455" fmla="*/ 7155152 w 8023328"/>
              <a:gd name="connsiteY455" fmla="*/ 1352524 h 2380521"/>
              <a:gd name="connsiteX456" fmla="*/ 7169940 w 8023328"/>
              <a:gd name="connsiteY456" fmla="*/ 1367109 h 2380521"/>
              <a:gd name="connsiteX457" fmla="*/ 7155152 w 8023328"/>
              <a:gd name="connsiteY457" fmla="*/ 1378777 h 2380521"/>
              <a:gd name="connsiteX458" fmla="*/ 7140364 w 8023328"/>
              <a:gd name="connsiteY458" fmla="*/ 1367109 h 2380521"/>
              <a:gd name="connsiteX459" fmla="*/ 7155152 w 8023328"/>
              <a:gd name="connsiteY459" fmla="*/ 1352524 h 2380521"/>
              <a:gd name="connsiteX460" fmla="*/ 7084322 w 8023328"/>
              <a:gd name="connsiteY460" fmla="*/ 1352524 h 2380521"/>
              <a:gd name="connsiteX461" fmla="*/ 7099111 w 8023328"/>
              <a:gd name="connsiteY461" fmla="*/ 1367109 h 2380521"/>
              <a:gd name="connsiteX462" fmla="*/ 7084322 w 8023328"/>
              <a:gd name="connsiteY462" fmla="*/ 1378777 h 2380521"/>
              <a:gd name="connsiteX463" fmla="*/ 7069533 w 8023328"/>
              <a:gd name="connsiteY463" fmla="*/ 1367109 h 2380521"/>
              <a:gd name="connsiteX464" fmla="*/ 7084322 w 8023328"/>
              <a:gd name="connsiteY464" fmla="*/ 1352524 h 2380521"/>
              <a:gd name="connsiteX465" fmla="*/ 7013492 w 8023328"/>
              <a:gd name="connsiteY465" fmla="*/ 1352524 h 2380521"/>
              <a:gd name="connsiteX466" fmla="*/ 7028280 w 8023328"/>
              <a:gd name="connsiteY466" fmla="*/ 1367109 h 2380521"/>
              <a:gd name="connsiteX467" fmla="*/ 7013492 w 8023328"/>
              <a:gd name="connsiteY467" fmla="*/ 1378777 h 2380521"/>
              <a:gd name="connsiteX468" fmla="*/ 6998704 w 8023328"/>
              <a:gd name="connsiteY468" fmla="*/ 1367109 h 2380521"/>
              <a:gd name="connsiteX469" fmla="*/ 7013492 w 8023328"/>
              <a:gd name="connsiteY469" fmla="*/ 1352524 h 2380521"/>
              <a:gd name="connsiteX470" fmla="*/ 6939085 w 8023328"/>
              <a:gd name="connsiteY470" fmla="*/ 1352524 h 2380521"/>
              <a:gd name="connsiteX471" fmla="*/ 6950753 w 8023328"/>
              <a:gd name="connsiteY471" fmla="*/ 1367701 h 2380521"/>
              <a:gd name="connsiteX472" fmla="*/ 6939085 w 8023328"/>
              <a:gd name="connsiteY472" fmla="*/ 1382120 h 2380521"/>
              <a:gd name="connsiteX473" fmla="*/ 6924500 w 8023328"/>
              <a:gd name="connsiteY473" fmla="*/ 1367701 h 2380521"/>
              <a:gd name="connsiteX474" fmla="*/ 6939085 w 8023328"/>
              <a:gd name="connsiteY474" fmla="*/ 1352524 h 2380521"/>
              <a:gd name="connsiteX475" fmla="*/ 6867525 w 8023328"/>
              <a:gd name="connsiteY475" fmla="*/ 1352524 h 2380521"/>
              <a:gd name="connsiteX476" fmla="*/ 6879922 w 8023328"/>
              <a:gd name="connsiteY476" fmla="*/ 1367701 h 2380521"/>
              <a:gd name="connsiteX477" fmla="*/ 6867525 w 8023328"/>
              <a:gd name="connsiteY477" fmla="*/ 1382120 h 2380521"/>
              <a:gd name="connsiteX478" fmla="*/ 6853669 w 8023328"/>
              <a:gd name="connsiteY478" fmla="*/ 1367701 h 2380521"/>
              <a:gd name="connsiteX479" fmla="*/ 6867525 w 8023328"/>
              <a:gd name="connsiteY479" fmla="*/ 1352524 h 2380521"/>
              <a:gd name="connsiteX480" fmla="*/ 6796696 w 8023328"/>
              <a:gd name="connsiteY480" fmla="*/ 1352524 h 2380521"/>
              <a:gd name="connsiteX481" fmla="*/ 6809093 w 8023328"/>
              <a:gd name="connsiteY481" fmla="*/ 1367701 h 2380521"/>
              <a:gd name="connsiteX482" fmla="*/ 6796696 w 8023328"/>
              <a:gd name="connsiteY482" fmla="*/ 1382120 h 2380521"/>
              <a:gd name="connsiteX483" fmla="*/ 6782840 w 8023328"/>
              <a:gd name="connsiteY483" fmla="*/ 1367701 h 2380521"/>
              <a:gd name="connsiteX484" fmla="*/ 6796696 w 8023328"/>
              <a:gd name="connsiteY484" fmla="*/ 1352524 h 2380521"/>
              <a:gd name="connsiteX485" fmla="*/ 6724405 w 8023328"/>
              <a:gd name="connsiteY485" fmla="*/ 1352524 h 2380521"/>
              <a:gd name="connsiteX486" fmla="*/ 6738261 w 8023328"/>
              <a:gd name="connsiteY486" fmla="*/ 1367701 h 2380521"/>
              <a:gd name="connsiteX487" fmla="*/ 6724405 w 8023328"/>
              <a:gd name="connsiteY487" fmla="*/ 1382120 h 2380521"/>
              <a:gd name="connsiteX488" fmla="*/ 6712008 w 8023328"/>
              <a:gd name="connsiteY488" fmla="*/ 1367701 h 2380521"/>
              <a:gd name="connsiteX489" fmla="*/ 6724405 w 8023328"/>
              <a:gd name="connsiteY489" fmla="*/ 1352524 h 2380521"/>
              <a:gd name="connsiteX490" fmla="*/ 6653576 w 8023328"/>
              <a:gd name="connsiteY490" fmla="*/ 1352524 h 2380521"/>
              <a:gd name="connsiteX491" fmla="*/ 6667432 w 8023328"/>
              <a:gd name="connsiteY491" fmla="*/ 1367701 h 2380521"/>
              <a:gd name="connsiteX492" fmla="*/ 6653576 w 8023328"/>
              <a:gd name="connsiteY492" fmla="*/ 1382120 h 2380521"/>
              <a:gd name="connsiteX493" fmla="*/ 6641179 w 8023328"/>
              <a:gd name="connsiteY493" fmla="*/ 1367701 h 2380521"/>
              <a:gd name="connsiteX494" fmla="*/ 6653576 w 8023328"/>
              <a:gd name="connsiteY494" fmla="*/ 1352524 h 2380521"/>
              <a:gd name="connsiteX495" fmla="*/ 7223591 w 8023328"/>
              <a:gd name="connsiteY495" fmla="*/ 1281693 h 2380521"/>
              <a:gd name="connsiteX496" fmla="*/ 7237447 w 8023328"/>
              <a:gd name="connsiteY496" fmla="*/ 1295549 h 2380521"/>
              <a:gd name="connsiteX497" fmla="*/ 7223591 w 8023328"/>
              <a:gd name="connsiteY497" fmla="*/ 1307946 h 2380521"/>
              <a:gd name="connsiteX498" fmla="*/ 7211194 w 8023328"/>
              <a:gd name="connsiteY498" fmla="*/ 1295549 h 2380521"/>
              <a:gd name="connsiteX499" fmla="*/ 7223591 w 8023328"/>
              <a:gd name="connsiteY499" fmla="*/ 1281693 h 2380521"/>
              <a:gd name="connsiteX500" fmla="*/ 7155152 w 8023328"/>
              <a:gd name="connsiteY500" fmla="*/ 1281693 h 2380521"/>
              <a:gd name="connsiteX501" fmla="*/ 7169940 w 8023328"/>
              <a:gd name="connsiteY501" fmla="*/ 1295549 h 2380521"/>
              <a:gd name="connsiteX502" fmla="*/ 7155152 w 8023328"/>
              <a:gd name="connsiteY502" fmla="*/ 1307946 h 2380521"/>
              <a:gd name="connsiteX503" fmla="*/ 7140364 w 8023328"/>
              <a:gd name="connsiteY503" fmla="*/ 1295549 h 2380521"/>
              <a:gd name="connsiteX504" fmla="*/ 7155152 w 8023328"/>
              <a:gd name="connsiteY504" fmla="*/ 1281693 h 2380521"/>
              <a:gd name="connsiteX505" fmla="*/ 7084322 w 8023328"/>
              <a:gd name="connsiteY505" fmla="*/ 1281693 h 2380521"/>
              <a:gd name="connsiteX506" fmla="*/ 7099111 w 8023328"/>
              <a:gd name="connsiteY506" fmla="*/ 1295549 h 2380521"/>
              <a:gd name="connsiteX507" fmla="*/ 7084322 w 8023328"/>
              <a:gd name="connsiteY507" fmla="*/ 1307946 h 2380521"/>
              <a:gd name="connsiteX508" fmla="*/ 7069533 w 8023328"/>
              <a:gd name="connsiteY508" fmla="*/ 1295549 h 2380521"/>
              <a:gd name="connsiteX509" fmla="*/ 7084322 w 8023328"/>
              <a:gd name="connsiteY509" fmla="*/ 1281693 h 2380521"/>
              <a:gd name="connsiteX510" fmla="*/ 7013492 w 8023328"/>
              <a:gd name="connsiteY510" fmla="*/ 1281693 h 2380521"/>
              <a:gd name="connsiteX511" fmla="*/ 7028280 w 8023328"/>
              <a:gd name="connsiteY511" fmla="*/ 1295549 h 2380521"/>
              <a:gd name="connsiteX512" fmla="*/ 7013492 w 8023328"/>
              <a:gd name="connsiteY512" fmla="*/ 1307946 h 2380521"/>
              <a:gd name="connsiteX513" fmla="*/ 6998704 w 8023328"/>
              <a:gd name="connsiteY513" fmla="*/ 1295549 h 2380521"/>
              <a:gd name="connsiteX514" fmla="*/ 7013492 w 8023328"/>
              <a:gd name="connsiteY514" fmla="*/ 1281693 h 2380521"/>
              <a:gd name="connsiteX515" fmla="*/ 6939085 w 8023328"/>
              <a:gd name="connsiteY515" fmla="*/ 1281693 h 2380521"/>
              <a:gd name="connsiteX516" fmla="*/ 6950753 w 8023328"/>
              <a:gd name="connsiteY516" fmla="*/ 1295549 h 2380521"/>
              <a:gd name="connsiteX517" fmla="*/ 6939085 w 8023328"/>
              <a:gd name="connsiteY517" fmla="*/ 1307946 h 2380521"/>
              <a:gd name="connsiteX518" fmla="*/ 6924500 w 8023328"/>
              <a:gd name="connsiteY518" fmla="*/ 1295549 h 2380521"/>
              <a:gd name="connsiteX519" fmla="*/ 6939085 w 8023328"/>
              <a:gd name="connsiteY519" fmla="*/ 1281693 h 2380521"/>
              <a:gd name="connsiteX520" fmla="*/ 6867525 w 8023328"/>
              <a:gd name="connsiteY520" fmla="*/ 1281693 h 2380521"/>
              <a:gd name="connsiteX521" fmla="*/ 6879922 w 8023328"/>
              <a:gd name="connsiteY521" fmla="*/ 1295549 h 2380521"/>
              <a:gd name="connsiteX522" fmla="*/ 6867525 w 8023328"/>
              <a:gd name="connsiteY522" fmla="*/ 1307946 h 2380521"/>
              <a:gd name="connsiteX523" fmla="*/ 6853669 w 8023328"/>
              <a:gd name="connsiteY523" fmla="*/ 1295549 h 2380521"/>
              <a:gd name="connsiteX524" fmla="*/ 6867525 w 8023328"/>
              <a:gd name="connsiteY524" fmla="*/ 1281693 h 2380521"/>
              <a:gd name="connsiteX525" fmla="*/ 6796696 w 8023328"/>
              <a:gd name="connsiteY525" fmla="*/ 1281693 h 2380521"/>
              <a:gd name="connsiteX526" fmla="*/ 6809093 w 8023328"/>
              <a:gd name="connsiteY526" fmla="*/ 1295549 h 2380521"/>
              <a:gd name="connsiteX527" fmla="*/ 6796696 w 8023328"/>
              <a:gd name="connsiteY527" fmla="*/ 1307946 h 2380521"/>
              <a:gd name="connsiteX528" fmla="*/ 6782840 w 8023328"/>
              <a:gd name="connsiteY528" fmla="*/ 1295549 h 2380521"/>
              <a:gd name="connsiteX529" fmla="*/ 6796696 w 8023328"/>
              <a:gd name="connsiteY529" fmla="*/ 1281693 h 2380521"/>
              <a:gd name="connsiteX530" fmla="*/ 6724405 w 8023328"/>
              <a:gd name="connsiteY530" fmla="*/ 1281693 h 2380521"/>
              <a:gd name="connsiteX531" fmla="*/ 6738261 w 8023328"/>
              <a:gd name="connsiteY531" fmla="*/ 1295549 h 2380521"/>
              <a:gd name="connsiteX532" fmla="*/ 6724405 w 8023328"/>
              <a:gd name="connsiteY532" fmla="*/ 1307946 h 2380521"/>
              <a:gd name="connsiteX533" fmla="*/ 6712008 w 8023328"/>
              <a:gd name="connsiteY533" fmla="*/ 1295549 h 2380521"/>
              <a:gd name="connsiteX534" fmla="*/ 6724405 w 8023328"/>
              <a:gd name="connsiteY534" fmla="*/ 1281693 h 2380521"/>
              <a:gd name="connsiteX535" fmla="*/ 6653576 w 8023328"/>
              <a:gd name="connsiteY535" fmla="*/ 1281693 h 2380521"/>
              <a:gd name="connsiteX536" fmla="*/ 6667432 w 8023328"/>
              <a:gd name="connsiteY536" fmla="*/ 1295549 h 2380521"/>
              <a:gd name="connsiteX537" fmla="*/ 6653576 w 8023328"/>
              <a:gd name="connsiteY537" fmla="*/ 1307946 h 2380521"/>
              <a:gd name="connsiteX538" fmla="*/ 6641179 w 8023328"/>
              <a:gd name="connsiteY538" fmla="*/ 1295549 h 2380521"/>
              <a:gd name="connsiteX539" fmla="*/ 6653576 w 8023328"/>
              <a:gd name="connsiteY539" fmla="*/ 1281693 h 2380521"/>
              <a:gd name="connsiteX540" fmla="*/ 6582745 w 8023328"/>
              <a:gd name="connsiteY540" fmla="*/ 1281693 h 2380521"/>
              <a:gd name="connsiteX541" fmla="*/ 6596601 w 8023328"/>
              <a:gd name="connsiteY541" fmla="*/ 1295549 h 2380521"/>
              <a:gd name="connsiteX542" fmla="*/ 6582745 w 8023328"/>
              <a:gd name="connsiteY542" fmla="*/ 1307946 h 2380521"/>
              <a:gd name="connsiteX543" fmla="*/ 6570348 w 8023328"/>
              <a:gd name="connsiteY543" fmla="*/ 1295549 h 2380521"/>
              <a:gd name="connsiteX544" fmla="*/ 6582745 w 8023328"/>
              <a:gd name="connsiteY544" fmla="*/ 1281693 h 2380521"/>
              <a:gd name="connsiteX545" fmla="*/ 6510933 w 8023328"/>
              <a:gd name="connsiteY545" fmla="*/ 1281693 h 2380521"/>
              <a:gd name="connsiteX546" fmla="*/ 6525722 w 8023328"/>
              <a:gd name="connsiteY546" fmla="*/ 1295549 h 2380521"/>
              <a:gd name="connsiteX547" fmla="*/ 6510933 w 8023328"/>
              <a:gd name="connsiteY547" fmla="*/ 1307946 h 2380521"/>
              <a:gd name="connsiteX548" fmla="*/ 6496144 w 8023328"/>
              <a:gd name="connsiteY548" fmla="*/ 1295549 h 2380521"/>
              <a:gd name="connsiteX549" fmla="*/ 6510933 w 8023328"/>
              <a:gd name="connsiteY549" fmla="*/ 1281693 h 2380521"/>
              <a:gd name="connsiteX550" fmla="*/ 6440492 w 8023328"/>
              <a:gd name="connsiteY550" fmla="*/ 1281693 h 2380521"/>
              <a:gd name="connsiteX551" fmla="*/ 6454911 w 8023328"/>
              <a:gd name="connsiteY551" fmla="*/ 1295549 h 2380521"/>
              <a:gd name="connsiteX552" fmla="*/ 6440492 w 8023328"/>
              <a:gd name="connsiteY552" fmla="*/ 1307946 h 2380521"/>
              <a:gd name="connsiteX553" fmla="*/ 6425315 w 8023328"/>
              <a:gd name="connsiteY553" fmla="*/ 1295549 h 2380521"/>
              <a:gd name="connsiteX554" fmla="*/ 6440492 w 8023328"/>
              <a:gd name="connsiteY554" fmla="*/ 1281693 h 2380521"/>
              <a:gd name="connsiteX555" fmla="*/ 6369273 w 8023328"/>
              <a:gd name="connsiteY555" fmla="*/ 1281693 h 2380521"/>
              <a:gd name="connsiteX556" fmla="*/ 6384062 w 8023328"/>
              <a:gd name="connsiteY556" fmla="*/ 1296482 h 2380521"/>
              <a:gd name="connsiteX557" fmla="*/ 6369273 w 8023328"/>
              <a:gd name="connsiteY557" fmla="*/ 1311271 h 2380521"/>
              <a:gd name="connsiteX558" fmla="*/ 6354484 w 8023328"/>
              <a:gd name="connsiteY558" fmla="*/ 1296482 h 2380521"/>
              <a:gd name="connsiteX559" fmla="*/ 6369273 w 8023328"/>
              <a:gd name="connsiteY559" fmla="*/ 1281693 h 2380521"/>
              <a:gd name="connsiteX560" fmla="*/ 5799257 w 8023328"/>
              <a:gd name="connsiteY560" fmla="*/ 1281693 h 2380521"/>
              <a:gd name="connsiteX561" fmla="*/ 5814045 w 8023328"/>
              <a:gd name="connsiteY561" fmla="*/ 1296482 h 2380521"/>
              <a:gd name="connsiteX562" fmla="*/ 5799257 w 8023328"/>
              <a:gd name="connsiteY562" fmla="*/ 1311271 h 2380521"/>
              <a:gd name="connsiteX563" fmla="*/ 5784469 w 8023328"/>
              <a:gd name="connsiteY563" fmla="*/ 1296482 h 2380521"/>
              <a:gd name="connsiteX564" fmla="*/ 5799257 w 8023328"/>
              <a:gd name="connsiteY564" fmla="*/ 1281693 h 2380521"/>
              <a:gd name="connsiteX565" fmla="*/ 5724122 w 8023328"/>
              <a:gd name="connsiteY565" fmla="*/ 1281693 h 2380521"/>
              <a:gd name="connsiteX566" fmla="*/ 5736519 w 8023328"/>
              <a:gd name="connsiteY566" fmla="*/ 1296482 h 2380521"/>
              <a:gd name="connsiteX567" fmla="*/ 5724122 w 8023328"/>
              <a:gd name="connsiteY567" fmla="*/ 1311271 h 2380521"/>
              <a:gd name="connsiteX568" fmla="*/ 5710266 w 8023328"/>
              <a:gd name="connsiteY568" fmla="*/ 1296482 h 2380521"/>
              <a:gd name="connsiteX569" fmla="*/ 5724122 w 8023328"/>
              <a:gd name="connsiteY569" fmla="*/ 1281693 h 2380521"/>
              <a:gd name="connsiteX570" fmla="*/ 5653291 w 8023328"/>
              <a:gd name="connsiteY570" fmla="*/ 1281693 h 2380521"/>
              <a:gd name="connsiteX571" fmla="*/ 5665688 w 8023328"/>
              <a:gd name="connsiteY571" fmla="*/ 1296482 h 2380521"/>
              <a:gd name="connsiteX572" fmla="*/ 5653291 w 8023328"/>
              <a:gd name="connsiteY572" fmla="*/ 1311271 h 2380521"/>
              <a:gd name="connsiteX573" fmla="*/ 5639435 w 8023328"/>
              <a:gd name="connsiteY573" fmla="*/ 1296482 h 2380521"/>
              <a:gd name="connsiteX574" fmla="*/ 5653291 w 8023328"/>
              <a:gd name="connsiteY574" fmla="*/ 1281693 h 2380521"/>
              <a:gd name="connsiteX575" fmla="*/ 5582461 w 8023328"/>
              <a:gd name="connsiteY575" fmla="*/ 1281693 h 2380521"/>
              <a:gd name="connsiteX576" fmla="*/ 5594858 w 8023328"/>
              <a:gd name="connsiteY576" fmla="*/ 1296482 h 2380521"/>
              <a:gd name="connsiteX577" fmla="*/ 5582461 w 8023328"/>
              <a:gd name="connsiteY577" fmla="*/ 1311271 h 2380521"/>
              <a:gd name="connsiteX578" fmla="*/ 5568605 w 8023328"/>
              <a:gd name="connsiteY578" fmla="*/ 1296482 h 2380521"/>
              <a:gd name="connsiteX579" fmla="*/ 5582461 w 8023328"/>
              <a:gd name="connsiteY579" fmla="*/ 1281693 h 2380521"/>
              <a:gd name="connsiteX580" fmla="*/ 5510171 w 8023328"/>
              <a:gd name="connsiteY580" fmla="*/ 1281693 h 2380521"/>
              <a:gd name="connsiteX581" fmla="*/ 5524027 w 8023328"/>
              <a:gd name="connsiteY581" fmla="*/ 1296482 h 2380521"/>
              <a:gd name="connsiteX582" fmla="*/ 5510171 w 8023328"/>
              <a:gd name="connsiteY582" fmla="*/ 1311271 h 2380521"/>
              <a:gd name="connsiteX583" fmla="*/ 5497774 w 8023328"/>
              <a:gd name="connsiteY583" fmla="*/ 1296482 h 2380521"/>
              <a:gd name="connsiteX584" fmla="*/ 5510171 w 8023328"/>
              <a:gd name="connsiteY584" fmla="*/ 1281693 h 2380521"/>
              <a:gd name="connsiteX585" fmla="*/ 5438937 w 8023328"/>
              <a:gd name="connsiteY585" fmla="*/ 1281693 h 2380521"/>
              <a:gd name="connsiteX586" fmla="*/ 5453178 w 8023328"/>
              <a:gd name="connsiteY586" fmla="*/ 1296482 h 2380521"/>
              <a:gd name="connsiteX587" fmla="*/ 5438937 w 8023328"/>
              <a:gd name="connsiteY587" fmla="*/ 1311271 h 2380521"/>
              <a:gd name="connsiteX588" fmla="*/ 5426945 w 8023328"/>
              <a:gd name="connsiteY588" fmla="*/ 1296482 h 2380521"/>
              <a:gd name="connsiteX589" fmla="*/ 5438937 w 8023328"/>
              <a:gd name="connsiteY589" fmla="*/ 1281693 h 2380521"/>
              <a:gd name="connsiteX590" fmla="*/ 5368510 w 8023328"/>
              <a:gd name="connsiteY590" fmla="*/ 1281693 h 2380521"/>
              <a:gd name="connsiteX591" fmla="*/ 5382366 w 8023328"/>
              <a:gd name="connsiteY591" fmla="*/ 1296482 h 2380521"/>
              <a:gd name="connsiteX592" fmla="*/ 5368510 w 8023328"/>
              <a:gd name="connsiteY592" fmla="*/ 1311271 h 2380521"/>
              <a:gd name="connsiteX593" fmla="*/ 5356113 w 8023328"/>
              <a:gd name="connsiteY593" fmla="*/ 1296482 h 2380521"/>
              <a:gd name="connsiteX594" fmla="*/ 5368510 w 8023328"/>
              <a:gd name="connsiteY594" fmla="*/ 1281693 h 2380521"/>
              <a:gd name="connsiteX595" fmla="*/ 5296699 w 8023328"/>
              <a:gd name="connsiteY595" fmla="*/ 1281693 h 2380521"/>
              <a:gd name="connsiteX596" fmla="*/ 5311488 w 8023328"/>
              <a:gd name="connsiteY596" fmla="*/ 1296482 h 2380521"/>
              <a:gd name="connsiteX597" fmla="*/ 5296699 w 8023328"/>
              <a:gd name="connsiteY597" fmla="*/ 1311271 h 2380521"/>
              <a:gd name="connsiteX598" fmla="*/ 5281910 w 8023328"/>
              <a:gd name="connsiteY598" fmla="*/ 1296482 h 2380521"/>
              <a:gd name="connsiteX599" fmla="*/ 5296699 w 8023328"/>
              <a:gd name="connsiteY599" fmla="*/ 1281693 h 2380521"/>
              <a:gd name="connsiteX600" fmla="*/ 5225869 w 8023328"/>
              <a:gd name="connsiteY600" fmla="*/ 1281693 h 2380521"/>
              <a:gd name="connsiteX601" fmla="*/ 5240657 w 8023328"/>
              <a:gd name="connsiteY601" fmla="*/ 1296482 h 2380521"/>
              <a:gd name="connsiteX602" fmla="*/ 5225869 w 8023328"/>
              <a:gd name="connsiteY602" fmla="*/ 1311271 h 2380521"/>
              <a:gd name="connsiteX603" fmla="*/ 5211081 w 8023328"/>
              <a:gd name="connsiteY603" fmla="*/ 1296482 h 2380521"/>
              <a:gd name="connsiteX604" fmla="*/ 5225869 w 8023328"/>
              <a:gd name="connsiteY604" fmla="*/ 1281693 h 2380521"/>
              <a:gd name="connsiteX605" fmla="*/ 5154105 w 8023328"/>
              <a:gd name="connsiteY605" fmla="*/ 1281693 h 2380521"/>
              <a:gd name="connsiteX606" fmla="*/ 5166502 w 8023328"/>
              <a:gd name="connsiteY606" fmla="*/ 1296482 h 2380521"/>
              <a:gd name="connsiteX607" fmla="*/ 5154105 w 8023328"/>
              <a:gd name="connsiteY607" fmla="*/ 1311271 h 2380521"/>
              <a:gd name="connsiteX608" fmla="*/ 5140249 w 8023328"/>
              <a:gd name="connsiteY608" fmla="*/ 1296482 h 2380521"/>
              <a:gd name="connsiteX609" fmla="*/ 5154105 w 8023328"/>
              <a:gd name="connsiteY609" fmla="*/ 1281693 h 2380521"/>
              <a:gd name="connsiteX610" fmla="*/ 5083276 w 8023328"/>
              <a:gd name="connsiteY610" fmla="*/ 1281693 h 2380521"/>
              <a:gd name="connsiteX611" fmla="*/ 5095673 w 8023328"/>
              <a:gd name="connsiteY611" fmla="*/ 1296482 h 2380521"/>
              <a:gd name="connsiteX612" fmla="*/ 5083276 w 8023328"/>
              <a:gd name="connsiteY612" fmla="*/ 1311271 h 2380521"/>
              <a:gd name="connsiteX613" fmla="*/ 5069420 w 8023328"/>
              <a:gd name="connsiteY613" fmla="*/ 1296482 h 2380521"/>
              <a:gd name="connsiteX614" fmla="*/ 5083276 w 8023328"/>
              <a:gd name="connsiteY614" fmla="*/ 1281693 h 2380521"/>
              <a:gd name="connsiteX615" fmla="*/ 5012445 w 8023328"/>
              <a:gd name="connsiteY615" fmla="*/ 1281693 h 2380521"/>
              <a:gd name="connsiteX616" fmla="*/ 5024842 w 8023328"/>
              <a:gd name="connsiteY616" fmla="*/ 1296482 h 2380521"/>
              <a:gd name="connsiteX617" fmla="*/ 5012445 w 8023328"/>
              <a:gd name="connsiteY617" fmla="*/ 1311271 h 2380521"/>
              <a:gd name="connsiteX618" fmla="*/ 4998589 w 8023328"/>
              <a:gd name="connsiteY618" fmla="*/ 1296482 h 2380521"/>
              <a:gd name="connsiteX619" fmla="*/ 5012445 w 8023328"/>
              <a:gd name="connsiteY619" fmla="*/ 1281693 h 2380521"/>
              <a:gd name="connsiteX620" fmla="*/ 4940157 w 8023328"/>
              <a:gd name="connsiteY620" fmla="*/ 1281693 h 2380521"/>
              <a:gd name="connsiteX621" fmla="*/ 4954013 w 8023328"/>
              <a:gd name="connsiteY621" fmla="*/ 1296482 h 2380521"/>
              <a:gd name="connsiteX622" fmla="*/ 4940157 w 8023328"/>
              <a:gd name="connsiteY622" fmla="*/ 1311271 h 2380521"/>
              <a:gd name="connsiteX623" fmla="*/ 4927760 w 8023328"/>
              <a:gd name="connsiteY623" fmla="*/ 1296482 h 2380521"/>
              <a:gd name="connsiteX624" fmla="*/ 4940157 w 8023328"/>
              <a:gd name="connsiteY624" fmla="*/ 1281693 h 2380521"/>
              <a:gd name="connsiteX625" fmla="*/ 4865953 w 8023328"/>
              <a:gd name="connsiteY625" fmla="*/ 1281693 h 2380521"/>
              <a:gd name="connsiteX626" fmla="*/ 4879809 w 8023328"/>
              <a:gd name="connsiteY626" fmla="*/ 1296482 h 2380521"/>
              <a:gd name="connsiteX627" fmla="*/ 4865953 w 8023328"/>
              <a:gd name="connsiteY627" fmla="*/ 1311271 h 2380521"/>
              <a:gd name="connsiteX628" fmla="*/ 4853556 w 8023328"/>
              <a:gd name="connsiteY628" fmla="*/ 1296482 h 2380521"/>
              <a:gd name="connsiteX629" fmla="*/ 4865953 w 8023328"/>
              <a:gd name="connsiteY629" fmla="*/ 1281693 h 2380521"/>
              <a:gd name="connsiteX630" fmla="*/ 4795122 w 8023328"/>
              <a:gd name="connsiteY630" fmla="*/ 1281693 h 2380521"/>
              <a:gd name="connsiteX631" fmla="*/ 4808978 w 8023328"/>
              <a:gd name="connsiteY631" fmla="*/ 1296482 h 2380521"/>
              <a:gd name="connsiteX632" fmla="*/ 4795122 w 8023328"/>
              <a:gd name="connsiteY632" fmla="*/ 1311271 h 2380521"/>
              <a:gd name="connsiteX633" fmla="*/ 4782725 w 8023328"/>
              <a:gd name="connsiteY633" fmla="*/ 1296482 h 2380521"/>
              <a:gd name="connsiteX634" fmla="*/ 4795122 w 8023328"/>
              <a:gd name="connsiteY634" fmla="*/ 1281693 h 2380521"/>
              <a:gd name="connsiteX635" fmla="*/ 4726684 w 8023328"/>
              <a:gd name="connsiteY635" fmla="*/ 1281693 h 2380521"/>
              <a:gd name="connsiteX636" fmla="*/ 4741472 w 8023328"/>
              <a:gd name="connsiteY636" fmla="*/ 1296482 h 2380521"/>
              <a:gd name="connsiteX637" fmla="*/ 4726684 w 8023328"/>
              <a:gd name="connsiteY637" fmla="*/ 1311271 h 2380521"/>
              <a:gd name="connsiteX638" fmla="*/ 4711896 w 8023328"/>
              <a:gd name="connsiteY638" fmla="*/ 1296482 h 2380521"/>
              <a:gd name="connsiteX639" fmla="*/ 4726684 w 8023328"/>
              <a:gd name="connsiteY639" fmla="*/ 1281693 h 2380521"/>
              <a:gd name="connsiteX640" fmla="*/ 4655853 w 8023328"/>
              <a:gd name="connsiteY640" fmla="*/ 1281693 h 2380521"/>
              <a:gd name="connsiteX641" fmla="*/ 4670642 w 8023328"/>
              <a:gd name="connsiteY641" fmla="*/ 1294090 h 2380521"/>
              <a:gd name="connsiteX642" fmla="*/ 4655853 w 8023328"/>
              <a:gd name="connsiteY642" fmla="*/ 1307946 h 2380521"/>
              <a:gd name="connsiteX643" fmla="*/ 4641064 w 8023328"/>
              <a:gd name="connsiteY643" fmla="*/ 1294090 h 2380521"/>
              <a:gd name="connsiteX644" fmla="*/ 4655853 w 8023328"/>
              <a:gd name="connsiteY644" fmla="*/ 1281693 h 2380521"/>
              <a:gd name="connsiteX645" fmla="*/ 4585023 w 8023328"/>
              <a:gd name="connsiteY645" fmla="*/ 1281693 h 2380521"/>
              <a:gd name="connsiteX646" fmla="*/ 4599811 w 8023328"/>
              <a:gd name="connsiteY646" fmla="*/ 1294090 h 2380521"/>
              <a:gd name="connsiteX647" fmla="*/ 4585023 w 8023328"/>
              <a:gd name="connsiteY647" fmla="*/ 1307946 h 2380521"/>
              <a:gd name="connsiteX648" fmla="*/ 4570235 w 8023328"/>
              <a:gd name="connsiteY648" fmla="*/ 1294090 h 2380521"/>
              <a:gd name="connsiteX649" fmla="*/ 4585023 w 8023328"/>
              <a:gd name="connsiteY649" fmla="*/ 1281693 h 2380521"/>
              <a:gd name="connsiteX650" fmla="*/ 226355 w 8023328"/>
              <a:gd name="connsiteY650" fmla="*/ 1281693 h 2380521"/>
              <a:gd name="connsiteX651" fmla="*/ 238753 w 8023328"/>
              <a:gd name="connsiteY651" fmla="*/ 1296871 h 2380521"/>
              <a:gd name="connsiteX652" fmla="*/ 226355 w 8023328"/>
              <a:gd name="connsiteY652" fmla="*/ 1311291 h 2380521"/>
              <a:gd name="connsiteX653" fmla="*/ 212499 w 8023328"/>
              <a:gd name="connsiteY653" fmla="*/ 1296871 h 2380521"/>
              <a:gd name="connsiteX654" fmla="*/ 226355 w 8023328"/>
              <a:gd name="connsiteY654" fmla="*/ 1281693 h 2380521"/>
              <a:gd name="connsiteX655" fmla="*/ 155522 w 8023328"/>
              <a:gd name="connsiteY655" fmla="*/ 1281693 h 2380521"/>
              <a:gd name="connsiteX656" fmla="*/ 167919 w 8023328"/>
              <a:gd name="connsiteY656" fmla="*/ 1296871 h 2380521"/>
              <a:gd name="connsiteX657" fmla="*/ 155522 w 8023328"/>
              <a:gd name="connsiteY657" fmla="*/ 1311291 h 2380521"/>
              <a:gd name="connsiteX658" fmla="*/ 141666 w 8023328"/>
              <a:gd name="connsiteY658" fmla="*/ 1296871 h 2380521"/>
              <a:gd name="connsiteX659" fmla="*/ 155522 w 8023328"/>
              <a:gd name="connsiteY659" fmla="*/ 1281693 h 2380521"/>
              <a:gd name="connsiteX660" fmla="*/ 83234 w 8023328"/>
              <a:gd name="connsiteY660" fmla="*/ 1281693 h 2380521"/>
              <a:gd name="connsiteX661" fmla="*/ 97090 w 8023328"/>
              <a:gd name="connsiteY661" fmla="*/ 1296871 h 2380521"/>
              <a:gd name="connsiteX662" fmla="*/ 83234 w 8023328"/>
              <a:gd name="connsiteY662" fmla="*/ 1311291 h 2380521"/>
              <a:gd name="connsiteX663" fmla="*/ 70836 w 8023328"/>
              <a:gd name="connsiteY663" fmla="*/ 1296871 h 2380521"/>
              <a:gd name="connsiteX664" fmla="*/ 83234 w 8023328"/>
              <a:gd name="connsiteY664" fmla="*/ 1281693 h 2380521"/>
              <a:gd name="connsiteX665" fmla="*/ 11998 w 8023328"/>
              <a:gd name="connsiteY665" fmla="*/ 1281693 h 2380521"/>
              <a:gd name="connsiteX666" fmla="*/ 26239 w 8023328"/>
              <a:gd name="connsiteY666" fmla="*/ 1296871 h 2380521"/>
              <a:gd name="connsiteX667" fmla="*/ 11998 w 8023328"/>
              <a:gd name="connsiteY667" fmla="*/ 1311291 h 2380521"/>
              <a:gd name="connsiteX668" fmla="*/ 5 w 8023328"/>
              <a:gd name="connsiteY668" fmla="*/ 1296871 h 2380521"/>
              <a:gd name="connsiteX669" fmla="*/ 11998 w 8023328"/>
              <a:gd name="connsiteY669" fmla="*/ 1281693 h 2380521"/>
              <a:gd name="connsiteX670" fmla="*/ 7084322 w 8023328"/>
              <a:gd name="connsiteY670" fmla="*/ 1210863 h 2380521"/>
              <a:gd name="connsiteX671" fmla="*/ 7099111 w 8023328"/>
              <a:gd name="connsiteY671" fmla="*/ 1224719 h 2380521"/>
              <a:gd name="connsiteX672" fmla="*/ 7084322 w 8023328"/>
              <a:gd name="connsiteY672" fmla="*/ 1237116 h 2380521"/>
              <a:gd name="connsiteX673" fmla="*/ 7069533 w 8023328"/>
              <a:gd name="connsiteY673" fmla="*/ 1224719 h 2380521"/>
              <a:gd name="connsiteX674" fmla="*/ 7084322 w 8023328"/>
              <a:gd name="connsiteY674" fmla="*/ 1210863 h 2380521"/>
              <a:gd name="connsiteX675" fmla="*/ 7013492 w 8023328"/>
              <a:gd name="connsiteY675" fmla="*/ 1210863 h 2380521"/>
              <a:gd name="connsiteX676" fmla="*/ 7028280 w 8023328"/>
              <a:gd name="connsiteY676" fmla="*/ 1224719 h 2380521"/>
              <a:gd name="connsiteX677" fmla="*/ 7013492 w 8023328"/>
              <a:gd name="connsiteY677" fmla="*/ 1237116 h 2380521"/>
              <a:gd name="connsiteX678" fmla="*/ 6998704 w 8023328"/>
              <a:gd name="connsiteY678" fmla="*/ 1224719 h 2380521"/>
              <a:gd name="connsiteX679" fmla="*/ 7013492 w 8023328"/>
              <a:gd name="connsiteY679" fmla="*/ 1210863 h 2380521"/>
              <a:gd name="connsiteX680" fmla="*/ 6939085 w 8023328"/>
              <a:gd name="connsiteY680" fmla="*/ 1210863 h 2380521"/>
              <a:gd name="connsiteX681" fmla="*/ 6950753 w 8023328"/>
              <a:gd name="connsiteY681" fmla="*/ 1224719 h 2380521"/>
              <a:gd name="connsiteX682" fmla="*/ 6939085 w 8023328"/>
              <a:gd name="connsiteY682" fmla="*/ 1237116 h 2380521"/>
              <a:gd name="connsiteX683" fmla="*/ 6924500 w 8023328"/>
              <a:gd name="connsiteY683" fmla="*/ 1224719 h 2380521"/>
              <a:gd name="connsiteX684" fmla="*/ 6939085 w 8023328"/>
              <a:gd name="connsiteY684" fmla="*/ 1210863 h 2380521"/>
              <a:gd name="connsiteX685" fmla="*/ 6867525 w 8023328"/>
              <a:gd name="connsiteY685" fmla="*/ 1210863 h 2380521"/>
              <a:gd name="connsiteX686" fmla="*/ 6879922 w 8023328"/>
              <a:gd name="connsiteY686" fmla="*/ 1224719 h 2380521"/>
              <a:gd name="connsiteX687" fmla="*/ 6867525 w 8023328"/>
              <a:gd name="connsiteY687" fmla="*/ 1237116 h 2380521"/>
              <a:gd name="connsiteX688" fmla="*/ 6853669 w 8023328"/>
              <a:gd name="connsiteY688" fmla="*/ 1224719 h 2380521"/>
              <a:gd name="connsiteX689" fmla="*/ 6867525 w 8023328"/>
              <a:gd name="connsiteY689" fmla="*/ 1210863 h 2380521"/>
              <a:gd name="connsiteX690" fmla="*/ 6796696 w 8023328"/>
              <a:gd name="connsiteY690" fmla="*/ 1210863 h 2380521"/>
              <a:gd name="connsiteX691" fmla="*/ 6809093 w 8023328"/>
              <a:gd name="connsiteY691" fmla="*/ 1224719 h 2380521"/>
              <a:gd name="connsiteX692" fmla="*/ 6796696 w 8023328"/>
              <a:gd name="connsiteY692" fmla="*/ 1237116 h 2380521"/>
              <a:gd name="connsiteX693" fmla="*/ 6782840 w 8023328"/>
              <a:gd name="connsiteY693" fmla="*/ 1224719 h 2380521"/>
              <a:gd name="connsiteX694" fmla="*/ 6796696 w 8023328"/>
              <a:gd name="connsiteY694" fmla="*/ 1210863 h 2380521"/>
              <a:gd name="connsiteX695" fmla="*/ 6724405 w 8023328"/>
              <a:gd name="connsiteY695" fmla="*/ 1210863 h 2380521"/>
              <a:gd name="connsiteX696" fmla="*/ 6738261 w 8023328"/>
              <a:gd name="connsiteY696" fmla="*/ 1224719 h 2380521"/>
              <a:gd name="connsiteX697" fmla="*/ 6724405 w 8023328"/>
              <a:gd name="connsiteY697" fmla="*/ 1237116 h 2380521"/>
              <a:gd name="connsiteX698" fmla="*/ 6712008 w 8023328"/>
              <a:gd name="connsiteY698" fmla="*/ 1224719 h 2380521"/>
              <a:gd name="connsiteX699" fmla="*/ 6724405 w 8023328"/>
              <a:gd name="connsiteY699" fmla="*/ 1210863 h 2380521"/>
              <a:gd name="connsiteX700" fmla="*/ 6653576 w 8023328"/>
              <a:gd name="connsiteY700" fmla="*/ 1210863 h 2380521"/>
              <a:gd name="connsiteX701" fmla="*/ 6667432 w 8023328"/>
              <a:gd name="connsiteY701" fmla="*/ 1224719 h 2380521"/>
              <a:gd name="connsiteX702" fmla="*/ 6653576 w 8023328"/>
              <a:gd name="connsiteY702" fmla="*/ 1237116 h 2380521"/>
              <a:gd name="connsiteX703" fmla="*/ 6641179 w 8023328"/>
              <a:gd name="connsiteY703" fmla="*/ 1224719 h 2380521"/>
              <a:gd name="connsiteX704" fmla="*/ 6653576 w 8023328"/>
              <a:gd name="connsiteY704" fmla="*/ 1210863 h 2380521"/>
              <a:gd name="connsiteX705" fmla="*/ 6582745 w 8023328"/>
              <a:gd name="connsiteY705" fmla="*/ 1210863 h 2380521"/>
              <a:gd name="connsiteX706" fmla="*/ 6596601 w 8023328"/>
              <a:gd name="connsiteY706" fmla="*/ 1224719 h 2380521"/>
              <a:gd name="connsiteX707" fmla="*/ 6582745 w 8023328"/>
              <a:gd name="connsiteY707" fmla="*/ 1237116 h 2380521"/>
              <a:gd name="connsiteX708" fmla="*/ 6570348 w 8023328"/>
              <a:gd name="connsiteY708" fmla="*/ 1224719 h 2380521"/>
              <a:gd name="connsiteX709" fmla="*/ 6582745 w 8023328"/>
              <a:gd name="connsiteY709" fmla="*/ 1210863 h 2380521"/>
              <a:gd name="connsiteX710" fmla="*/ 6510933 w 8023328"/>
              <a:gd name="connsiteY710" fmla="*/ 1210863 h 2380521"/>
              <a:gd name="connsiteX711" fmla="*/ 6525722 w 8023328"/>
              <a:gd name="connsiteY711" fmla="*/ 1224719 h 2380521"/>
              <a:gd name="connsiteX712" fmla="*/ 6510933 w 8023328"/>
              <a:gd name="connsiteY712" fmla="*/ 1237116 h 2380521"/>
              <a:gd name="connsiteX713" fmla="*/ 6496144 w 8023328"/>
              <a:gd name="connsiteY713" fmla="*/ 1224719 h 2380521"/>
              <a:gd name="connsiteX714" fmla="*/ 6510933 w 8023328"/>
              <a:gd name="connsiteY714" fmla="*/ 1210863 h 2380521"/>
              <a:gd name="connsiteX715" fmla="*/ 6440492 w 8023328"/>
              <a:gd name="connsiteY715" fmla="*/ 1210863 h 2380521"/>
              <a:gd name="connsiteX716" fmla="*/ 6454911 w 8023328"/>
              <a:gd name="connsiteY716" fmla="*/ 1224719 h 2380521"/>
              <a:gd name="connsiteX717" fmla="*/ 6440492 w 8023328"/>
              <a:gd name="connsiteY717" fmla="*/ 1237116 h 2380521"/>
              <a:gd name="connsiteX718" fmla="*/ 6425315 w 8023328"/>
              <a:gd name="connsiteY718" fmla="*/ 1224719 h 2380521"/>
              <a:gd name="connsiteX719" fmla="*/ 6440492 w 8023328"/>
              <a:gd name="connsiteY719" fmla="*/ 1210863 h 2380521"/>
              <a:gd name="connsiteX720" fmla="*/ 6368340 w 8023328"/>
              <a:gd name="connsiteY720" fmla="*/ 1210863 h 2380521"/>
              <a:gd name="connsiteX721" fmla="*/ 6380737 w 8023328"/>
              <a:gd name="connsiteY721" fmla="*/ 1224719 h 2380521"/>
              <a:gd name="connsiteX722" fmla="*/ 6368340 w 8023328"/>
              <a:gd name="connsiteY722" fmla="*/ 1237116 h 2380521"/>
              <a:gd name="connsiteX723" fmla="*/ 6354484 w 8023328"/>
              <a:gd name="connsiteY723" fmla="*/ 1224719 h 2380521"/>
              <a:gd name="connsiteX724" fmla="*/ 6368340 w 8023328"/>
              <a:gd name="connsiteY724" fmla="*/ 1210863 h 2380521"/>
              <a:gd name="connsiteX725" fmla="*/ 6297511 w 8023328"/>
              <a:gd name="connsiteY725" fmla="*/ 1210863 h 2380521"/>
              <a:gd name="connsiteX726" fmla="*/ 6309908 w 8023328"/>
              <a:gd name="connsiteY726" fmla="*/ 1224719 h 2380521"/>
              <a:gd name="connsiteX727" fmla="*/ 6297511 w 8023328"/>
              <a:gd name="connsiteY727" fmla="*/ 1237116 h 2380521"/>
              <a:gd name="connsiteX728" fmla="*/ 6283655 w 8023328"/>
              <a:gd name="connsiteY728" fmla="*/ 1224719 h 2380521"/>
              <a:gd name="connsiteX729" fmla="*/ 6297511 w 8023328"/>
              <a:gd name="connsiteY729" fmla="*/ 1210863 h 2380521"/>
              <a:gd name="connsiteX730" fmla="*/ 6226679 w 8023328"/>
              <a:gd name="connsiteY730" fmla="*/ 1210863 h 2380521"/>
              <a:gd name="connsiteX731" fmla="*/ 6239076 w 8023328"/>
              <a:gd name="connsiteY731" fmla="*/ 1224719 h 2380521"/>
              <a:gd name="connsiteX732" fmla="*/ 6226679 w 8023328"/>
              <a:gd name="connsiteY732" fmla="*/ 1237116 h 2380521"/>
              <a:gd name="connsiteX733" fmla="*/ 6212823 w 8023328"/>
              <a:gd name="connsiteY733" fmla="*/ 1224719 h 2380521"/>
              <a:gd name="connsiteX734" fmla="*/ 6226679 w 8023328"/>
              <a:gd name="connsiteY734" fmla="*/ 1210863 h 2380521"/>
              <a:gd name="connsiteX735" fmla="*/ 6154391 w 8023328"/>
              <a:gd name="connsiteY735" fmla="*/ 1210863 h 2380521"/>
              <a:gd name="connsiteX736" fmla="*/ 6168247 w 8023328"/>
              <a:gd name="connsiteY736" fmla="*/ 1224719 h 2380521"/>
              <a:gd name="connsiteX737" fmla="*/ 6154391 w 8023328"/>
              <a:gd name="connsiteY737" fmla="*/ 1237116 h 2380521"/>
              <a:gd name="connsiteX738" fmla="*/ 6141994 w 8023328"/>
              <a:gd name="connsiteY738" fmla="*/ 1224719 h 2380521"/>
              <a:gd name="connsiteX739" fmla="*/ 6154391 w 8023328"/>
              <a:gd name="connsiteY739" fmla="*/ 1210863 h 2380521"/>
              <a:gd name="connsiteX740" fmla="*/ 6083559 w 8023328"/>
              <a:gd name="connsiteY740" fmla="*/ 1210863 h 2380521"/>
              <a:gd name="connsiteX741" fmla="*/ 6097415 w 8023328"/>
              <a:gd name="connsiteY741" fmla="*/ 1224719 h 2380521"/>
              <a:gd name="connsiteX742" fmla="*/ 6083559 w 8023328"/>
              <a:gd name="connsiteY742" fmla="*/ 1237116 h 2380521"/>
              <a:gd name="connsiteX743" fmla="*/ 6071162 w 8023328"/>
              <a:gd name="connsiteY743" fmla="*/ 1224719 h 2380521"/>
              <a:gd name="connsiteX744" fmla="*/ 6083559 w 8023328"/>
              <a:gd name="connsiteY744" fmla="*/ 1210863 h 2380521"/>
              <a:gd name="connsiteX745" fmla="*/ 6009356 w 8023328"/>
              <a:gd name="connsiteY745" fmla="*/ 1210863 h 2380521"/>
              <a:gd name="connsiteX746" fmla="*/ 6023212 w 8023328"/>
              <a:gd name="connsiteY746" fmla="*/ 1224719 h 2380521"/>
              <a:gd name="connsiteX747" fmla="*/ 6009356 w 8023328"/>
              <a:gd name="connsiteY747" fmla="*/ 1237116 h 2380521"/>
              <a:gd name="connsiteX748" fmla="*/ 5996959 w 8023328"/>
              <a:gd name="connsiteY748" fmla="*/ 1224719 h 2380521"/>
              <a:gd name="connsiteX749" fmla="*/ 6009356 w 8023328"/>
              <a:gd name="connsiteY749" fmla="*/ 1210863 h 2380521"/>
              <a:gd name="connsiteX750" fmla="*/ 5940548 w 8023328"/>
              <a:gd name="connsiteY750" fmla="*/ 1210863 h 2380521"/>
              <a:gd name="connsiteX751" fmla="*/ 5955726 w 8023328"/>
              <a:gd name="connsiteY751" fmla="*/ 1224719 h 2380521"/>
              <a:gd name="connsiteX752" fmla="*/ 5940548 w 8023328"/>
              <a:gd name="connsiteY752" fmla="*/ 1237116 h 2380521"/>
              <a:gd name="connsiteX753" fmla="*/ 5926130 w 8023328"/>
              <a:gd name="connsiteY753" fmla="*/ 1224719 h 2380521"/>
              <a:gd name="connsiteX754" fmla="*/ 5940548 w 8023328"/>
              <a:gd name="connsiteY754" fmla="*/ 1210863 h 2380521"/>
              <a:gd name="connsiteX755" fmla="*/ 5870088 w 8023328"/>
              <a:gd name="connsiteY755" fmla="*/ 1210863 h 2380521"/>
              <a:gd name="connsiteX756" fmla="*/ 5884877 w 8023328"/>
              <a:gd name="connsiteY756" fmla="*/ 1224719 h 2380521"/>
              <a:gd name="connsiteX757" fmla="*/ 5870088 w 8023328"/>
              <a:gd name="connsiteY757" fmla="*/ 1237116 h 2380521"/>
              <a:gd name="connsiteX758" fmla="*/ 5855299 w 8023328"/>
              <a:gd name="connsiteY758" fmla="*/ 1224719 h 2380521"/>
              <a:gd name="connsiteX759" fmla="*/ 5870088 w 8023328"/>
              <a:gd name="connsiteY759" fmla="*/ 1210863 h 2380521"/>
              <a:gd name="connsiteX760" fmla="*/ 5799257 w 8023328"/>
              <a:gd name="connsiteY760" fmla="*/ 1210863 h 2380521"/>
              <a:gd name="connsiteX761" fmla="*/ 5814045 w 8023328"/>
              <a:gd name="connsiteY761" fmla="*/ 1224719 h 2380521"/>
              <a:gd name="connsiteX762" fmla="*/ 5799257 w 8023328"/>
              <a:gd name="connsiteY762" fmla="*/ 1237116 h 2380521"/>
              <a:gd name="connsiteX763" fmla="*/ 5784469 w 8023328"/>
              <a:gd name="connsiteY763" fmla="*/ 1224719 h 2380521"/>
              <a:gd name="connsiteX764" fmla="*/ 5799257 w 8023328"/>
              <a:gd name="connsiteY764" fmla="*/ 1210863 h 2380521"/>
              <a:gd name="connsiteX765" fmla="*/ 5724122 w 8023328"/>
              <a:gd name="connsiteY765" fmla="*/ 1210863 h 2380521"/>
              <a:gd name="connsiteX766" fmla="*/ 5736519 w 8023328"/>
              <a:gd name="connsiteY766" fmla="*/ 1225651 h 2380521"/>
              <a:gd name="connsiteX767" fmla="*/ 5724122 w 8023328"/>
              <a:gd name="connsiteY767" fmla="*/ 1240439 h 2380521"/>
              <a:gd name="connsiteX768" fmla="*/ 5710266 w 8023328"/>
              <a:gd name="connsiteY768" fmla="*/ 1225651 h 2380521"/>
              <a:gd name="connsiteX769" fmla="*/ 5724122 w 8023328"/>
              <a:gd name="connsiteY769" fmla="*/ 1210863 h 2380521"/>
              <a:gd name="connsiteX770" fmla="*/ 5653291 w 8023328"/>
              <a:gd name="connsiteY770" fmla="*/ 1210863 h 2380521"/>
              <a:gd name="connsiteX771" fmla="*/ 5665688 w 8023328"/>
              <a:gd name="connsiteY771" fmla="*/ 1225651 h 2380521"/>
              <a:gd name="connsiteX772" fmla="*/ 5653291 w 8023328"/>
              <a:gd name="connsiteY772" fmla="*/ 1240439 h 2380521"/>
              <a:gd name="connsiteX773" fmla="*/ 5639435 w 8023328"/>
              <a:gd name="connsiteY773" fmla="*/ 1225651 h 2380521"/>
              <a:gd name="connsiteX774" fmla="*/ 5653291 w 8023328"/>
              <a:gd name="connsiteY774" fmla="*/ 1210863 h 2380521"/>
              <a:gd name="connsiteX775" fmla="*/ 5582461 w 8023328"/>
              <a:gd name="connsiteY775" fmla="*/ 1210863 h 2380521"/>
              <a:gd name="connsiteX776" fmla="*/ 5594858 w 8023328"/>
              <a:gd name="connsiteY776" fmla="*/ 1225651 h 2380521"/>
              <a:gd name="connsiteX777" fmla="*/ 5582461 w 8023328"/>
              <a:gd name="connsiteY777" fmla="*/ 1240439 h 2380521"/>
              <a:gd name="connsiteX778" fmla="*/ 5568605 w 8023328"/>
              <a:gd name="connsiteY778" fmla="*/ 1225651 h 2380521"/>
              <a:gd name="connsiteX779" fmla="*/ 5582461 w 8023328"/>
              <a:gd name="connsiteY779" fmla="*/ 1210863 h 2380521"/>
              <a:gd name="connsiteX780" fmla="*/ 5510171 w 8023328"/>
              <a:gd name="connsiteY780" fmla="*/ 1210863 h 2380521"/>
              <a:gd name="connsiteX781" fmla="*/ 5524027 w 8023328"/>
              <a:gd name="connsiteY781" fmla="*/ 1225651 h 2380521"/>
              <a:gd name="connsiteX782" fmla="*/ 5510171 w 8023328"/>
              <a:gd name="connsiteY782" fmla="*/ 1240439 h 2380521"/>
              <a:gd name="connsiteX783" fmla="*/ 5497774 w 8023328"/>
              <a:gd name="connsiteY783" fmla="*/ 1225651 h 2380521"/>
              <a:gd name="connsiteX784" fmla="*/ 5510171 w 8023328"/>
              <a:gd name="connsiteY784" fmla="*/ 1210863 h 2380521"/>
              <a:gd name="connsiteX785" fmla="*/ 5438937 w 8023328"/>
              <a:gd name="connsiteY785" fmla="*/ 1210863 h 2380521"/>
              <a:gd name="connsiteX786" fmla="*/ 5453178 w 8023328"/>
              <a:gd name="connsiteY786" fmla="*/ 1225651 h 2380521"/>
              <a:gd name="connsiteX787" fmla="*/ 5438937 w 8023328"/>
              <a:gd name="connsiteY787" fmla="*/ 1240439 h 2380521"/>
              <a:gd name="connsiteX788" fmla="*/ 5426945 w 8023328"/>
              <a:gd name="connsiteY788" fmla="*/ 1225651 h 2380521"/>
              <a:gd name="connsiteX789" fmla="*/ 5438937 w 8023328"/>
              <a:gd name="connsiteY789" fmla="*/ 1210863 h 2380521"/>
              <a:gd name="connsiteX790" fmla="*/ 5367530 w 8023328"/>
              <a:gd name="connsiteY790" fmla="*/ 1210863 h 2380521"/>
              <a:gd name="connsiteX791" fmla="*/ 5382318 w 8023328"/>
              <a:gd name="connsiteY791" fmla="*/ 1225651 h 2380521"/>
              <a:gd name="connsiteX792" fmla="*/ 5367530 w 8023328"/>
              <a:gd name="connsiteY792" fmla="*/ 1240439 h 2380521"/>
              <a:gd name="connsiteX793" fmla="*/ 5352742 w 8023328"/>
              <a:gd name="connsiteY793" fmla="*/ 1225651 h 2380521"/>
              <a:gd name="connsiteX794" fmla="*/ 5367530 w 8023328"/>
              <a:gd name="connsiteY794" fmla="*/ 1210863 h 2380521"/>
              <a:gd name="connsiteX795" fmla="*/ 5296699 w 8023328"/>
              <a:gd name="connsiteY795" fmla="*/ 1210863 h 2380521"/>
              <a:gd name="connsiteX796" fmla="*/ 5311488 w 8023328"/>
              <a:gd name="connsiteY796" fmla="*/ 1225651 h 2380521"/>
              <a:gd name="connsiteX797" fmla="*/ 5296699 w 8023328"/>
              <a:gd name="connsiteY797" fmla="*/ 1240439 h 2380521"/>
              <a:gd name="connsiteX798" fmla="*/ 5281910 w 8023328"/>
              <a:gd name="connsiteY798" fmla="*/ 1225651 h 2380521"/>
              <a:gd name="connsiteX799" fmla="*/ 5296699 w 8023328"/>
              <a:gd name="connsiteY799" fmla="*/ 1210863 h 2380521"/>
              <a:gd name="connsiteX800" fmla="*/ 5225869 w 8023328"/>
              <a:gd name="connsiteY800" fmla="*/ 1210863 h 2380521"/>
              <a:gd name="connsiteX801" fmla="*/ 5240657 w 8023328"/>
              <a:gd name="connsiteY801" fmla="*/ 1225651 h 2380521"/>
              <a:gd name="connsiteX802" fmla="*/ 5225869 w 8023328"/>
              <a:gd name="connsiteY802" fmla="*/ 1240439 h 2380521"/>
              <a:gd name="connsiteX803" fmla="*/ 5211081 w 8023328"/>
              <a:gd name="connsiteY803" fmla="*/ 1225651 h 2380521"/>
              <a:gd name="connsiteX804" fmla="*/ 5225869 w 8023328"/>
              <a:gd name="connsiteY804" fmla="*/ 1210863 h 2380521"/>
              <a:gd name="connsiteX805" fmla="*/ 5154105 w 8023328"/>
              <a:gd name="connsiteY805" fmla="*/ 1210863 h 2380521"/>
              <a:gd name="connsiteX806" fmla="*/ 5166502 w 8023328"/>
              <a:gd name="connsiteY806" fmla="*/ 1225651 h 2380521"/>
              <a:gd name="connsiteX807" fmla="*/ 5154105 w 8023328"/>
              <a:gd name="connsiteY807" fmla="*/ 1240439 h 2380521"/>
              <a:gd name="connsiteX808" fmla="*/ 5140249 w 8023328"/>
              <a:gd name="connsiteY808" fmla="*/ 1225651 h 2380521"/>
              <a:gd name="connsiteX809" fmla="*/ 5154105 w 8023328"/>
              <a:gd name="connsiteY809" fmla="*/ 1210863 h 2380521"/>
              <a:gd name="connsiteX810" fmla="*/ 5083276 w 8023328"/>
              <a:gd name="connsiteY810" fmla="*/ 1210863 h 2380521"/>
              <a:gd name="connsiteX811" fmla="*/ 5095673 w 8023328"/>
              <a:gd name="connsiteY811" fmla="*/ 1225651 h 2380521"/>
              <a:gd name="connsiteX812" fmla="*/ 5083276 w 8023328"/>
              <a:gd name="connsiteY812" fmla="*/ 1240439 h 2380521"/>
              <a:gd name="connsiteX813" fmla="*/ 5069420 w 8023328"/>
              <a:gd name="connsiteY813" fmla="*/ 1225651 h 2380521"/>
              <a:gd name="connsiteX814" fmla="*/ 5083276 w 8023328"/>
              <a:gd name="connsiteY814" fmla="*/ 1210863 h 2380521"/>
              <a:gd name="connsiteX815" fmla="*/ 5012445 w 8023328"/>
              <a:gd name="connsiteY815" fmla="*/ 1210863 h 2380521"/>
              <a:gd name="connsiteX816" fmla="*/ 5024842 w 8023328"/>
              <a:gd name="connsiteY816" fmla="*/ 1225651 h 2380521"/>
              <a:gd name="connsiteX817" fmla="*/ 5012445 w 8023328"/>
              <a:gd name="connsiteY817" fmla="*/ 1240439 h 2380521"/>
              <a:gd name="connsiteX818" fmla="*/ 4998589 w 8023328"/>
              <a:gd name="connsiteY818" fmla="*/ 1225651 h 2380521"/>
              <a:gd name="connsiteX819" fmla="*/ 5012445 w 8023328"/>
              <a:gd name="connsiteY819" fmla="*/ 1210863 h 2380521"/>
              <a:gd name="connsiteX820" fmla="*/ 4940157 w 8023328"/>
              <a:gd name="connsiteY820" fmla="*/ 1210863 h 2380521"/>
              <a:gd name="connsiteX821" fmla="*/ 4954013 w 8023328"/>
              <a:gd name="connsiteY821" fmla="*/ 1225651 h 2380521"/>
              <a:gd name="connsiteX822" fmla="*/ 4940157 w 8023328"/>
              <a:gd name="connsiteY822" fmla="*/ 1240439 h 2380521"/>
              <a:gd name="connsiteX823" fmla="*/ 4927760 w 8023328"/>
              <a:gd name="connsiteY823" fmla="*/ 1225651 h 2380521"/>
              <a:gd name="connsiteX824" fmla="*/ 4940157 w 8023328"/>
              <a:gd name="connsiteY824" fmla="*/ 1210863 h 2380521"/>
              <a:gd name="connsiteX825" fmla="*/ 4865953 w 8023328"/>
              <a:gd name="connsiteY825" fmla="*/ 1210863 h 2380521"/>
              <a:gd name="connsiteX826" fmla="*/ 4879809 w 8023328"/>
              <a:gd name="connsiteY826" fmla="*/ 1225651 h 2380521"/>
              <a:gd name="connsiteX827" fmla="*/ 4865953 w 8023328"/>
              <a:gd name="connsiteY827" fmla="*/ 1240439 h 2380521"/>
              <a:gd name="connsiteX828" fmla="*/ 4853556 w 8023328"/>
              <a:gd name="connsiteY828" fmla="*/ 1225651 h 2380521"/>
              <a:gd name="connsiteX829" fmla="*/ 4865953 w 8023328"/>
              <a:gd name="connsiteY829" fmla="*/ 1210863 h 2380521"/>
              <a:gd name="connsiteX830" fmla="*/ 4795122 w 8023328"/>
              <a:gd name="connsiteY830" fmla="*/ 1210863 h 2380521"/>
              <a:gd name="connsiteX831" fmla="*/ 4808978 w 8023328"/>
              <a:gd name="connsiteY831" fmla="*/ 1225651 h 2380521"/>
              <a:gd name="connsiteX832" fmla="*/ 4795122 w 8023328"/>
              <a:gd name="connsiteY832" fmla="*/ 1240439 h 2380521"/>
              <a:gd name="connsiteX833" fmla="*/ 4782725 w 8023328"/>
              <a:gd name="connsiteY833" fmla="*/ 1225651 h 2380521"/>
              <a:gd name="connsiteX834" fmla="*/ 4795122 w 8023328"/>
              <a:gd name="connsiteY834" fmla="*/ 1210863 h 2380521"/>
              <a:gd name="connsiteX835" fmla="*/ 4726684 w 8023328"/>
              <a:gd name="connsiteY835" fmla="*/ 1210863 h 2380521"/>
              <a:gd name="connsiteX836" fmla="*/ 4741472 w 8023328"/>
              <a:gd name="connsiteY836" fmla="*/ 1225651 h 2380521"/>
              <a:gd name="connsiteX837" fmla="*/ 4726684 w 8023328"/>
              <a:gd name="connsiteY837" fmla="*/ 1240439 h 2380521"/>
              <a:gd name="connsiteX838" fmla="*/ 4711896 w 8023328"/>
              <a:gd name="connsiteY838" fmla="*/ 1225651 h 2380521"/>
              <a:gd name="connsiteX839" fmla="*/ 4726684 w 8023328"/>
              <a:gd name="connsiteY839" fmla="*/ 1210863 h 2380521"/>
              <a:gd name="connsiteX840" fmla="*/ 4655853 w 8023328"/>
              <a:gd name="connsiteY840" fmla="*/ 1210863 h 2380521"/>
              <a:gd name="connsiteX841" fmla="*/ 4670642 w 8023328"/>
              <a:gd name="connsiteY841" fmla="*/ 1225651 h 2380521"/>
              <a:gd name="connsiteX842" fmla="*/ 4655853 w 8023328"/>
              <a:gd name="connsiteY842" fmla="*/ 1240439 h 2380521"/>
              <a:gd name="connsiteX843" fmla="*/ 4641064 w 8023328"/>
              <a:gd name="connsiteY843" fmla="*/ 1225651 h 2380521"/>
              <a:gd name="connsiteX844" fmla="*/ 4655853 w 8023328"/>
              <a:gd name="connsiteY844" fmla="*/ 1210863 h 2380521"/>
              <a:gd name="connsiteX845" fmla="*/ 4585023 w 8023328"/>
              <a:gd name="connsiteY845" fmla="*/ 1210863 h 2380521"/>
              <a:gd name="connsiteX846" fmla="*/ 4599811 w 8023328"/>
              <a:gd name="connsiteY846" fmla="*/ 1225651 h 2380521"/>
              <a:gd name="connsiteX847" fmla="*/ 4585023 w 8023328"/>
              <a:gd name="connsiteY847" fmla="*/ 1240439 h 2380521"/>
              <a:gd name="connsiteX848" fmla="*/ 4570235 w 8023328"/>
              <a:gd name="connsiteY848" fmla="*/ 1225651 h 2380521"/>
              <a:gd name="connsiteX849" fmla="*/ 4585023 w 8023328"/>
              <a:gd name="connsiteY849" fmla="*/ 1210863 h 2380521"/>
              <a:gd name="connsiteX850" fmla="*/ 4513260 w 8023328"/>
              <a:gd name="connsiteY850" fmla="*/ 1210863 h 2380521"/>
              <a:gd name="connsiteX851" fmla="*/ 4525657 w 8023328"/>
              <a:gd name="connsiteY851" fmla="*/ 1225651 h 2380521"/>
              <a:gd name="connsiteX852" fmla="*/ 4513260 w 8023328"/>
              <a:gd name="connsiteY852" fmla="*/ 1240439 h 2380521"/>
              <a:gd name="connsiteX853" fmla="*/ 4499404 w 8023328"/>
              <a:gd name="connsiteY853" fmla="*/ 1225651 h 2380521"/>
              <a:gd name="connsiteX854" fmla="*/ 4513260 w 8023328"/>
              <a:gd name="connsiteY854" fmla="*/ 1210863 h 2380521"/>
              <a:gd name="connsiteX855" fmla="*/ 4439056 w 8023328"/>
              <a:gd name="connsiteY855" fmla="*/ 1210863 h 2380521"/>
              <a:gd name="connsiteX856" fmla="*/ 4451453 w 8023328"/>
              <a:gd name="connsiteY856" fmla="*/ 1225651 h 2380521"/>
              <a:gd name="connsiteX857" fmla="*/ 4439056 w 8023328"/>
              <a:gd name="connsiteY857" fmla="*/ 1240439 h 2380521"/>
              <a:gd name="connsiteX858" fmla="*/ 4425200 w 8023328"/>
              <a:gd name="connsiteY858" fmla="*/ 1225651 h 2380521"/>
              <a:gd name="connsiteX859" fmla="*/ 4439056 w 8023328"/>
              <a:gd name="connsiteY859" fmla="*/ 1210863 h 2380521"/>
              <a:gd name="connsiteX860" fmla="*/ 4366768 w 8023328"/>
              <a:gd name="connsiteY860" fmla="*/ 1210863 h 2380521"/>
              <a:gd name="connsiteX861" fmla="*/ 4380624 w 8023328"/>
              <a:gd name="connsiteY861" fmla="*/ 1225651 h 2380521"/>
              <a:gd name="connsiteX862" fmla="*/ 4366768 w 8023328"/>
              <a:gd name="connsiteY862" fmla="*/ 1240439 h 2380521"/>
              <a:gd name="connsiteX863" fmla="*/ 4354371 w 8023328"/>
              <a:gd name="connsiteY863" fmla="*/ 1225651 h 2380521"/>
              <a:gd name="connsiteX864" fmla="*/ 4366768 w 8023328"/>
              <a:gd name="connsiteY864" fmla="*/ 1210863 h 2380521"/>
              <a:gd name="connsiteX865" fmla="*/ 4295937 w 8023328"/>
              <a:gd name="connsiteY865" fmla="*/ 1210863 h 2380521"/>
              <a:gd name="connsiteX866" fmla="*/ 4309793 w 8023328"/>
              <a:gd name="connsiteY866" fmla="*/ 1225651 h 2380521"/>
              <a:gd name="connsiteX867" fmla="*/ 4295937 w 8023328"/>
              <a:gd name="connsiteY867" fmla="*/ 1240439 h 2380521"/>
              <a:gd name="connsiteX868" fmla="*/ 4283540 w 8023328"/>
              <a:gd name="connsiteY868" fmla="*/ 1225651 h 2380521"/>
              <a:gd name="connsiteX869" fmla="*/ 4295937 w 8023328"/>
              <a:gd name="connsiteY869" fmla="*/ 1210863 h 2380521"/>
              <a:gd name="connsiteX870" fmla="*/ 368953 w 8023328"/>
              <a:gd name="connsiteY870" fmla="*/ 1210863 h 2380521"/>
              <a:gd name="connsiteX871" fmla="*/ 383742 w 8023328"/>
              <a:gd name="connsiteY871" fmla="*/ 1225651 h 2380521"/>
              <a:gd name="connsiteX872" fmla="*/ 368953 w 8023328"/>
              <a:gd name="connsiteY872" fmla="*/ 1240439 h 2380521"/>
              <a:gd name="connsiteX873" fmla="*/ 354165 w 8023328"/>
              <a:gd name="connsiteY873" fmla="*/ 1225651 h 2380521"/>
              <a:gd name="connsiteX874" fmla="*/ 368953 w 8023328"/>
              <a:gd name="connsiteY874" fmla="*/ 1210863 h 2380521"/>
              <a:gd name="connsiteX875" fmla="*/ 297189 w 8023328"/>
              <a:gd name="connsiteY875" fmla="*/ 1210863 h 2380521"/>
              <a:gd name="connsiteX876" fmla="*/ 309586 w 8023328"/>
              <a:gd name="connsiteY876" fmla="*/ 1225651 h 2380521"/>
              <a:gd name="connsiteX877" fmla="*/ 297189 w 8023328"/>
              <a:gd name="connsiteY877" fmla="*/ 1240439 h 2380521"/>
              <a:gd name="connsiteX878" fmla="*/ 283334 w 8023328"/>
              <a:gd name="connsiteY878" fmla="*/ 1225651 h 2380521"/>
              <a:gd name="connsiteX879" fmla="*/ 297189 w 8023328"/>
              <a:gd name="connsiteY879" fmla="*/ 1210863 h 2380521"/>
              <a:gd name="connsiteX880" fmla="*/ 226361 w 8023328"/>
              <a:gd name="connsiteY880" fmla="*/ 1210863 h 2380521"/>
              <a:gd name="connsiteX881" fmla="*/ 238759 w 8023328"/>
              <a:gd name="connsiteY881" fmla="*/ 1225651 h 2380521"/>
              <a:gd name="connsiteX882" fmla="*/ 226361 w 8023328"/>
              <a:gd name="connsiteY882" fmla="*/ 1240439 h 2380521"/>
              <a:gd name="connsiteX883" fmla="*/ 212504 w 8023328"/>
              <a:gd name="connsiteY883" fmla="*/ 1225651 h 2380521"/>
              <a:gd name="connsiteX884" fmla="*/ 226361 w 8023328"/>
              <a:gd name="connsiteY884" fmla="*/ 1210863 h 2380521"/>
              <a:gd name="connsiteX885" fmla="*/ 155527 w 8023328"/>
              <a:gd name="connsiteY885" fmla="*/ 1210863 h 2380521"/>
              <a:gd name="connsiteX886" fmla="*/ 167924 w 8023328"/>
              <a:gd name="connsiteY886" fmla="*/ 1225651 h 2380521"/>
              <a:gd name="connsiteX887" fmla="*/ 155527 w 8023328"/>
              <a:gd name="connsiteY887" fmla="*/ 1240439 h 2380521"/>
              <a:gd name="connsiteX888" fmla="*/ 141671 w 8023328"/>
              <a:gd name="connsiteY888" fmla="*/ 1225651 h 2380521"/>
              <a:gd name="connsiteX889" fmla="*/ 155527 w 8023328"/>
              <a:gd name="connsiteY889" fmla="*/ 1210863 h 2380521"/>
              <a:gd name="connsiteX890" fmla="*/ 83239 w 8023328"/>
              <a:gd name="connsiteY890" fmla="*/ 1210863 h 2380521"/>
              <a:gd name="connsiteX891" fmla="*/ 97095 w 8023328"/>
              <a:gd name="connsiteY891" fmla="*/ 1225651 h 2380521"/>
              <a:gd name="connsiteX892" fmla="*/ 83239 w 8023328"/>
              <a:gd name="connsiteY892" fmla="*/ 1240439 h 2380521"/>
              <a:gd name="connsiteX893" fmla="*/ 70841 w 8023328"/>
              <a:gd name="connsiteY893" fmla="*/ 1225651 h 2380521"/>
              <a:gd name="connsiteX894" fmla="*/ 83239 w 8023328"/>
              <a:gd name="connsiteY894" fmla="*/ 1210863 h 2380521"/>
              <a:gd name="connsiteX895" fmla="*/ 12003 w 8023328"/>
              <a:gd name="connsiteY895" fmla="*/ 1210863 h 2380521"/>
              <a:gd name="connsiteX896" fmla="*/ 26244 w 8023328"/>
              <a:gd name="connsiteY896" fmla="*/ 1225651 h 2380521"/>
              <a:gd name="connsiteX897" fmla="*/ 12003 w 8023328"/>
              <a:gd name="connsiteY897" fmla="*/ 1240439 h 2380521"/>
              <a:gd name="connsiteX898" fmla="*/ 10 w 8023328"/>
              <a:gd name="connsiteY898" fmla="*/ 1225651 h 2380521"/>
              <a:gd name="connsiteX899" fmla="*/ 12003 w 8023328"/>
              <a:gd name="connsiteY899" fmla="*/ 1210863 h 2380521"/>
              <a:gd name="connsiteX900" fmla="*/ 7013492 w 8023328"/>
              <a:gd name="connsiteY900" fmla="*/ 1140032 h 2380521"/>
              <a:gd name="connsiteX901" fmla="*/ 7028280 w 8023328"/>
              <a:gd name="connsiteY901" fmla="*/ 1152429 h 2380521"/>
              <a:gd name="connsiteX902" fmla="*/ 7013492 w 8023328"/>
              <a:gd name="connsiteY902" fmla="*/ 1166286 h 2380521"/>
              <a:gd name="connsiteX903" fmla="*/ 6998704 w 8023328"/>
              <a:gd name="connsiteY903" fmla="*/ 1152429 h 2380521"/>
              <a:gd name="connsiteX904" fmla="*/ 7013492 w 8023328"/>
              <a:gd name="connsiteY904" fmla="*/ 1140032 h 2380521"/>
              <a:gd name="connsiteX905" fmla="*/ 6939085 w 8023328"/>
              <a:gd name="connsiteY905" fmla="*/ 1140032 h 2380521"/>
              <a:gd name="connsiteX906" fmla="*/ 6950753 w 8023328"/>
              <a:gd name="connsiteY906" fmla="*/ 1152429 h 2380521"/>
              <a:gd name="connsiteX907" fmla="*/ 6939085 w 8023328"/>
              <a:gd name="connsiteY907" fmla="*/ 1166286 h 2380521"/>
              <a:gd name="connsiteX908" fmla="*/ 6924500 w 8023328"/>
              <a:gd name="connsiteY908" fmla="*/ 1152429 h 2380521"/>
              <a:gd name="connsiteX909" fmla="*/ 6939085 w 8023328"/>
              <a:gd name="connsiteY909" fmla="*/ 1140032 h 2380521"/>
              <a:gd name="connsiteX910" fmla="*/ 6867525 w 8023328"/>
              <a:gd name="connsiteY910" fmla="*/ 1140032 h 2380521"/>
              <a:gd name="connsiteX911" fmla="*/ 6879922 w 8023328"/>
              <a:gd name="connsiteY911" fmla="*/ 1153888 h 2380521"/>
              <a:gd name="connsiteX912" fmla="*/ 6867525 w 8023328"/>
              <a:gd name="connsiteY912" fmla="*/ 1166286 h 2380521"/>
              <a:gd name="connsiteX913" fmla="*/ 6853669 w 8023328"/>
              <a:gd name="connsiteY913" fmla="*/ 1153888 h 2380521"/>
              <a:gd name="connsiteX914" fmla="*/ 6867525 w 8023328"/>
              <a:gd name="connsiteY914" fmla="*/ 1140032 h 2380521"/>
              <a:gd name="connsiteX915" fmla="*/ 6796696 w 8023328"/>
              <a:gd name="connsiteY915" fmla="*/ 1140032 h 2380521"/>
              <a:gd name="connsiteX916" fmla="*/ 6809093 w 8023328"/>
              <a:gd name="connsiteY916" fmla="*/ 1153888 h 2380521"/>
              <a:gd name="connsiteX917" fmla="*/ 6796696 w 8023328"/>
              <a:gd name="connsiteY917" fmla="*/ 1166286 h 2380521"/>
              <a:gd name="connsiteX918" fmla="*/ 6782840 w 8023328"/>
              <a:gd name="connsiteY918" fmla="*/ 1153888 h 2380521"/>
              <a:gd name="connsiteX919" fmla="*/ 6796696 w 8023328"/>
              <a:gd name="connsiteY919" fmla="*/ 1140032 h 2380521"/>
              <a:gd name="connsiteX920" fmla="*/ 6724405 w 8023328"/>
              <a:gd name="connsiteY920" fmla="*/ 1140032 h 2380521"/>
              <a:gd name="connsiteX921" fmla="*/ 6738261 w 8023328"/>
              <a:gd name="connsiteY921" fmla="*/ 1153888 h 2380521"/>
              <a:gd name="connsiteX922" fmla="*/ 6724405 w 8023328"/>
              <a:gd name="connsiteY922" fmla="*/ 1166286 h 2380521"/>
              <a:gd name="connsiteX923" fmla="*/ 6712008 w 8023328"/>
              <a:gd name="connsiteY923" fmla="*/ 1153888 h 2380521"/>
              <a:gd name="connsiteX924" fmla="*/ 6724405 w 8023328"/>
              <a:gd name="connsiteY924" fmla="*/ 1140032 h 2380521"/>
              <a:gd name="connsiteX925" fmla="*/ 6653576 w 8023328"/>
              <a:gd name="connsiteY925" fmla="*/ 1140032 h 2380521"/>
              <a:gd name="connsiteX926" fmla="*/ 6667432 w 8023328"/>
              <a:gd name="connsiteY926" fmla="*/ 1153888 h 2380521"/>
              <a:gd name="connsiteX927" fmla="*/ 6653576 w 8023328"/>
              <a:gd name="connsiteY927" fmla="*/ 1166286 h 2380521"/>
              <a:gd name="connsiteX928" fmla="*/ 6641179 w 8023328"/>
              <a:gd name="connsiteY928" fmla="*/ 1153888 h 2380521"/>
              <a:gd name="connsiteX929" fmla="*/ 6653576 w 8023328"/>
              <a:gd name="connsiteY929" fmla="*/ 1140032 h 2380521"/>
              <a:gd name="connsiteX930" fmla="*/ 6581764 w 8023328"/>
              <a:gd name="connsiteY930" fmla="*/ 1140032 h 2380521"/>
              <a:gd name="connsiteX931" fmla="*/ 6596552 w 8023328"/>
              <a:gd name="connsiteY931" fmla="*/ 1153888 h 2380521"/>
              <a:gd name="connsiteX932" fmla="*/ 6581764 w 8023328"/>
              <a:gd name="connsiteY932" fmla="*/ 1166286 h 2380521"/>
              <a:gd name="connsiteX933" fmla="*/ 6566976 w 8023328"/>
              <a:gd name="connsiteY933" fmla="*/ 1153888 h 2380521"/>
              <a:gd name="connsiteX934" fmla="*/ 6581764 w 8023328"/>
              <a:gd name="connsiteY934" fmla="*/ 1140032 h 2380521"/>
              <a:gd name="connsiteX935" fmla="*/ 6510933 w 8023328"/>
              <a:gd name="connsiteY935" fmla="*/ 1140032 h 2380521"/>
              <a:gd name="connsiteX936" fmla="*/ 6525722 w 8023328"/>
              <a:gd name="connsiteY936" fmla="*/ 1153888 h 2380521"/>
              <a:gd name="connsiteX937" fmla="*/ 6510933 w 8023328"/>
              <a:gd name="connsiteY937" fmla="*/ 1166286 h 2380521"/>
              <a:gd name="connsiteX938" fmla="*/ 6496144 w 8023328"/>
              <a:gd name="connsiteY938" fmla="*/ 1153888 h 2380521"/>
              <a:gd name="connsiteX939" fmla="*/ 6510933 w 8023328"/>
              <a:gd name="connsiteY939" fmla="*/ 1140032 h 2380521"/>
              <a:gd name="connsiteX940" fmla="*/ 6440492 w 8023328"/>
              <a:gd name="connsiteY940" fmla="*/ 1140032 h 2380521"/>
              <a:gd name="connsiteX941" fmla="*/ 6454911 w 8023328"/>
              <a:gd name="connsiteY941" fmla="*/ 1153888 h 2380521"/>
              <a:gd name="connsiteX942" fmla="*/ 6440492 w 8023328"/>
              <a:gd name="connsiteY942" fmla="*/ 1166286 h 2380521"/>
              <a:gd name="connsiteX943" fmla="*/ 6425315 w 8023328"/>
              <a:gd name="connsiteY943" fmla="*/ 1153888 h 2380521"/>
              <a:gd name="connsiteX944" fmla="*/ 6440492 w 8023328"/>
              <a:gd name="connsiteY944" fmla="*/ 1140032 h 2380521"/>
              <a:gd name="connsiteX945" fmla="*/ 6368340 w 8023328"/>
              <a:gd name="connsiteY945" fmla="*/ 1140032 h 2380521"/>
              <a:gd name="connsiteX946" fmla="*/ 6380737 w 8023328"/>
              <a:gd name="connsiteY946" fmla="*/ 1153888 h 2380521"/>
              <a:gd name="connsiteX947" fmla="*/ 6368340 w 8023328"/>
              <a:gd name="connsiteY947" fmla="*/ 1166286 h 2380521"/>
              <a:gd name="connsiteX948" fmla="*/ 6354484 w 8023328"/>
              <a:gd name="connsiteY948" fmla="*/ 1153888 h 2380521"/>
              <a:gd name="connsiteX949" fmla="*/ 6368340 w 8023328"/>
              <a:gd name="connsiteY949" fmla="*/ 1140032 h 2380521"/>
              <a:gd name="connsiteX950" fmla="*/ 6297511 w 8023328"/>
              <a:gd name="connsiteY950" fmla="*/ 1140032 h 2380521"/>
              <a:gd name="connsiteX951" fmla="*/ 6309908 w 8023328"/>
              <a:gd name="connsiteY951" fmla="*/ 1153888 h 2380521"/>
              <a:gd name="connsiteX952" fmla="*/ 6297511 w 8023328"/>
              <a:gd name="connsiteY952" fmla="*/ 1166286 h 2380521"/>
              <a:gd name="connsiteX953" fmla="*/ 6283655 w 8023328"/>
              <a:gd name="connsiteY953" fmla="*/ 1153888 h 2380521"/>
              <a:gd name="connsiteX954" fmla="*/ 6297511 w 8023328"/>
              <a:gd name="connsiteY954" fmla="*/ 1140032 h 2380521"/>
              <a:gd name="connsiteX955" fmla="*/ 6226679 w 8023328"/>
              <a:gd name="connsiteY955" fmla="*/ 1140032 h 2380521"/>
              <a:gd name="connsiteX956" fmla="*/ 6239076 w 8023328"/>
              <a:gd name="connsiteY956" fmla="*/ 1153888 h 2380521"/>
              <a:gd name="connsiteX957" fmla="*/ 6226679 w 8023328"/>
              <a:gd name="connsiteY957" fmla="*/ 1166286 h 2380521"/>
              <a:gd name="connsiteX958" fmla="*/ 6212823 w 8023328"/>
              <a:gd name="connsiteY958" fmla="*/ 1153888 h 2380521"/>
              <a:gd name="connsiteX959" fmla="*/ 6226679 w 8023328"/>
              <a:gd name="connsiteY959" fmla="*/ 1140032 h 2380521"/>
              <a:gd name="connsiteX960" fmla="*/ 6154391 w 8023328"/>
              <a:gd name="connsiteY960" fmla="*/ 1140032 h 2380521"/>
              <a:gd name="connsiteX961" fmla="*/ 6168247 w 8023328"/>
              <a:gd name="connsiteY961" fmla="*/ 1153888 h 2380521"/>
              <a:gd name="connsiteX962" fmla="*/ 6154391 w 8023328"/>
              <a:gd name="connsiteY962" fmla="*/ 1166286 h 2380521"/>
              <a:gd name="connsiteX963" fmla="*/ 6141994 w 8023328"/>
              <a:gd name="connsiteY963" fmla="*/ 1153888 h 2380521"/>
              <a:gd name="connsiteX964" fmla="*/ 6154391 w 8023328"/>
              <a:gd name="connsiteY964" fmla="*/ 1140032 h 2380521"/>
              <a:gd name="connsiteX965" fmla="*/ 6083559 w 8023328"/>
              <a:gd name="connsiteY965" fmla="*/ 1140032 h 2380521"/>
              <a:gd name="connsiteX966" fmla="*/ 6097415 w 8023328"/>
              <a:gd name="connsiteY966" fmla="*/ 1153888 h 2380521"/>
              <a:gd name="connsiteX967" fmla="*/ 6083559 w 8023328"/>
              <a:gd name="connsiteY967" fmla="*/ 1166286 h 2380521"/>
              <a:gd name="connsiteX968" fmla="*/ 6071162 w 8023328"/>
              <a:gd name="connsiteY968" fmla="*/ 1153888 h 2380521"/>
              <a:gd name="connsiteX969" fmla="*/ 6083559 w 8023328"/>
              <a:gd name="connsiteY969" fmla="*/ 1140032 h 2380521"/>
              <a:gd name="connsiteX970" fmla="*/ 6009356 w 8023328"/>
              <a:gd name="connsiteY970" fmla="*/ 1140032 h 2380521"/>
              <a:gd name="connsiteX971" fmla="*/ 6023212 w 8023328"/>
              <a:gd name="connsiteY971" fmla="*/ 1153888 h 2380521"/>
              <a:gd name="connsiteX972" fmla="*/ 6009356 w 8023328"/>
              <a:gd name="connsiteY972" fmla="*/ 1166286 h 2380521"/>
              <a:gd name="connsiteX973" fmla="*/ 5996959 w 8023328"/>
              <a:gd name="connsiteY973" fmla="*/ 1153888 h 2380521"/>
              <a:gd name="connsiteX974" fmla="*/ 6009356 w 8023328"/>
              <a:gd name="connsiteY974" fmla="*/ 1140032 h 2380521"/>
              <a:gd name="connsiteX975" fmla="*/ 5940548 w 8023328"/>
              <a:gd name="connsiteY975" fmla="*/ 1140032 h 2380521"/>
              <a:gd name="connsiteX976" fmla="*/ 5955726 w 8023328"/>
              <a:gd name="connsiteY976" fmla="*/ 1153888 h 2380521"/>
              <a:gd name="connsiteX977" fmla="*/ 5940548 w 8023328"/>
              <a:gd name="connsiteY977" fmla="*/ 1166286 h 2380521"/>
              <a:gd name="connsiteX978" fmla="*/ 5926130 w 8023328"/>
              <a:gd name="connsiteY978" fmla="*/ 1153888 h 2380521"/>
              <a:gd name="connsiteX979" fmla="*/ 5940548 w 8023328"/>
              <a:gd name="connsiteY979" fmla="*/ 1140032 h 2380521"/>
              <a:gd name="connsiteX980" fmla="*/ 5870088 w 8023328"/>
              <a:gd name="connsiteY980" fmla="*/ 1140032 h 2380521"/>
              <a:gd name="connsiteX981" fmla="*/ 5884877 w 8023328"/>
              <a:gd name="connsiteY981" fmla="*/ 1153888 h 2380521"/>
              <a:gd name="connsiteX982" fmla="*/ 5870088 w 8023328"/>
              <a:gd name="connsiteY982" fmla="*/ 1166286 h 2380521"/>
              <a:gd name="connsiteX983" fmla="*/ 5855299 w 8023328"/>
              <a:gd name="connsiteY983" fmla="*/ 1153888 h 2380521"/>
              <a:gd name="connsiteX984" fmla="*/ 5870088 w 8023328"/>
              <a:gd name="connsiteY984" fmla="*/ 1140032 h 2380521"/>
              <a:gd name="connsiteX985" fmla="*/ 5799257 w 8023328"/>
              <a:gd name="connsiteY985" fmla="*/ 1140032 h 2380521"/>
              <a:gd name="connsiteX986" fmla="*/ 5814045 w 8023328"/>
              <a:gd name="connsiteY986" fmla="*/ 1153888 h 2380521"/>
              <a:gd name="connsiteX987" fmla="*/ 5799257 w 8023328"/>
              <a:gd name="connsiteY987" fmla="*/ 1166286 h 2380521"/>
              <a:gd name="connsiteX988" fmla="*/ 5784469 w 8023328"/>
              <a:gd name="connsiteY988" fmla="*/ 1153888 h 2380521"/>
              <a:gd name="connsiteX989" fmla="*/ 5799257 w 8023328"/>
              <a:gd name="connsiteY989" fmla="*/ 1140032 h 2380521"/>
              <a:gd name="connsiteX990" fmla="*/ 5724122 w 8023328"/>
              <a:gd name="connsiteY990" fmla="*/ 1140032 h 2380521"/>
              <a:gd name="connsiteX991" fmla="*/ 5736519 w 8023328"/>
              <a:gd name="connsiteY991" fmla="*/ 1153888 h 2380521"/>
              <a:gd name="connsiteX992" fmla="*/ 5724122 w 8023328"/>
              <a:gd name="connsiteY992" fmla="*/ 1166286 h 2380521"/>
              <a:gd name="connsiteX993" fmla="*/ 5710266 w 8023328"/>
              <a:gd name="connsiteY993" fmla="*/ 1153888 h 2380521"/>
              <a:gd name="connsiteX994" fmla="*/ 5724122 w 8023328"/>
              <a:gd name="connsiteY994" fmla="*/ 1140032 h 2380521"/>
              <a:gd name="connsiteX995" fmla="*/ 5653291 w 8023328"/>
              <a:gd name="connsiteY995" fmla="*/ 1140032 h 2380521"/>
              <a:gd name="connsiteX996" fmla="*/ 5665688 w 8023328"/>
              <a:gd name="connsiteY996" fmla="*/ 1153888 h 2380521"/>
              <a:gd name="connsiteX997" fmla="*/ 5653291 w 8023328"/>
              <a:gd name="connsiteY997" fmla="*/ 1166286 h 2380521"/>
              <a:gd name="connsiteX998" fmla="*/ 5639435 w 8023328"/>
              <a:gd name="connsiteY998" fmla="*/ 1153888 h 2380521"/>
              <a:gd name="connsiteX999" fmla="*/ 5653291 w 8023328"/>
              <a:gd name="connsiteY999" fmla="*/ 1140032 h 2380521"/>
              <a:gd name="connsiteX1000" fmla="*/ 5581002 w 8023328"/>
              <a:gd name="connsiteY1000" fmla="*/ 1140032 h 2380521"/>
              <a:gd name="connsiteX1001" fmla="*/ 5594858 w 8023328"/>
              <a:gd name="connsiteY1001" fmla="*/ 1153888 h 2380521"/>
              <a:gd name="connsiteX1002" fmla="*/ 5581002 w 8023328"/>
              <a:gd name="connsiteY1002" fmla="*/ 1166286 h 2380521"/>
              <a:gd name="connsiteX1003" fmla="*/ 5568605 w 8023328"/>
              <a:gd name="connsiteY1003" fmla="*/ 1153888 h 2380521"/>
              <a:gd name="connsiteX1004" fmla="*/ 5581002 w 8023328"/>
              <a:gd name="connsiteY1004" fmla="*/ 1140032 h 2380521"/>
              <a:gd name="connsiteX1005" fmla="*/ 5510171 w 8023328"/>
              <a:gd name="connsiteY1005" fmla="*/ 1140032 h 2380521"/>
              <a:gd name="connsiteX1006" fmla="*/ 5524027 w 8023328"/>
              <a:gd name="connsiteY1006" fmla="*/ 1153888 h 2380521"/>
              <a:gd name="connsiteX1007" fmla="*/ 5510171 w 8023328"/>
              <a:gd name="connsiteY1007" fmla="*/ 1166286 h 2380521"/>
              <a:gd name="connsiteX1008" fmla="*/ 5497774 w 8023328"/>
              <a:gd name="connsiteY1008" fmla="*/ 1153888 h 2380521"/>
              <a:gd name="connsiteX1009" fmla="*/ 5510171 w 8023328"/>
              <a:gd name="connsiteY1009" fmla="*/ 1140032 h 2380521"/>
              <a:gd name="connsiteX1010" fmla="*/ 5438937 w 8023328"/>
              <a:gd name="connsiteY1010" fmla="*/ 1140032 h 2380521"/>
              <a:gd name="connsiteX1011" fmla="*/ 5453178 w 8023328"/>
              <a:gd name="connsiteY1011" fmla="*/ 1153888 h 2380521"/>
              <a:gd name="connsiteX1012" fmla="*/ 5438937 w 8023328"/>
              <a:gd name="connsiteY1012" fmla="*/ 1166286 h 2380521"/>
              <a:gd name="connsiteX1013" fmla="*/ 5426945 w 8023328"/>
              <a:gd name="connsiteY1013" fmla="*/ 1153888 h 2380521"/>
              <a:gd name="connsiteX1014" fmla="*/ 5438937 w 8023328"/>
              <a:gd name="connsiteY1014" fmla="*/ 1140032 h 2380521"/>
              <a:gd name="connsiteX1015" fmla="*/ 5367530 w 8023328"/>
              <a:gd name="connsiteY1015" fmla="*/ 1140032 h 2380521"/>
              <a:gd name="connsiteX1016" fmla="*/ 5382318 w 8023328"/>
              <a:gd name="connsiteY1016" fmla="*/ 1153888 h 2380521"/>
              <a:gd name="connsiteX1017" fmla="*/ 5367530 w 8023328"/>
              <a:gd name="connsiteY1017" fmla="*/ 1166286 h 2380521"/>
              <a:gd name="connsiteX1018" fmla="*/ 5352742 w 8023328"/>
              <a:gd name="connsiteY1018" fmla="*/ 1153888 h 2380521"/>
              <a:gd name="connsiteX1019" fmla="*/ 5367530 w 8023328"/>
              <a:gd name="connsiteY1019" fmla="*/ 1140032 h 2380521"/>
              <a:gd name="connsiteX1020" fmla="*/ 5296699 w 8023328"/>
              <a:gd name="connsiteY1020" fmla="*/ 1140032 h 2380521"/>
              <a:gd name="connsiteX1021" fmla="*/ 5311488 w 8023328"/>
              <a:gd name="connsiteY1021" fmla="*/ 1153888 h 2380521"/>
              <a:gd name="connsiteX1022" fmla="*/ 5296699 w 8023328"/>
              <a:gd name="connsiteY1022" fmla="*/ 1166286 h 2380521"/>
              <a:gd name="connsiteX1023" fmla="*/ 5281910 w 8023328"/>
              <a:gd name="connsiteY1023" fmla="*/ 1153888 h 2380521"/>
              <a:gd name="connsiteX1024" fmla="*/ 5296699 w 8023328"/>
              <a:gd name="connsiteY1024" fmla="*/ 1140032 h 2380521"/>
              <a:gd name="connsiteX1025" fmla="*/ 5225869 w 8023328"/>
              <a:gd name="connsiteY1025" fmla="*/ 1140032 h 2380521"/>
              <a:gd name="connsiteX1026" fmla="*/ 5240657 w 8023328"/>
              <a:gd name="connsiteY1026" fmla="*/ 1153888 h 2380521"/>
              <a:gd name="connsiteX1027" fmla="*/ 5225869 w 8023328"/>
              <a:gd name="connsiteY1027" fmla="*/ 1166286 h 2380521"/>
              <a:gd name="connsiteX1028" fmla="*/ 5211081 w 8023328"/>
              <a:gd name="connsiteY1028" fmla="*/ 1153888 h 2380521"/>
              <a:gd name="connsiteX1029" fmla="*/ 5225869 w 8023328"/>
              <a:gd name="connsiteY1029" fmla="*/ 1140032 h 2380521"/>
              <a:gd name="connsiteX1030" fmla="*/ 5154105 w 8023328"/>
              <a:gd name="connsiteY1030" fmla="*/ 1140032 h 2380521"/>
              <a:gd name="connsiteX1031" fmla="*/ 5166502 w 8023328"/>
              <a:gd name="connsiteY1031" fmla="*/ 1154821 h 2380521"/>
              <a:gd name="connsiteX1032" fmla="*/ 5154105 w 8023328"/>
              <a:gd name="connsiteY1032" fmla="*/ 1169610 h 2380521"/>
              <a:gd name="connsiteX1033" fmla="*/ 5140249 w 8023328"/>
              <a:gd name="connsiteY1033" fmla="*/ 1154821 h 2380521"/>
              <a:gd name="connsiteX1034" fmla="*/ 5154105 w 8023328"/>
              <a:gd name="connsiteY1034" fmla="*/ 1140032 h 2380521"/>
              <a:gd name="connsiteX1035" fmla="*/ 5083276 w 8023328"/>
              <a:gd name="connsiteY1035" fmla="*/ 1140032 h 2380521"/>
              <a:gd name="connsiteX1036" fmla="*/ 5095673 w 8023328"/>
              <a:gd name="connsiteY1036" fmla="*/ 1154821 h 2380521"/>
              <a:gd name="connsiteX1037" fmla="*/ 5083276 w 8023328"/>
              <a:gd name="connsiteY1037" fmla="*/ 1169610 h 2380521"/>
              <a:gd name="connsiteX1038" fmla="*/ 5069420 w 8023328"/>
              <a:gd name="connsiteY1038" fmla="*/ 1154821 h 2380521"/>
              <a:gd name="connsiteX1039" fmla="*/ 5083276 w 8023328"/>
              <a:gd name="connsiteY1039" fmla="*/ 1140032 h 2380521"/>
              <a:gd name="connsiteX1040" fmla="*/ 5012445 w 8023328"/>
              <a:gd name="connsiteY1040" fmla="*/ 1140032 h 2380521"/>
              <a:gd name="connsiteX1041" fmla="*/ 5024842 w 8023328"/>
              <a:gd name="connsiteY1041" fmla="*/ 1154821 h 2380521"/>
              <a:gd name="connsiteX1042" fmla="*/ 5012445 w 8023328"/>
              <a:gd name="connsiteY1042" fmla="*/ 1169610 h 2380521"/>
              <a:gd name="connsiteX1043" fmla="*/ 4998589 w 8023328"/>
              <a:gd name="connsiteY1043" fmla="*/ 1154821 h 2380521"/>
              <a:gd name="connsiteX1044" fmla="*/ 5012445 w 8023328"/>
              <a:gd name="connsiteY1044" fmla="*/ 1140032 h 2380521"/>
              <a:gd name="connsiteX1045" fmla="*/ 4940157 w 8023328"/>
              <a:gd name="connsiteY1045" fmla="*/ 1140032 h 2380521"/>
              <a:gd name="connsiteX1046" fmla="*/ 4954013 w 8023328"/>
              <a:gd name="connsiteY1046" fmla="*/ 1154821 h 2380521"/>
              <a:gd name="connsiteX1047" fmla="*/ 4940157 w 8023328"/>
              <a:gd name="connsiteY1047" fmla="*/ 1169610 h 2380521"/>
              <a:gd name="connsiteX1048" fmla="*/ 4927760 w 8023328"/>
              <a:gd name="connsiteY1048" fmla="*/ 1154821 h 2380521"/>
              <a:gd name="connsiteX1049" fmla="*/ 4940157 w 8023328"/>
              <a:gd name="connsiteY1049" fmla="*/ 1140032 h 2380521"/>
              <a:gd name="connsiteX1050" fmla="*/ 4865953 w 8023328"/>
              <a:gd name="connsiteY1050" fmla="*/ 1140032 h 2380521"/>
              <a:gd name="connsiteX1051" fmla="*/ 4879809 w 8023328"/>
              <a:gd name="connsiteY1051" fmla="*/ 1154821 h 2380521"/>
              <a:gd name="connsiteX1052" fmla="*/ 4865953 w 8023328"/>
              <a:gd name="connsiteY1052" fmla="*/ 1169610 h 2380521"/>
              <a:gd name="connsiteX1053" fmla="*/ 4853556 w 8023328"/>
              <a:gd name="connsiteY1053" fmla="*/ 1154821 h 2380521"/>
              <a:gd name="connsiteX1054" fmla="*/ 4865953 w 8023328"/>
              <a:gd name="connsiteY1054" fmla="*/ 1140032 h 2380521"/>
              <a:gd name="connsiteX1055" fmla="*/ 4795122 w 8023328"/>
              <a:gd name="connsiteY1055" fmla="*/ 1140032 h 2380521"/>
              <a:gd name="connsiteX1056" fmla="*/ 4808978 w 8023328"/>
              <a:gd name="connsiteY1056" fmla="*/ 1154821 h 2380521"/>
              <a:gd name="connsiteX1057" fmla="*/ 4795122 w 8023328"/>
              <a:gd name="connsiteY1057" fmla="*/ 1169610 h 2380521"/>
              <a:gd name="connsiteX1058" fmla="*/ 4782725 w 8023328"/>
              <a:gd name="connsiteY1058" fmla="*/ 1154821 h 2380521"/>
              <a:gd name="connsiteX1059" fmla="*/ 4795122 w 8023328"/>
              <a:gd name="connsiteY1059" fmla="*/ 1140032 h 2380521"/>
              <a:gd name="connsiteX1060" fmla="*/ 4726684 w 8023328"/>
              <a:gd name="connsiteY1060" fmla="*/ 1140032 h 2380521"/>
              <a:gd name="connsiteX1061" fmla="*/ 4741472 w 8023328"/>
              <a:gd name="connsiteY1061" fmla="*/ 1154821 h 2380521"/>
              <a:gd name="connsiteX1062" fmla="*/ 4726684 w 8023328"/>
              <a:gd name="connsiteY1062" fmla="*/ 1169610 h 2380521"/>
              <a:gd name="connsiteX1063" fmla="*/ 4711896 w 8023328"/>
              <a:gd name="connsiteY1063" fmla="*/ 1154821 h 2380521"/>
              <a:gd name="connsiteX1064" fmla="*/ 4726684 w 8023328"/>
              <a:gd name="connsiteY1064" fmla="*/ 1140032 h 2380521"/>
              <a:gd name="connsiteX1065" fmla="*/ 4655853 w 8023328"/>
              <a:gd name="connsiteY1065" fmla="*/ 1140032 h 2380521"/>
              <a:gd name="connsiteX1066" fmla="*/ 4670642 w 8023328"/>
              <a:gd name="connsiteY1066" fmla="*/ 1154821 h 2380521"/>
              <a:gd name="connsiteX1067" fmla="*/ 4655853 w 8023328"/>
              <a:gd name="connsiteY1067" fmla="*/ 1169610 h 2380521"/>
              <a:gd name="connsiteX1068" fmla="*/ 4641064 w 8023328"/>
              <a:gd name="connsiteY1068" fmla="*/ 1154821 h 2380521"/>
              <a:gd name="connsiteX1069" fmla="*/ 4655853 w 8023328"/>
              <a:gd name="connsiteY1069" fmla="*/ 1140032 h 2380521"/>
              <a:gd name="connsiteX1070" fmla="*/ 4585023 w 8023328"/>
              <a:gd name="connsiteY1070" fmla="*/ 1140032 h 2380521"/>
              <a:gd name="connsiteX1071" fmla="*/ 4599811 w 8023328"/>
              <a:gd name="connsiteY1071" fmla="*/ 1154821 h 2380521"/>
              <a:gd name="connsiteX1072" fmla="*/ 4585023 w 8023328"/>
              <a:gd name="connsiteY1072" fmla="*/ 1169610 h 2380521"/>
              <a:gd name="connsiteX1073" fmla="*/ 4570235 w 8023328"/>
              <a:gd name="connsiteY1073" fmla="*/ 1154821 h 2380521"/>
              <a:gd name="connsiteX1074" fmla="*/ 4585023 w 8023328"/>
              <a:gd name="connsiteY1074" fmla="*/ 1140032 h 2380521"/>
              <a:gd name="connsiteX1075" fmla="*/ 4513260 w 8023328"/>
              <a:gd name="connsiteY1075" fmla="*/ 1140032 h 2380521"/>
              <a:gd name="connsiteX1076" fmla="*/ 4525657 w 8023328"/>
              <a:gd name="connsiteY1076" fmla="*/ 1154821 h 2380521"/>
              <a:gd name="connsiteX1077" fmla="*/ 4513260 w 8023328"/>
              <a:gd name="connsiteY1077" fmla="*/ 1169610 h 2380521"/>
              <a:gd name="connsiteX1078" fmla="*/ 4499404 w 8023328"/>
              <a:gd name="connsiteY1078" fmla="*/ 1154821 h 2380521"/>
              <a:gd name="connsiteX1079" fmla="*/ 4513260 w 8023328"/>
              <a:gd name="connsiteY1079" fmla="*/ 1140032 h 2380521"/>
              <a:gd name="connsiteX1080" fmla="*/ 4439056 w 8023328"/>
              <a:gd name="connsiteY1080" fmla="*/ 1140032 h 2380521"/>
              <a:gd name="connsiteX1081" fmla="*/ 4451453 w 8023328"/>
              <a:gd name="connsiteY1081" fmla="*/ 1154821 h 2380521"/>
              <a:gd name="connsiteX1082" fmla="*/ 4439056 w 8023328"/>
              <a:gd name="connsiteY1082" fmla="*/ 1169610 h 2380521"/>
              <a:gd name="connsiteX1083" fmla="*/ 4425200 w 8023328"/>
              <a:gd name="connsiteY1083" fmla="*/ 1154821 h 2380521"/>
              <a:gd name="connsiteX1084" fmla="*/ 4439056 w 8023328"/>
              <a:gd name="connsiteY1084" fmla="*/ 1140032 h 2380521"/>
              <a:gd name="connsiteX1085" fmla="*/ 4366768 w 8023328"/>
              <a:gd name="connsiteY1085" fmla="*/ 1140032 h 2380521"/>
              <a:gd name="connsiteX1086" fmla="*/ 4380624 w 8023328"/>
              <a:gd name="connsiteY1086" fmla="*/ 1154821 h 2380521"/>
              <a:gd name="connsiteX1087" fmla="*/ 4366768 w 8023328"/>
              <a:gd name="connsiteY1087" fmla="*/ 1169610 h 2380521"/>
              <a:gd name="connsiteX1088" fmla="*/ 4354371 w 8023328"/>
              <a:gd name="connsiteY1088" fmla="*/ 1154821 h 2380521"/>
              <a:gd name="connsiteX1089" fmla="*/ 4366768 w 8023328"/>
              <a:gd name="connsiteY1089" fmla="*/ 1140032 h 2380521"/>
              <a:gd name="connsiteX1090" fmla="*/ 4295937 w 8023328"/>
              <a:gd name="connsiteY1090" fmla="*/ 1140032 h 2380521"/>
              <a:gd name="connsiteX1091" fmla="*/ 4309793 w 8023328"/>
              <a:gd name="connsiteY1091" fmla="*/ 1154821 h 2380521"/>
              <a:gd name="connsiteX1092" fmla="*/ 4295937 w 8023328"/>
              <a:gd name="connsiteY1092" fmla="*/ 1169610 h 2380521"/>
              <a:gd name="connsiteX1093" fmla="*/ 4283540 w 8023328"/>
              <a:gd name="connsiteY1093" fmla="*/ 1154821 h 2380521"/>
              <a:gd name="connsiteX1094" fmla="*/ 4295937 w 8023328"/>
              <a:gd name="connsiteY1094" fmla="*/ 1140032 h 2380521"/>
              <a:gd name="connsiteX1095" fmla="*/ 4225107 w 8023328"/>
              <a:gd name="connsiteY1095" fmla="*/ 1140032 h 2380521"/>
              <a:gd name="connsiteX1096" fmla="*/ 4238963 w 8023328"/>
              <a:gd name="connsiteY1096" fmla="*/ 1154821 h 2380521"/>
              <a:gd name="connsiteX1097" fmla="*/ 4225107 w 8023328"/>
              <a:gd name="connsiteY1097" fmla="*/ 1169610 h 2380521"/>
              <a:gd name="connsiteX1098" fmla="*/ 4212710 w 8023328"/>
              <a:gd name="connsiteY1098" fmla="*/ 1154821 h 2380521"/>
              <a:gd name="connsiteX1099" fmla="*/ 4225107 w 8023328"/>
              <a:gd name="connsiteY1099" fmla="*/ 1140032 h 2380521"/>
              <a:gd name="connsiteX1100" fmla="*/ 4153295 w 8023328"/>
              <a:gd name="connsiteY1100" fmla="*/ 1140032 h 2380521"/>
              <a:gd name="connsiteX1101" fmla="*/ 4168083 w 8023328"/>
              <a:gd name="connsiteY1101" fmla="*/ 1154821 h 2380521"/>
              <a:gd name="connsiteX1102" fmla="*/ 4153295 w 8023328"/>
              <a:gd name="connsiteY1102" fmla="*/ 1169610 h 2380521"/>
              <a:gd name="connsiteX1103" fmla="*/ 4138507 w 8023328"/>
              <a:gd name="connsiteY1103" fmla="*/ 1154821 h 2380521"/>
              <a:gd name="connsiteX1104" fmla="*/ 4153295 w 8023328"/>
              <a:gd name="connsiteY1104" fmla="*/ 1140032 h 2380521"/>
              <a:gd name="connsiteX1105" fmla="*/ 4082465 w 8023328"/>
              <a:gd name="connsiteY1105" fmla="*/ 1140032 h 2380521"/>
              <a:gd name="connsiteX1106" fmla="*/ 4097254 w 8023328"/>
              <a:gd name="connsiteY1106" fmla="*/ 1154821 h 2380521"/>
              <a:gd name="connsiteX1107" fmla="*/ 4082465 w 8023328"/>
              <a:gd name="connsiteY1107" fmla="*/ 1169610 h 2380521"/>
              <a:gd name="connsiteX1108" fmla="*/ 4067676 w 8023328"/>
              <a:gd name="connsiteY1108" fmla="*/ 1154821 h 2380521"/>
              <a:gd name="connsiteX1109" fmla="*/ 4082465 w 8023328"/>
              <a:gd name="connsiteY1109" fmla="*/ 1140032 h 2380521"/>
              <a:gd name="connsiteX1110" fmla="*/ 439789 w 8023328"/>
              <a:gd name="connsiteY1110" fmla="*/ 1140032 h 2380521"/>
              <a:gd name="connsiteX1111" fmla="*/ 454579 w 8023328"/>
              <a:gd name="connsiteY1111" fmla="*/ 1153888 h 2380521"/>
              <a:gd name="connsiteX1112" fmla="*/ 439789 w 8023328"/>
              <a:gd name="connsiteY1112" fmla="*/ 1166286 h 2380521"/>
              <a:gd name="connsiteX1113" fmla="*/ 425001 w 8023328"/>
              <a:gd name="connsiteY1113" fmla="*/ 1153888 h 2380521"/>
              <a:gd name="connsiteX1114" fmla="*/ 439789 w 8023328"/>
              <a:gd name="connsiteY1114" fmla="*/ 1140032 h 2380521"/>
              <a:gd name="connsiteX1115" fmla="*/ 368960 w 8023328"/>
              <a:gd name="connsiteY1115" fmla="*/ 1140032 h 2380521"/>
              <a:gd name="connsiteX1116" fmla="*/ 383747 w 8023328"/>
              <a:gd name="connsiteY1116" fmla="*/ 1153888 h 2380521"/>
              <a:gd name="connsiteX1117" fmla="*/ 368960 w 8023328"/>
              <a:gd name="connsiteY1117" fmla="*/ 1166286 h 2380521"/>
              <a:gd name="connsiteX1118" fmla="*/ 354172 w 8023328"/>
              <a:gd name="connsiteY1118" fmla="*/ 1153888 h 2380521"/>
              <a:gd name="connsiteX1119" fmla="*/ 368960 w 8023328"/>
              <a:gd name="connsiteY1119" fmla="*/ 1140032 h 2380521"/>
              <a:gd name="connsiteX1120" fmla="*/ 297194 w 8023328"/>
              <a:gd name="connsiteY1120" fmla="*/ 1140032 h 2380521"/>
              <a:gd name="connsiteX1121" fmla="*/ 309592 w 8023328"/>
              <a:gd name="connsiteY1121" fmla="*/ 1153888 h 2380521"/>
              <a:gd name="connsiteX1122" fmla="*/ 297194 w 8023328"/>
              <a:gd name="connsiteY1122" fmla="*/ 1166286 h 2380521"/>
              <a:gd name="connsiteX1123" fmla="*/ 283339 w 8023328"/>
              <a:gd name="connsiteY1123" fmla="*/ 1153888 h 2380521"/>
              <a:gd name="connsiteX1124" fmla="*/ 297194 w 8023328"/>
              <a:gd name="connsiteY1124" fmla="*/ 1140032 h 2380521"/>
              <a:gd name="connsiteX1125" fmla="*/ 226366 w 8023328"/>
              <a:gd name="connsiteY1125" fmla="*/ 1140032 h 2380521"/>
              <a:gd name="connsiteX1126" fmla="*/ 238764 w 8023328"/>
              <a:gd name="connsiteY1126" fmla="*/ 1153888 h 2380521"/>
              <a:gd name="connsiteX1127" fmla="*/ 226366 w 8023328"/>
              <a:gd name="connsiteY1127" fmla="*/ 1166286 h 2380521"/>
              <a:gd name="connsiteX1128" fmla="*/ 212510 w 8023328"/>
              <a:gd name="connsiteY1128" fmla="*/ 1153888 h 2380521"/>
              <a:gd name="connsiteX1129" fmla="*/ 226366 w 8023328"/>
              <a:gd name="connsiteY1129" fmla="*/ 1140032 h 2380521"/>
              <a:gd name="connsiteX1130" fmla="*/ 155532 w 8023328"/>
              <a:gd name="connsiteY1130" fmla="*/ 1140032 h 2380521"/>
              <a:gd name="connsiteX1131" fmla="*/ 167930 w 8023328"/>
              <a:gd name="connsiteY1131" fmla="*/ 1153888 h 2380521"/>
              <a:gd name="connsiteX1132" fmla="*/ 155532 w 8023328"/>
              <a:gd name="connsiteY1132" fmla="*/ 1166286 h 2380521"/>
              <a:gd name="connsiteX1133" fmla="*/ 141676 w 8023328"/>
              <a:gd name="connsiteY1133" fmla="*/ 1153888 h 2380521"/>
              <a:gd name="connsiteX1134" fmla="*/ 155532 w 8023328"/>
              <a:gd name="connsiteY1134" fmla="*/ 1140032 h 2380521"/>
              <a:gd name="connsiteX1135" fmla="*/ 83244 w 8023328"/>
              <a:gd name="connsiteY1135" fmla="*/ 1140032 h 2380521"/>
              <a:gd name="connsiteX1136" fmla="*/ 97100 w 8023328"/>
              <a:gd name="connsiteY1136" fmla="*/ 1153888 h 2380521"/>
              <a:gd name="connsiteX1137" fmla="*/ 83244 w 8023328"/>
              <a:gd name="connsiteY1137" fmla="*/ 1166286 h 2380521"/>
              <a:gd name="connsiteX1138" fmla="*/ 70846 w 8023328"/>
              <a:gd name="connsiteY1138" fmla="*/ 1153888 h 2380521"/>
              <a:gd name="connsiteX1139" fmla="*/ 83244 w 8023328"/>
              <a:gd name="connsiteY1139" fmla="*/ 1140032 h 2380521"/>
              <a:gd name="connsiteX1140" fmla="*/ 12008 w 8023328"/>
              <a:gd name="connsiteY1140" fmla="*/ 1140032 h 2380521"/>
              <a:gd name="connsiteX1141" fmla="*/ 26249 w 8023328"/>
              <a:gd name="connsiteY1141" fmla="*/ 1153888 h 2380521"/>
              <a:gd name="connsiteX1142" fmla="*/ 12008 w 8023328"/>
              <a:gd name="connsiteY1142" fmla="*/ 1166286 h 2380521"/>
              <a:gd name="connsiteX1143" fmla="*/ 16 w 8023328"/>
              <a:gd name="connsiteY1143" fmla="*/ 1153888 h 2380521"/>
              <a:gd name="connsiteX1144" fmla="*/ 12008 w 8023328"/>
              <a:gd name="connsiteY1144" fmla="*/ 1140032 h 2380521"/>
              <a:gd name="connsiteX1145" fmla="*/ 6867525 w 8023328"/>
              <a:gd name="connsiteY1145" fmla="*/ 1069203 h 2380521"/>
              <a:gd name="connsiteX1146" fmla="*/ 6879922 w 8023328"/>
              <a:gd name="connsiteY1146" fmla="*/ 1081600 h 2380521"/>
              <a:gd name="connsiteX1147" fmla="*/ 6867525 w 8023328"/>
              <a:gd name="connsiteY1147" fmla="*/ 1095457 h 2380521"/>
              <a:gd name="connsiteX1148" fmla="*/ 6853669 w 8023328"/>
              <a:gd name="connsiteY1148" fmla="*/ 1081600 h 2380521"/>
              <a:gd name="connsiteX1149" fmla="*/ 6867525 w 8023328"/>
              <a:gd name="connsiteY1149" fmla="*/ 1069203 h 2380521"/>
              <a:gd name="connsiteX1150" fmla="*/ 6795237 w 8023328"/>
              <a:gd name="connsiteY1150" fmla="*/ 1069203 h 2380521"/>
              <a:gd name="connsiteX1151" fmla="*/ 6809093 w 8023328"/>
              <a:gd name="connsiteY1151" fmla="*/ 1081600 h 2380521"/>
              <a:gd name="connsiteX1152" fmla="*/ 6796696 w 8023328"/>
              <a:gd name="connsiteY1152" fmla="*/ 1095457 h 2380521"/>
              <a:gd name="connsiteX1153" fmla="*/ 6782840 w 8023328"/>
              <a:gd name="connsiteY1153" fmla="*/ 1081600 h 2380521"/>
              <a:gd name="connsiteX1154" fmla="*/ 6795237 w 8023328"/>
              <a:gd name="connsiteY1154" fmla="*/ 1069203 h 2380521"/>
              <a:gd name="connsiteX1155" fmla="*/ 6724405 w 8023328"/>
              <a:gd name="connsiteY1155" fmla="*/ 1069203 h 2380521"/>
              <a:gd name="connsiteX1156" fmla="*/ 6738261 w 8023328"/>
              <a:gd name="connsiteY1156" fmla="*/ 1081600 h 2380521"/>
              <a:gd name="connsiteX1157" fmla="*/ 6724405 w 8023328"/>
              <a:gd name="connsiteY1157" fmla="*/ 1095457 h 2380521"/>
              <a:gd name="connsiteX1158" fmla="*/ 6712008 w 8023328"/>
              <a:gd name="connsiteY1158" fmla="*/ 1081600 h 2380521"/>
              <a:gd name="connsiteX1159" fmla="*/ 6724405 w 8023328"/>
              <a:gd name="connsiteY1159" fmla="*/ 1069203 h 2380521"/>
              <a:gd name="connsiteX1160" fmla="*/ 6653576 w 8023328"/>
              <a:gd name="connsiteY1160" fmla="*/ 1069203 h 2380521"/>
              <a:gd name="connsiteX1161" fmla="*/ 6667432 w 8023328"/>
              <a:gd name="connsiteY1161" fmla="*/ 1081600 h 2380521"/>
              <a:gd name="connsiteX1162" fmla="*/ 6653576 w 8023328"/>
              <a:gd name="connsiteY1162" fmla="*/ 1095457 h 2380521"/>
              <a:gd name="connsiteX1163" fmla="*/ 6641179 w 8023328"/>
              <a:gd name="connsiteY1163" fmla="*/ 1081600 h 2380521"/>
              <a:gd name="connsiteX1164" fmla="*/ 6653576 w 8023328"/>
              <a:gd name="connsiteY1164" fmla="*/ 1069203 h 2380521"/>
              <a:gd name="connsiteX1165" fmla="*/ 6581764 w 8023328"/>
              <a:gd name="connsiteY1165" fmla="*/ 1069203 h 2380521"/>
              <a:gd name="connsiteX1166" fmla="*/ 6596552 w 8023328"/>
              <a:gd name="connsiteY1166" fmla="*/ 1081600 h 2380521"/>
              <a:gd name="connsiteX1167" fmla="*/ 6581764 w 8023328"/>
              <a:gd name="connsiteY1167" fmla="*/ 1095457 h 2380521"/>
              <a:gd name="connsiteX1168" fmla="*/ 6566976 w 8023328"/>
              <a:gd name="connsiteY1168" fmla="*/ 1081600 h 2380521"/>
              <a:gd name="connsiteX1169" fmla="*/ 6581764 w 8023328"/>
              <a:gd name="connsiteY1169" fmla="*/ 1069203 h 2380521"/>
              <a:gd name="connsiteX1170" fmla="*/ 6510933 w 8023328"/>
              <a:gd name="connsiteY1170" fmla="*/ 1069203 h 2380521"/>
              <a:gd name="connsiteX1171" fmla="*/ 6525722 w 8023328"/>
              <a:gd name="connsiteY1171" fmla="*/ 1081600 h 2380521"/>
              <a:gd name="connsiteX1172" fmla="*/ 6510933 w 8023328"/>
              <a:gd name="connsiteY1172" fmla="*/ 1095457 h 2380521"/>
              <a:gd name="connsiteX1173" fmla="*/ 6496144 w 8023328"/>
              <a:gd name="connsiteY1173" fmla="*/ 1081600 h 2380521"/>
              <a:gd name="connsiteX1174" fmla="*/ 6510933 w 8023328"/>
              <a:gd name="connsiteY1174" fmla="*/ 1069203 h 2380521"/>
              <a:gd name="connsiteX1175" fmla="*/ 6440492 w 8023328"/>
              <a:gd name="connsiteY1175" fmla="*/ 1069203 h 2380521"/>
              <a:gd name="connsiteX1176" fmla="*/ 6454911 w 8023328"/>
              <a:gd name="connsiteY1176" fmla="*/ 1081600 h 2380521"/>
              <a:gd name="connsiteX1177" fmla="*/ 6440492 w 8023328"/>
              <a:gd name="connsiteY1177" fmla="*/ 1095457 h 2380521"/>
              <a:gd name="connsiteX1178" fmla="*/ 6425315 w 8023328"/>
              <a:gd name="connsiteY1178" fmla="*/ 1081600 h 2380521"/>
              <a:gd name="connsiteX1179" fmla="*/ 6440492 w 8023328"/>
              <a:gd name="connsiteY1179" fmla="*/ 1069203 h 2380521"/>
              <a:gd name="connsiteX1180" fmla="*/ 6368340 w 8023328"/>
              <a:gd name="connsiteY1180" fmla="*/ 1069203 h 2380521"/>
              <a:gd name="connsiteX1181" fmla="*/ 6380737 w 8023328"/>
              <a:gd name="connsiteY1181" fmla="*/ 1081600 h 2380521"/>
              <a:gd name="connsiteX1182" fmla="*/ 6368340 w 8023328"/>
              <a:gd name="connsiteY1182" fmla="*/ 1095457 h 2380521"/>
              <a:gd name="connsiteX1183" fmla="*/ 6354484 w 8023328"/>
              <a:gd name="connsiteY1183" fmla="*/ 1081600 h 2380521"/>
              <a:gd name="connsiteX1184" fmla="*/ 6368340 w 8023328"/>
              <a:gd name="connsiteY1184" fmla="*/ 1069203 h 2380521"/>
              <a:gd name="connsiteX1185" fmla="*/ 6297511 w 8023328"/>
              <a:gd name="connsiteY1185" fmla="*/ 1069203 h 2380521"/>
              <a:gd name="connsiteX1186" fmla="*/ 6309908 w 8023328"/>
              <a:gd name="connsiteY1186" fmla="*/ 1081600 h 2380521"/>
              <a:gd name="connsiteX1187" fmla="*/ 6297511 w 8023328"/>
              <a:gd name="connsiteY1187" fmla="*/ 1095457 h 2380521"/>
              <a:gd name="connsiteX1188" fmla="*/ 6283655 w 8023328"/>
              <a:gd name="connsiteY1188" fmla="*/ 1081600 h 2380521"/>
              <a:gd name="connsiteX1189" fmla="*/ 6297511 w 8023328"/>
              <a:gd name="connsiteY1189" fmla="*/ 1069203 h 2380521"/>
              <a:gd name="connsiteX1190" fmla="*/ 6226679 w 8023328"/>
              <a:gd name="connsiteY1190" fmla="*/ 1069203 h 2380521"/>
              <a:gd name="connsiteX1191" fmla="*/ 6239076 w 8023328"/>
              <a:gd name="connsiteY1191" fmla="*/ 1081600 h 2380521"/>
              <a:gd name="connsiteX1192" fmla="*/ 6226679 w 8023328"/>
              <a:gd name="connsiteY1192" fmla="*/ 1095457 h 2380521"/>
              <a:gd name="connsiteX1193" fmla="*/ 6212823 w 8023328"/>
              <a:gd name="connsiteY1193" fmla="*/ 1083059 h 2380521"/>
              <a:gd name="connsiteX1194" fmla="*/ 6226679 w 8023328"/>
              <a:gd name="connsiteY1194" fmla="*/ 1069203 h 2380521"/>
              <a:gd name="connsiteX1195" fmla="*/ 6154391 w 8023328"/>
              <a:gd name="connsiteY1195" fmla="*/ 1069203 h 2380521"/>
              <a:gd name="connsiteX1196" fmla="*/ 6168247 w 8023328"/>
              <a:gd name="connsiteY1196" fmla="*/ 1083059 h 2380521"/>
              <a:gd name="connsiteX1197" fmla="*/ 6154391 w 8023328"/>
              <a:gd name="connsiteY1197" fmla="*/ 1095457 h 2380521"/>
              <a:gd name="connsiteX1198" fmla="*/ 6141994 w 8023328"/>
              <a:gd name="connsiteY1198" fmla="*/ 1083059 h 2380521"/>
              <a:gd name="connsiteX1199" fmla="*/ 6154391 w 8023328"/>
              <a:gd name="connsiteY1199" fmla="*/ 1069203 h 2380521"/>
              <a:gd name="connsiteX1200" fmla="*/ 6083559 w 8023328"/>
              <a:gd name="connsiteY1200" fmla="*/ 1069203 h 2380521"/>
              <a:gd name="connsiteX1201" fmla="*/ 6097415 w 8023328"/>
              <a:gd name="connsiteY1201" fmla="*/ 1083059 h 2380521"/>
              <a:gd name="connsiteX1202" fmla="*/ 6083559 w 8023328"/>
              <a:gd name="connsiteY1202" fmla="*/ 1095457 h 2380521"/>
              <a:gd name="connsiteX1203" fmla="*/ 6071162 w 8023328"/>
              <a:gd name="connsiteY1203" fmla="*/ 1083059 h 2380521"/>
              <a:gd name="connsiteX1204" fmla="*/ 6083559 w 8023328"/>
              <a:gd name="connsiteY1204" fmla="*/ 1069203 h 2380521"/>
              <a:gd name="connsiteX1205" fmla="*/ 6009356 w 8023328"/>
              <a:gd name="connsiteY1205" fmla="*/ 1069203 h 2380521"/>
              <a:gd name="connsiteX1206" fmla="*/ 6023212 w 8023328"/>
              <a:gd name="connsiteY1206" fmla="*/ 1083059 h 2380521"/>
              <a:gd name="connsiteX1207" fmla="*/ 6009356 w 8023328"/>
              <a:gd name="connsiteY1207" fmla="*/ 1095457 h 2380521"/>
              <a:gd name="connsiteX1208" fmla="*/ 5996959 w 8023328"/>
              <a:gd name="connsiteY1208" fmla="*/ 1083059 h 2380521"/>
              <a:gd name="connsiteX1209" fmla="*/ 6009356 w 8023328"/>
              <a:gd name="connsiteY1209" fmla="*/ 1069203 h 2380521"/>
              <a:gd name="connsiteX1210" fmla="*/ 5940548 w 8023328"/>
              <a:gd name="connsiteY1210" fmla="*/ 1069203 h 2380521"/>
              <a:gd name="connsiteX1211" fmla="*/ 5955726 w 8023328"/>
              <a:gd name="connsiteY1211" fmla="*/ 1083059 h 2380521"/>
              <a:gd name="connsiteX1212" fmla="*/ 5940548 w 8023328"/>
              <a:gd name="connsiteY1212" fmla="*/ 1095457 h 2380521"/>
              <a:gd name="connsiteX1213" fmla="*/ 5926130 w 8023328"/>
              <a:gd name="connsiteY1213" fmla="*/ 1083059 h 2380521"/>
              <a:gd name="connsiteX1214" fmla="*/ 5940548 w 8023328"/>
              <a:gd name="connsiteY1214" fmla="*/ 1069203 h 2380521"/>
              <a:gd name="connsiteX1215" fmla="*/ 5870088 w 8023328"/>
              <a:gd name="connsiteY1215" fmla="*/ 1069203 h 2380521"/>
              <a:gd name="connsiteX1216" fmla="*/ 5884877 w 8023328"/>
              <a:gd name="connsiteY1216" fmla="*/ 1083059 h 2380521"/>
              <a:gd name="connsiteX1217" fmla="*/ 5870088 w 8023328"/>
              <a:gd name="connsiteY1217" fmla="*/ 1095457 h 2380521"/>
              <a:gd name="connsiteX1218" fmla="*/ 5855299 w 8023328"/>
              <a:gd name="connsiteY1218" fmla="*/ 1083059 h 2380521"/>
              <a:gd name="connsiteX1219" fmla="*/ 5870088 w 8023328"/>
              <a:gd name="connsiteY1219" fmla="*/ 1069203 h 2380521"/>
              <a:gd name="connsiteX1220" fmla="*/ 5799257 w 8023328"/>
              <a:gd name="connsiteY1220" fmla="*/ 1069203 h 2380521"/>
              <a:gd name="connsiteX1221" fmla="*/ 5814045 w 8023328"/>
              <a:gd name="connsiteY1221" fmla="*/ 1083059 h 2380521"/>
              <a:gd name="connsiteX1222" fmla="*/ 5799257 w 8023328"/>
              <a:gd name="connsiteY1222" fmla="*/ 1095457 h 2380521"/>
              <a:gd name="connsiteX1223" fmla="*/ 5784469 w 8023328"/>
              <a:gd name="connsiteY1223" fmla="*/ 1083059 h 2380521"/>
              <a:gd name="connsiteX1224" fmla="*/ 5799257 w 8023328"/>
              <a:gd name="connsiteY1224" fmla="*/ 1069203 h 2380521"/>
              <a:gd name="connsiteX1225" fmla="*/ 5724122 w 8023328"/>
              <a:gd name="connsiteY1225" fmla="*/ 1069203 h 2380521"/>
              <a:gd name="connsiteX1226" fmla="*/ 5736519 w 8023328"/>
              <a:gd name="connsiteY1226" fmla="*/ 1083059 h 2380521"/>
              <a:gd name="connsiteX1227" fmla="*/ 5724122 w 8023328"/>
              <a:gd name="connsiteY1227" fmla="*/ 1095457 h 2380521"/>
              <a:gd name="connsiteX1228" fmla="*/ 5710266 w 8023328"/>
              <a:gd name="connsiteY1228" fmla="*/ 1083059 h 2380521"/>
              <a:gd name="connsiteX1229" fmla="*/ 5724122 w 8023328"/>
              <a:gd name="connsiteY1229" fmla="*/ 1069203 h 2380521"/>
              <a:gd name="connsiteX1230" fmla="*/ 5653291 w 8023328"/>
              <a:gd name="connsiteY1230" fmla="*/ 1069203 h 2380521"/>
              <a:gd name="connsiteX1231" fmla="*/ 5665688 w 8023328"/>
              <a:gd name="connsiteY1231" fmla="*/ 1083059 h 2380521"/>
              <a:gd name="connsiteX1232" fmla="*/ 5653291 w 8023328"/>
              <a:gd name="connsiteY1232" fmla="*/ 1095457 h 2380521"/>
              <a:gd name="connsiteX1233" fmla="*/ 5639435 w 8023328"/>
              <a:gd name="connsiteY1233" fmla="*/ 1083059 h 2380521"/>
              <a:gd name="connsiteX1234" fmla="*/ 5653291 w 8023328"/>
              <a:gd name="connsiteY1234" fmla="*/ 1069203 h 2380521"/>
              <a:gd name="connsiteX1235" fmla="*/ 5581002 w 8023328"/>
              <a:gd name="connsiteY1235" fmla="*/ 1069203 h 2380521"/>
              <a:gd name="connsiteX1236" fmla="*/ 5594858 w 8023328"/>
              <a:gd name="connsiteY1236" fmla="*/ 1083059 h 2380521"/>
              <a:gd name="connsiteX1237" fmla="*/ 5581002 w 8023328"/>
              <a:gd name="connsiteY1237" fmla="*/ 1095457 h 2380521"/>
              <a:gd name="connsiteX1238" fmla="*/ 5568605 w 8023328"/>
              <a:gd name="connsiteY1238" fmla="*/ 1083059 h 2380521"/>
              <a:gd name="connsiteX1239" fmla="*/ 5581002 w 8023328"/>
              <a:gd name="connsiteY1239" fmla="*/ 1069203 h 2380521"/>
              <a:gd name="connsiteX1240" fmla="*/ 5510171 w 8023328"/>
              <a:gd name="connsiteY1240" fmla="*/ 1069203 h 2380521"/>
              <a:gd name="connsiteX1241" fmla="*/ 5524027 w 8023328"/>
              <a:gd name="connsiteY1241" fmla="*/ 1083059 h 2380521"/>
              <a:gd name="connsiteX1242" fmla="*/ 5510171 w 8023328"/>
              <a:gd name="connsiteY1242" fmla="*/ 1095457 h 2380521"/>
              <a:gd name="connsiteX1243" fmla="*/ 5497774 w 8023328"/>
              <a:gd name="connsiteY1243" fmla="*/ 1083059 h 2380521"/>
              <a:gd name="connsiteX1244" fmla="*/ 5510171 w 8023328"/>
              <a:gd name="connsiteY1244" fmla="*/ 1069203 h 2380521"/>
              <a:gd name="connsiteX1245" fmla="*/ 5438937 w 8023328"/>
              <a:gd name="connsiteY1245" fmla="*/ 1069203 h 2380521"/>
              <a:gd name="connsiteX1246" fmla="*/ 5453178 w 8023328"/>
              <a:gd name="connsiteY1246" fmla="*/ 1083059 h 2380521"/>
              <a:gd name="connsiteX1247" fmla="*/ 5438937 w 8023328"/>
              <a:gd name="connsiteY1247" fmla="*/ 1095457 h 2380521"/>
              <a:gd name="connsiteX1248" fmla="*/ 5426945 w 8023328"/>
              <a:gd name="connsiteY1248" fmla="*/ 1083059 h 2380521"/>
              <a:gd name="connsiteX1249" fmla="*/ 5438937 w 8023328"/>
              <a:gd name="connsiteY1249" fmla="*/ 1069203 h 2380521"/>
              <a:gd name="connsiteX1250" fmla="*/ 5367530 w 8023328"/>
              <a:gd name="connsiteY1250" fmla="*/ 1069203 h 2380521"/>
              <a:gd name="connsiteX1251" fmla="*/ 5382318 w 8023328"/>
              <a:gd name="connsiteY1251" fmla="*/ 1083059 h 2380521"/>
              <a:gd name="connsiteX1252" fmla="*/ 5367530 w 8023328"/>
              <a:gd name="connsiteY1252" fmla="*/ 1095457 h 2380521"/>
              <a:gd name="connsiteX1253" fmla="*/ 5352742 w 8023328"/>
              <a:gd name="connsiteY1253" fmla="*/ 1083059 h 2380521"/>
              <a:gd name="connsiteX1254" fmla="*/ 5367530 w 8023328"/>
              <a:gd name="connsiteY1254" fmla="*/ 1069203 h 2380521"/>
              <a:gd name="connsiteX1255" fmla="*/ 5296699 w 8023328"/>
              <a:gd name="connsiteY1255" fmla="*/ 1069203 h 2380521"/>
              <a:gd name="connsiteX1256" fmla="*/ 5311488 w 8023328"/>
              <a:gd name="connsiteY1256" fmla="*/ 1083059 h 2380521"/>
              <a:gd name="connsiteX1257" fmla="*/ 5296699 w 8023328"/>
              <a:gd name="connsiteY1257" fmla="*/ 1095457 h 2380521"/>
              <a:gd name="connsiteX1258" fmla="*/ 5281910 w 8023328"/>
              <a:gd name="connsiteY1258" fmla="*/ 1083059 h 2380521"/>
              <a:gd name="connsiteX1259" fmla="*/ 5296699 w 8023328"/>
              <a:gd name="connsiteY1259" fmla="*/ 1069203 h 2380521"/>
              <a:gd name="connsiteX1260" fmla="*/ 5225869 w 8023328"/>
              <a:gd name="connsiteY1260" fmla="*/ 1069203 h 2380521"/>
              <a:gd name="connsiteX1261" fmla="*/ 5240657 w 8023328"/>
              <a:gd name="connsiteY1261" fmla="*/ 1083059 h 2380521"/>
              <a:gd name="connsiteX1262" fmla="*/ 5225869 w 8023328"/>
              <a:gd name="connsiteY1262" fmla="*/ 1095457 h 2380521"/>
              <a:gd name="connsiteX1263" fmla="*/ 5211081 w 8023328"/>
              <a:gd name="connsiteY1263" fmla="*/ 1083059 h 2380521"/>
              <a:gd name="connsiteX1264" fmla="*/ 5225869 w 8023328"/>
              <a:gd name="connsiteY1264" fmla="*/ 1069203 h 2380521"/>
              <a:gd name="connsiteX1265" fmla="*/ 5154105 w 8023328"/>
              <a:gd name="connsiteY1265" fmla="*/ 1069203 h 2380521"/>
              <a:gd name="connsiteX1266" fmla="*/ 5166502 w 8023328"/>
              <a:gd name="connsiteY1266" fmla="*/ 1083059 h 2380521"/>
              <a:gd name="connsiteX1267" fmla="*/ 5154105 w 8023328"/>
              <a:gd name="connsiteY1267" fmla="*/ 1095457 h 2380521"/>
              <a:gd name="connsiteX1268" fmla="*/ 5140249 w 8023328"/>
              <a:gd name="connsiteY1268" fmla="*/ 1083059 h 2380521"/>
              <a:gd name="connsiteX1269" fmla="*/ 5154105 w 8023328"/>
              <a:gd name="connsiteY1269" fmla="*/ 1069203 h 2380521"/>
              <a:gd name="connsiteX1270" fmla="*/ 5083276 w 8023328"/>
              <a:gd name="connsiteY1270" fmla="*/ 1069203 h 2380521"/>
              <a:gd name="connsiteX1271" fmla="*/ 5095673 w 8023328"/>
              <a:gd name="connsiteY1271" fmla="*/ 1083059 h 2380521"/>
              <a:gd name="connsiteX1272" fmla="*/ 5083276 w 8023328"/>
              <a:gd name="connsiteY1272" fmla="*/ 1095457 h 2380521"/>
              <a:gd name="connsiteX1273" fmla="*/ 5069420 w 8023328"/>
              <a:gd name="connsiteY1273" fmla="*/ 1083059 h 2380521"/>
              <a:gd name="connsiteX1274" fmla="*/ 5083276 w 8023328"/>
              <a:gd name="connsiteY1274" fmla="*/ 1069203 h 2380521"/>
              <a:gd name="connsiteX1275" fmla="*/ 5012445 w 8023328"/>
              <a:gd name="connsiteY1275" fmla="*/ 1069203 h 2380521"/>
              <a:gd name="connsiteX1276" fmla="*/ 5024842 w 8023328"/>
              <a:gd name="connsiteY1276" fmla="*/ 1083059 h 2380521"/>
              <a:gd name="connsiteX1277" fmla="*/ 5012445 w 8023328"/>
              <a:gd name="connsiteY1277" fmla="*/ 1095457 h 2380521"/>
              <a:gd name="connsiteX1278" fmla="*/ 4998589 w 8023328"/>
              <a:gd name="connsiteY1278" fmla="*/ 1083059 h 2380521"/>
              <a:gd name="connsiteX1279" fmla="*/ 5012445 w 8023328"/>
              <a:gd name="connsiteY1279" fmla="*/ 1069203 h 2380521"/>
              <a:gd name="connsiteX1280" fmla="*/ 4940157 w 8023328"/>
              <a:gd name="connsiteY1280" fmla="*/ 1069203 h 2380521"/>
              <a:gd name="connsiteX1281" fmla="*/ 4954013 w 8023328"/>
              <a:gd name="connsiteY1281" fmla="*/ 1083059 h 2380521"/>
              <a:gd name="connsiteX1282" fmla="*/ 4940157 w 8023328"/>
              <a:gd name="connsiteY1282" fmla="*/ 1095457 h 2380521"/>
              <a:gd name="connsiteX1283" fmla="*/ 4927760 w 8023328"/>
              <a:gd name="connsiteY1283" fmla="*/ 1083059 h 2380521"/>
              <a:gd name="connsiteX1284" fmla="*/ 4940157 w 8023328"/>
              <a:gd name="connsiteY1284" fmla="*/ 1069203 h 2380521"/>
              <a:gd name="connsiteX1285" fmla="*/ 4865953 w 8023328"/>
              <a:gd name="connsiteY1285" fmla="*/ 1069203 h 2380521"/>
              <a:gd name="connsiteX1286" fmla="*/ 4879809 w 8023328"/>
              <a:gd name="connsiteY1286" fmla="*/ 1083059 h 2380521"/>
              <a:gd name="connsiteX1287" fmla="*/ 4865953 w 8023328"/>
              <a:gd name="connsiteY1287" fmla="*/ 1095457 h 2380521"/>
              <a:gd name="connsiteX1288" fmla="*/ 4853556 w 8023328"/>
              <a:gd name="connsiteY1288" fmla="*/ 1083059 h 2380521"/>
              <a:gd name="connsiteX1289" fmla="*/ 4865953 w 8023328"/>
              <a:gd name="connsiteY1289" fmla="*/ 1069203 h 2380521"/>
              <a:gd name="connsiteX1290" fmla="*/ 4795122 w 8023328"/>
              <a:gd name="connsiteY1290" fmla="*/ 1069203 h 2380521"/>
              <a:gd name="connsiteX1291" fmla="*/ 4808978 w 8023328"/>
              <a:gd name="connsiteY1291" fmla="*/ 1083059 h 2380521"/>
              <a:gd name="connsiteX1292" fmla="*/ 4795122 w 8023328"/>
              <a:gd name="connsiteY1292" fmla="*/ 1095457 h 2380521"/>
              <a:gd name="connsiteX1293" fmla="*/ 4782725 w 8023328"/>
              <a:gd name="connsiteY1293" fmla="*/ 1083059 h 2380521"/>
              <a:gd name="connsiteX1294" fmla="*/ 4795122 w 8023328"/>
              <a:gd name="connsiteY1294" fmla="*/ 1069203 h 2380521"/>
              <a:gd name="connsiteX1295" fmla="*/ 4726684 w 8023328"/>
              <a:gd name="connsiteY1295" fmla="*/ 1069203 h 2380521"/>
              <a:gd name="connsiteX1296" fmla="*/ 4741472 w 8023328"/>
              <a:gd name="connsiteY1296" fmla="*/ 1083059 h 2380521"/>
              <a:gd name="connsiteX1297" fmla="*/ 4726684 w 8023328"/>
              <a:gd name="connsiteY1297" fmla="*/ 1095457 h 2380521"/>
              <a:gd name="connsiteX1298" fmla="*/ 4711896 w 8023328"/>
              <a:gd name="connsiteY1298" fmla="*/ 1083059 h 2380521"/>
              <a:gd name="connsiteX1299" fmla="*/ 4726684 w 8023328"/>
              <a:gd name="connsiteY1299" fmla="*/ 1069203 h 2380521"/>
              <a:gd name="connsiteX1300" fmla="*/ 4655853 w 8023328"/>
              <a:gd name="connsiteY1300" fmla="*/ 1069203 h 2380521"/>
              <a:gd name="connsiteX1301" fmla="*/ 4670642 w 8023328"/>
              <a:gd name="connsiteY1301" fmla="*/ 1083059 h 2380521"/>
              <a:gd name="connsiteX1302" fmla="*/ 4655853 w 8023328"/>
              <a:gd name="connsiteY1302" fmla="*/ 1095457 h 2380521"/>
              <a:gd name="connsiteX1303" fmla="*/ 4641064 w 8023328"/>
              <a:gd name="connsiteY1303" fmla="*/ 1083059 h 2380521"/>
              <a:gd name="connsiteX1304" fmla="*/ 4655853 w 8023328"/>
              <a:gd name="connsiteY1304" fmla="*/ 1069203 h 2380521"/>
              <a:gd name="connsiteX1305" fmla="*/ 4585023 w 8023328"/>
              <a:gd name="connsiteY1305" fmla="*/ 1069203 h 2380521"/>
              <a:gd name="connsiteX1306" fmla="*/ 4599811 w 8023328"/>
              <a:gd name="connsiteY1306" fmla="*/ 1083059 h 2380521"/>
              <a:gd name="connsiteX1307" fmla="*/ 4585023 w 8023328"/>
              <a:gd name="connsiteY1307" fmla="*/ 1095457 h 2380521"/>
              <a:gd name="connsiteX1308" fmla="*/ 4570235 w 8023328"/>
              <a:gd name="connsiteY1308" fmla="*/ 1083059 h 2380521"/>
              <a:gd name="connsiteX1309" fmla="*/ 4585023 w 8023328"/>
              <a:gd name="connsiteY1309" fmla="*/ 1069203 h 2380521"/>
              <a:gd name="connsiteX1310" fmla="*/ 4513260 w 8023328"/>
              <a:gd name="connsiteY1310" fmla="*/ 1069203 h 2380521"/>
              <a:gd name="connsiteX1311" fmla="*/ 4525657 w 8023328"/>
              <a:gd name="connsiteY1311" fmla="*/ 1083991 h 2380521"/>
              <a:gd name="connsiteX1312" fmla="*/ 4513260 w 8023328"/>
              <a:gd name="connsiteY1312" fmla="*/ 1098780 h 2380521"/>
              <a:gd name="connsiteX1313" fmla="*/ 4499404 w 8023328"/>
              <a:gd name="connsiteY1313" fmla="*/ 1083991 h 2380521"/>
              <a:gd name="connsiteX1314" fmla="*/ 4513260 w 8023328"/>
              <a:gd name="connsiteY1314" fmla="*/ 1069203 h 2380521"/>
              <a:gd name="connsiteX1315" fmla="*/ 4439056 w 8023328"/>
              <a:gd name="connsiteY1315" fmla="*/ 1069203 h 2380521"/>
              <a:gd name="connsiteX1316" fmla="*/ 4451453 w 8023328"/>
              <a:gd name="connsiteY1316" fmla="*/ 1083991 h 2380521"/>
              <a:gd name="connsiteX1317" fmla="*/ 4439056 w 8023328"/>
              <a:gd name="connsiteY1317" fmla="*/ 1098780 h 2380521"/>
              <a:gd name="connsiteX1318" fmla="*/ 4425200 w 8023328"/>
              <a:gd name="connsiteY1318" fmla="*/ 1083991 h 2380521"/>
              <a:gd name="connsiteX1319" fmla="*/ 4439056 w 8023328"/>
              <a:gd name="connsiteY1319" fmla="*/ 1069203 h 2380521"/>
              <a:gd name="connsiteX1320" fmla="*/ 4366768 w 8023328"/>
              <a:gd name="connsiteY1320" fmla="*/ 1069203 h 2380521"/>
              <a:gd name="connsiteX1321" fmla="*/ 4380624 w 8023328"/>
              <a:gd name="connsiteY1321" fmla="*/ 1083991 h 2380521"/>
              <a:gd name="connsiteX1322" fmla="*/ 4366768 w 8023328"/>
              <a:gd name="connsiteY1322" fmla="*/ 1098780 h 2380521"/>
              <a:gd name="connsiteX1323" fmla="*/ 4354371 w 8023328"/>
              <a:gd name="connsiteY1323" fmla="*/ 1083991 h 2380521"/>
              <a:gd name="connsiteX1324" fmla="*/ 4366768 w 8023328"/>
              <a:gd name="connsiteY1324" fmla="*/ 1069203 h 2380521"/>
              <a:gd name="connsiteX1325" fmla="*/ 4295937 w 8023328"/>
              <a:gd name="connsiteY1325" fmla="*/ 1069203 h 2380521"/>
              <a:gd name="connsiteX1326" fmla="*/ 4309793 w 8023328"/>
              <a:gd name="connsiteY1326" fmla="*/ 1083991 h 2380521"/>
              <a:gd name="connsiteX1327" fmla="*/ 4295937 w 8023328"/>
              <a:gd name="connsiteY1327" fmla="*/ 1098780 h 2380521"/>
              <a:gd name="connsiteX1328" fmla="*/ 4283540 w 8023328"/>
              <a:gd name="connsiteY1328" fmla="*/ 1083991 h 2380521"/>
              <a:gd name="connsiteX1329" fmla="*/ 4295937 w 8023328"/>
              <a:gd name="connsiteY1329" fmla="*/ 1069203 h 2380521"/>
              <a:gd name="connsiteX1330" fmla="*/ 4225107 w 8023328"/>
              <a:gd name="connsiteY1330" fmla="*/ 1069203 h 2380521"/>
              <a:gd name="connsiteX1331" fmla="*/ 4238963 w 8023328"/>
              <a:gd name="connsiteY1331" fmla="*/ 1083991 h 2380521"/>
              <a:gd name="connsiteX1332" fmla="*/ 4225107 w 8023328"/>
              <a:gd name="connsiteY1332" fmla="*/ 1098780 h 2380521"/>
              <a:gd name="connsiteX1333" fmla="*/ 4212710 w 8023328"/>
              <a:gd name="connsiteY1333" fmla="*/ 1083991 h 2380521"/>
              <a:gd name="connsiteX1334" fmla="*/ 4225107 w 8023328"/>
              <a:gd name="connsiteY1334" fmla="*/ 1069203 h 2380521"/>
              <a:gd name="connsiteX1335" fmla="*/ 4153295 w 8023328"/>
              <a:gd name="connsiteY1335" fmla="*/ 1069203 h 2380521"/>
              <a:gd name="connsiteX1336" fmla="*/ 4168083 w 8023328"/>
              <a:gd name="connsiteY1336" fmla="*/ 1083991 h 2380521"/>
              <a:gd name="connsiteX1337" fmla="*/ 4153295 w 8023328"/>
              <a:gd name="connsiteY1337" fmla="*/ 1098780 h 2380521"/>
              <a:gd name="connsiteX1338" fmla="*/ 4138507 w 8023328"/>
              <a:gd name="connsiteY1338" fmla="*/ 1083991 h 2380521"/>
              <a:gd name="connsiteX1339" fmla="*/ 4153295 w 8023328"/>
              <a:gd name="connsiteY1339" fmla="*/ 1069203 h 2380521"/>
              <a:gd name="connsiteX1340" fmla="*/ 4082465 w 8023328"/>
              <a:gd name="connsiteY1340" fmla="*/ 1069203 h 2380521"/>
              <a:gd name="connsiteX1341" fmla="*/ 4097254 w 8023328"/>
              <a:gd name="connsiteY1341" fmla="*/ 1083991 h 2380521"/>
              <a:gd name="connsiteX1342" fmla="*/ 4082465 w 8023328"/>
              <a:gd name="connsiteY1342" fmla="*/ 1098780 h 2380521"/>
              <a:gd name="connsiteX1343" fmla="*/ 4067676 w 8023328"/>
              <a:gd name="connsiteY1343" fmla="*/ 1083991 h 2380521"/>
              <a:gd name="connsiteX1344" fmla="*/ 4082465 w 8023328"/>
              <a:gd name="connsiteY1344" fmla="*/ 1069203 h 2380521"/>
              <a:gd name="connsiteX1345" fmla="*/ 4011635 w 8023328"/>
              <a:gd name="connsiteY1345" fmla="*/ 1069203 h 2380521"/>
              <a:gd name="connsiteX1346" fmla="*/ 4026423 w 8023328"/>
              <a:gd name="connsiteY1346" fmla="*/ 1083991 h 2380521"/>
              <a:gd name="connsiteX1347" fmla="*/ 4011635 w 8023328"/>
              <a:gd name="connsiteY1347" fmla="*/ 1098780 h 2380521"/>
              <a:gd name="connsiteX1348" fmla="*/ 3996847 w 8023328"/>
              <a:gd name="connsiteY1348" fmla="*/ 1083991 h 2380521"/>
              <a:gd name="connsiteX1349" fmla="*/ 4011635 w 8023328"/>
              <a:gd name="connsiteY1349" fmla="*/ 1069203 h 2380521"/>
              <a:gd name="connsiteX1350" fmla="*/ 3939871 w 8023328"/>
              <a:gd name="connsiteY1350" fmla="*/ 1069203 h 2380521"/>
              <a:gd name="connsiteX1351" fmla="*/ 3952268 w 8023328"/>
              <a:gd name="connsiteY1351" fmla="*/ 1083991 h 2380521"/>
              <a:gd name="connsiteX1352" fmla="*/ 3939871 w 8023328"/>
              <a:gd name="connsiteY1352" fmla="*/ 1098780 h 2380521"/>
              <a:gd name="connsiteX1353" fmla="*/ 3926015 w 8023328"/>
              <a:gd name="connsiteY1353" fmla="*/ 1083991 h 2380521"/>
              <a:gd name="connsiteX1354" fmla="*/ 3939871 w 8023328"/>
              <a:gd name="connsiteY1354" fmla="*/ 1069203 h 2380521"/>
              <a:gd name="connsiteX1355" fmla="*/ 582439 w 8023328"/>
              <a:gd name="connsiteY1355" fmla="*/ 1069203 h 2380521"/>
              <a:gd name="connsiteX1356" fmla="*/ 596295 w 8023328"/>
              <a:gd name="connsiteY1356" fmla="*/ 1083059 h 2380521"/>
              <a:gd name="connsiteX1357" fmla="*/ 582439 w 8023328"/>
              <a:gd name="connsiteY1357" fmla="*/ 1095457 h 2380521"/>
              <a:gd name="connsiteX1358" fmla="*/ 570041 w 8023328"/>
              <a:gd name="connsiteY1358" fmla="*/ 1083059 h 2380521"/>
              <a:gd name="connsiteX1359" fmla="*/ 582439 w 8023328"/>
              <a:gd name="connsiteY1359" fmla="*/ 1069203 h 2380521"/>
              <a:gd name="connsiteX1360" fmla="*/ 513628 w 8023328"/>
              <a:gd name="connsiteY1360" fmla="*/ 1069203 h 2380521"/>
              <a:gd name="connsiteX1361" fmla="*/ 528807 w 8023328"/>
              <a:gd name="connsiteY1361" fmla="*/ 1083059 h 2380521"/>
              <a:gd name="connsiteX1362" fmla="*/ 513628 w 8023328"/>
              <a:gd name="connsiteY1362" fmla="*/ 1095457 h 2380521"/>
              <a:gd name="connsiteX1363" fmla="*/ 499209 w 8023328"/>
              <a:gd name="connsiteY1363" fmla="*/ 1083059 h 2380521"/>
              <a:gd name="connsiteX1364" fmla="*/ 513628 w 8023328"/>
              <a:gd name="connsiteY1364" fmla="*/ 1069203 h 2380521"/>
              <a:gd name="connsiteX1365" fmla="*/ 439795 w 8023328"/>
              <a:gd name="connsiteY1365" fmla="*/ 1069203 h 2380521"/>
              <a:gd name="connsiteX1366" fmla="*/ 454585 w 8023328"/>
              <a:gd name="connsiteY1366" fmla="*/ 1083059 h 2380521"/>
              <a:gd name="connsiteX1367" fmla="*/ 439795 w 8023328"/>
              <a:gd name="connsiteY1367" fmla="*/ 1095457 h 2380521"/>
              <a:gd name="connsiteX1368" fmla="*/ 425007 w 8023328"/>
              <a:gd name="connsiteY1368" fmla="*/ 1083059 h 2380521"/>
              <a:gd name="connsiteX1369" fmla="*/ 439795 w 8023328"/>
              <a:gd name="connsiteY1369" fmla="*/ 1069203 h 2380521"/>
              <a:gd name="connsiteX1370" fmla="*/ 368965 w 8023328"/>
              <a:gd name="connsiteY1370" fmla="*/ 1069203 h 2380521"/>
              <a:gd name="connsiteX1371" fmla="*/ 383754 w 8023328"/>
              <a:gd name="connsiteY1371" fmla="*/ 1083059 h 2380521"/>
              <a:gd name="connsiteX1372" fmla="*/ 368965 w 8023328"/>
              <a:gd name="connsiteY1372" fmla="*/ 1095457 h 2380521"/>
              <a:gd name="connsiteX1373" fmla="*/ 354177 w 8023328"/>
              <a:gd name="connsiteY1373" fmla="*/ 1083059 h 2380521"/>
              <a:gd name="connsiteX1374" fmla="*/ 368965 w 8023328"/>
              <a:gd name="connsiteY1374" fmla="*/ 1069203 h 2380521"/>
              <a:gd name="connsiteX1375" fmla="*/ 297201 w 8023328"/>
              <a:gd name="connsiteY1375" fmla="*/ 1069203 h 2380521"/>
              <a:gd name="connsiteX1376" fmla="*/ 309599 w 8023328"/>
              <a:gd name="connsiteY1376" fmla="*/ 1083059 h 2380521"/>
              <a:gd name="connsiteX1377" fmla="*/ 297201 w 8023328"/>
              <a:gd name="connsiteY1377" fmla="*/ 1095457 h 2380521"/>
              <a:gd name="connsiteX1378" fmla="*/ 283346 w 8023328"/>
              <a:gd name="connsiteY1378" fmla="*/ 1083059 h 2380521"/>
              <a:gd name="connsiteX1379" fmla="*/ 297201 w 8023328"/>
              <a:gd name="connsiteY1379" fmla="*/ 1069203 h 2380521"/>
              <a:gd name="connsiteX1380" fmla="*/ 226372 w 8023328"/>
              <a:gd name="connsiteY1380" fmla="*/ 1069203 h 2380521"/>
              <a:gd name="connsiteX1381" fmla="*/ 238771 w 8023328"/>
              <a:gd name="connsiteY1381" fmla="*/ 1083059 h 2380521"/>
              <a:gd name="connsiteX1382" fmla="*/ 226372 w 8023328"/>
              <a:gd name="connsiteY1382" fmla="*/ 1095457 h 2380521"/>
              <a:gd name="connsiteX1383" fmla="*/ 212516 w 8023328"/>
              <a:gd name="connsiteY1383" fmla="*/ 1083059 h 2380521"/>
              <a:gd name="connsiteX1384" fmla="*/ 226372 w 8023328"/>
              <a:gd name="connsiteY1384" fmla="*/ 1069203 h 2380521"/>
              <a:gd name="connsiteX1385" fmla="*/ 154079 w 8023328"/>
              <a:gd name="connsiteY1385" fmla="*/ 1069203 h 2380521"/>
              <a:gd name="connsiteX1386" fmla="*/ 167935 w 8023328"/>
              <a:gd name="connsiteY1386" fmla="*/ 1083059 h 2380521"/>
              <a:gd name="connsiteX1387" fmla="*/ 154079 w 8023328"/>
              <a:gd name="connsiteY1387" fmla="*/ 1095457 h 2380521"/>
              <a:gd name="connsiteX1388" fmla="*/ 141682 w 8023328"/>
              <a:gd name="connsiteY1388" fmla="*/ 1083059 h 2380521"/>
              <a:gd name="connsiteX1389" fmla="*/ 154079 w 8023328"/>
              <a:gd name="connsiteY1389" fmla="*/ 1069203 h 2380521"/>
              <a:gd name="connsiteX1390" fmla="*/ 83249 w 8023328"/>
              <a:gd name="connsiteY1390" fmla="*/ 1069203 h 2380521"/>
              <a:gd name="connsiteX1391" fmla="*/ 97105 w 8023328"/>
              <a:gd name="connsiteY1391" fmla="*/ 1083059 h 2380521"/>
              <a:gd name="connsiteX1392" fmla="*/ 83249 w 8023328"/>
              <a:gd name="connsiteY1392" fmla="*/ 1095457 h 2380521"/>
              <a:gd name="connsiteX1393" fmla="*/ 70852 w 8023328"/>
              <a:gd name="connsiteY1393" fmla="*/ 1083059 h 2380521"/>
              <a:gd name="connsiteX1394" fmla="*/ 83249 w 8023328"/>
              <a:gd name="connsiteY1394" fmla="*/ 1069203 h 2380521"/>
              <a:gd name="connsiteX1395" fmla="*/ 12014 w 8023328"/>
              <a:gd name="connsiteY1395" fmla="*/ 1069203 h 2380521"/>
              <a:gd name="connsiteX1396" fmla="*/ 26255 w 8023328"/>
              <a:gd name="connsiteY1396" fmla="*/ 1083059 h 2380521"/>
              <a:gd name="connsiteX1397" fmla="*/ 12014 w 8023328"/>
              <a:gd name="connsiteY1397" fmla="*/ 1095457 h 2380521"/>
              <a:gd name="connsiteX1398" fmla="*/ 21 w 8023328"/>
              <a:gd name="connsiteY1398" fmla="*/ 1083059 h 2380521"/>
              <a:gd name="connsiteX1399" fmla="*/ 12014 w 8023328"/>
              <a:gd name="connsiteY1399" fmla="*/ 1069203 h 2380521"/>
              <a:gd name="connsiteX1400" fmla="*/ 6724405 w 8023328"/>
              <a:gd name="connsiteY1400" fmla="*/ 998371 h 2380521"/>
              <a:gd name="connsiteX1401" fmla="*/ 6738261 w 8023328"/>
              <a:gd name="connsiteY1401" fmla="*/ 1010768 h 2380521"/>
              <a:gd name="connsiteX1402" fmla="*/ 6724405 w 8023328"/>
              <a:gd name="connsiteY1402" fmla="*/ 1024625 h 2380521"/>
              <a:gd name="connsiteX1403" fmla="*/ 6712008 w 8023328"/>
              <a:gd name="connsiteY1403" fmla="*/ 1010768 h 2380521"/>
              <a:gd name="connsiteX1404" fmla="*/ 6724405 w 8023328"/>
              <a:gd name="connsiteY1404" fmla="*/ 998371 h 2380521"/>
              <a:gd name="connsiteX1405" fmla="*/ 6653576 w 8023328"/>
              <a:gd name="connsiteY1405" fmla="*/ 998371 h 2380521"/>
              <a:gd name="connsiteX1406" fmla="*/ 6667432 w 8023328"/>
              <a:gd name="connsiteY1406" fmla="*/ 1010768 h 2380521"/>
              <a:gd name="connsiteX1407" fmla="*/ 6653576 w 8023328"/>
              <a:gd name="connsiteY1407" fmla="*/ 1024625 h 2380521"/>
              <a:gd name="connsiteX1408" fmla="*/ 6641179 w 8023328"/>
              <a:gd name="connsiteY1408" fmla="*/ 1010768 h 2380521"/>
              <a:gd name="connsiteX1409" fmla="*/ 6653576 w 8023328"/>
              <a:gd name="connsiteY1409" fmla="*/ 998371 h 2380521"/>
              <a:gd name="connsiteX1410" fmla="*/ 6581764 w 8023328"/>
              <a:gd name="connsiteY1410" fmla="*/ 998371 h 2380521"/>
              <a:gd name="connsiteX1411" fmla="*/ 6596552 w 8023328"/>
              <a:gd name="connsiteY1411" fmla="*/ 1010768 h 2380521"/>
              <a:gd name="connsiteX1412" fmla="*/ 6581764 w 8023328"/>
              <a:gd name="connsiteY1412" fmla="*/ 1024625 h 2380521"/>
              <a:gd name="connsiteX1413" fmla="*/ 6566976 w 8023328"/>
              <a:gd name="connsiteY1413" fmla="*/ 1010768 h 2380521"/>
              <a:gd name="connsiteX1414" fmla="*/ 6581764 w 8023328"/>
              <a:gd name="connsiteY1414" fmla="*/ 998371 h 2380521"/>
              <a:gd name="connsiteX1415" fmla="*/ 6510933 w 8023328"/>
              <a:gd name="connsiteY1415" fmla="*/ 998371 h 2380521"/>
              <a:gd name="connsiteX1416" fmla="*/ 6525722 w 8023328"/>
              <a:gd name="connsiteY1416" fmla="*/ 1010768 h 2380521"/>
              <a:gd name="connsiteX1417" fmla="*/ 6510933 w 8023328"/>
              <a:gd name="connsiteY1417" fmla="*/ 1024625 h 2380521"/>
              <a:gd name="connsiteX1418" fmla="*/ 6496144 w 8023328"/>
              <a:gd name="connsiteY1418" fmla="*/ 1010768 h 2380521"/>
              <a:gd name="connsiteX1419" fmla="*/ 6510933 w 8023328"/>
              <a:gd name="connsiteY1419" fmla="*/ 998371 h 2380521"/>
              <a:gd name="connsiteX1420" fmla="*/ 6440492 w 8023328"/>
              <a:gd name="connsiteY1420" fmla="*/ 998371 h 2380521"/>
              <a:gd name="connsiteX1421" fmla="*/ 6454911 w 8023328"/>
              <a:gd name="connsiteY1421" fmla="*/ 1010768 h 2380521"/>
              <a:gd name="connsiteX1422" fmla="*/ 6440492 w 8023328"/>
              <a:gd name="connsiteY1422" fmla="*/ 1024625 h 2380521"/>
              <a:gd name="connsiteX1423" fmla="*/ 6425315 w 8023328"/>
              <a:gd name="connsiteY1423" fmla="*/ 1010768 h 2380521"/>
              <a:gd name="connsiteX1424" fmla="*/ 6440492 w 8023328"/>
              <a:gd name="connsiteY1424" fmla="*/ 998371 h 2380521"/>
              <a:gd name="connsiteX1425" fmla="*/ 6368340 w 8023328"/>
              <a:gd name="connsiteY1425" fmla="*/ 998371 h 2380521"/>
              <a:gd name="connsiteX1426" fmla="*/ 6380737 w 8023328"/>
              <a:gd name="connsiteY1426" fmla="*/ 1010768 h 2380521"/>
              <a:gd name="connsiteX1427" fmla="*/ 6368340 w 8023328"/>
              <a:gd name="connsiteY1427" fmla="*/ 1024625 h 2380521"/>
              <a:gd name="connsiteX1428" fmla="*/ 6354484 w 8023328"/>
              <a:gd name="connsiteY1428" fmla="*/ 1010768 h 2380521"/>
              <a:gd name="connsiteX1429" fmla="*/ 6368340 w 8023328"/>
              <a:gd name="connsiteY1429" fmla="*/ 998371 h 2380521"/>
              <a:gd name="connsiteX1430" fmla="*/ 6297511 w 8023328"/>
              <a:gd name="connsiteY1430" fmla="*/ 998371 h 2380521"/>
              <a:gd name="connsiteX1431" fmla="*/ 6309908 w 8023328"/>
              <a:gd name="connsiteY1431" fmla="*/ 1010768 h 2380521"/>
              <a:gd name="connsiteX1432" fmla="*/ 6297511 w 8023328"/>
              <a:gd name="connsiteY1432" fmla="*/ 1024625 h 2380521"/>
              <a:gd name="connsiteX1433" fmla="*/ 6283655 w 8023328"/>
              <a:gd name="connsiteY1433" fmla="*/ 1010768 h 2380521"/>
              <a:gd name="connsiteX1434" fmla="*/ 6297511 w 8023328"/>
              <a:gd name="connsiteY1434" fmla="*/ 998371 h 2380521"/>
              <a:gd name="connsiteX1435" fmla="*/ 6226679 w 8023328"/>
              <a:gd name="connsiteY1435" fmla="*/ 998371 h 2380521"/>
              <a:gd name="connsiteX1436" fmla="*/ 6239076 w 8023328"/>
              <a:gd name="connsiteY1436" fmla="*/ 1010768 h 2380521"/>
              <a:gd name="connsiteX1437" fmla="*/ 6226679 w 8023328"/>
              <a:gd name="connsiteY1437" fmla="*/ 1024625 h 2380521"/>
              <a:gd name="connsiteX1438" fmla="*/ 6212823 w 8023328"/>
              <a:gd name="connsiteY1438" fmla="*/ 1010768 h 2380521"/>
              <a:gd name="connsiteX1439" fmla="*/ 6226679 w 8023328"/>
              <a:gd name="connsiteY1439" fmla="*/ 998371 h 2380521"/>
              <a:gd name="connsiteX1440" fmla="*/ 6154391 w 8023328"/>
              <a:gd name="connsiteY1440" fmla="*/ 998371 h 2380521"/>
              <a:gd name="connsiteX1441" fmla="*/ 6168247 w 8023328"/>
              <a:gd name="connsiteY1441" fmla="*/ 1010768 h 2380521"/>
              <a:gd name="connsiteX1442" fmla="*/ 6154391 w 8023328"/>
              <a:gd name="connsiteY1442" fmla="*/ 1024625 h 2380521"/>
              <a:gd name="connsiteX1443" fmla="*/ 6141994 w 8023328"/>
              <a:gd name="connsiteY1443" fmla="*/ 1010768 h 2380521"/>
              <a:gd name="connsiteX1444" fmla="*/ 6154391 w 8023328"/>
              <a:gd name="connsiteY1444" fmla="*/ 998371 h 2380521"/>
              <a:gd name="connsiteX1445" fmla="*/ 6083559 w 8023328"/>
              <a:gd name="connsiteY1445" fmla="*/ 998371 h 2380521"/>
              <a:gd name="connsiteX1446" fmla="*/ 6097415 w 8023328"/>
              <a:gd name="connsiteY1446" fmla="*/ 1010768 h 2380521"/>
              <a:gd name="connsiteX1447" fmla="*/ 6083559 w 8023328"/>
              <a:gd name="connsiteY1447" fmla="*/ 1024625 h 2380521"/>
              <a:gd name="connsiteX1448" fmla="*/ 6071162 w 8023328"/>
              <a:gd name="connsiteY1448" fmla="*/ 1010768 h 2380521"/>
              <a:gd name="connsiteX1449" fmla="*/ 6083559 w 8023328"/>
              <a:gd name="connsiteY1449" fmla="*/ 998371 h 2380521"/>
              <a:gd name="connsiteX1450" fmla="*/ 6009356 w 8023328"/>
              <a:gd name="connsiteY1450" fmla="*/ 998371 h 2380521"/>
              <a:gd name="connsiteX1451" fmla="*/ 6023212 w 8023328"/>
              <a:gd name="connsiteY1451" fmla="*/ 1010768 h 2380521"/>
              <a:gd name="connsiteX1452" fmla="*/ 6009356 w 8023328"/>
              <a:gd name="connsiteY1452" fmla="*/ 1024625 h 2380521"/>
              <a:gd name="connsiteX1453" fmla="*/ 5996959 w 8023328"/>
              <a:gd name="connsiteY1453" fmla="*/ 1010768 h 2380521"/>
              <a:gd name="connsiteX1454" fmla="*/ 6009356 w 8023328"/>
              <a:gd name="connsiteY1454" fmla="*/ 998371 h 2380521"/>
              <a:gd name="connsiteX1455" fmla="*/ 5940548 w 8023328"/>
              <a:gd name="connsiteY1455" fmla="*/ 998371 h 2380521"/>
              <a:gd name="connsiteX1456" fmla="*/ 5955726 w 8023328"/>
              <a:gd name="connsiteY1456" fmla="*/ 1010768 h 2380521"/>
              <a:gd name="connsiteX1457" fmla="*/ 5940548 w 8023328"/>
              <a:gd name="connsiteY1457" fmla="*/ 1024625 h 2380521"/>
              <a:gd name="connsiteX1458" fmla="*/ 5926130 w 8023328"/>
              <a:gd name="connsiteY1458" fmla="*/ 1010768 h 2380521"/>
              <a:gd name="connsiteX1459" fmla="*/ 5940548 w 8023328"/>
              <a:gd name="connsiteY1459" fmla="*/ 998371 h 2380521"/>
              <a:gd name="connsiteX1460" fmla="*/ 5870088 w 8023328"/>
              <a:gd name="connsiteY1460" fmla="*/ 998371 h 2380521"/>
              <a:gd name="connsiteX1461" fmla="*/ 5884877 w 8023328"/>
              <a:gd name="connsiteY1461" fmla="*/ 1010768 h 2380521"/>
              <a:gd name="connsiteX1462" fmla="*/ 5870088 w 8023328"/>
              <a:gd name="connsiteY1462" fmla="*/ 1024625 h 2380521"/>
              <a:gd name="connsiteX1463" fmla="*/ 5855299 w 8023328"/>
              <a:gd name="connsiteY1463" fmla="*/ 1010768 h 2380521"/>
              <a:gd name="connsiteX1464" fmla="*/ 5870088 w 8023328"/>
              <a:gd name="connsiteY1464" fmla="*/ 998371 h 2380521"/>
              <a:gd name="connsiteX1465" fmla="*/ 5799257 w 8023328"/>
              <a:gd name="connsiteY1465" fmla="*/ 998371 h 2380521"/>
              <a:gd name="connsiteX1466" fmla="*/ 5814045 w 8023328"/>
              <a:gd name="connsiteY1466" fmla="*/ 1010768 h 2380521"/>
              <a:gd name="connsiteX1467" fmla="*/ 5799257 w 8023328"/>
              <a:gd name="connsiteY1467" fmla="*/ 1024625 h 2380521"/>
              <a:gd name="connsiteX1468" fmla="*/ 5784469 w 8023328"/>
              <a:gd name="connsiteY1468" fmla="*/ 1010768 h 2380521"/>
              <a:gd name="connsiteX1469" fmla="*/ 5799257 w 8023328"/>
              <a:gd name="connsiteY1469" fmla="*/ 998371 h 2380521"/>
              <a:gd name="connsiteX1470" fmla="*/ 5724122 w 8023328"/>
              <a:gd name="connsiteY1470" fmla="*/ 998371 h 2380521"/>
              <a:gd name="connsiteX1471" fmla="*/ 5736519 w 8023328"/>
              <a:gd name="connsiteY1471" fmla="*/ 1010768 h 2380521"/>
              <a:gd name="connsiteX1472" fmla="*/ 5724122 w 8023328"/>
              <a:gd name="connsiteY1472" fmla="*/ 1024625 h 2380521"/>
              <a:gd name="connsiteX1473" fmla="*/ 5710266 w 8023328"/>
              <a:gd name="connsiteY1473" fmla="*/ 1010768 h 2380521"/>
              <a:gd name="connsiteX1474" fmla="*/ 5724122 w 8023328"/>
              <a:gd name="connsiteY1474" fmla="*/ 998371 h 2380521"/>
              <a:gd name="connsiteX1475" fmla="*/ 5653291 w 8023328"/>
              <a:gd name="connsiteY1475" fmla="*/ 998371 h 2380521"/>
              <a:gd name="connsiteX1476" fmla="*/ 5665688 w 8023328"/>
              <a:gd name="connsiteY1476" fmla="*/ 1012227 h 2380521"/>
              <a:gd name="connsiteX1477" fmla="*/ 5653291 w 8023328"/>
              <a:gd name="connsiteY1477" fmla="*/ 1024625 h 2380521"/>
              <a:gd name="connsiteX1478" fmla="*/ 5639435 w 8023328"/>
              <a:gd name="connsiteY1478" fmla="*/ 1012227 h 2380521"/>
              <a:gd name="connsiteX1479" fmla="*/ 5653291 w 8023328"/>
              <a:gd name="connsiteY1479" fmla="*/ 998371 h 2380521"/>
              <a:gd name="connsiteX1480" fmla="*/ 5581002 w 8023328"/>
              <a:gd name="connsiteY1480" fmla="*/ 998371 h 2380521"/>
              <a:gd name="connsiteX1481" fmla="*/ 5594858 w 8023328"/>
              <a:gd name="connsiteY1481" fmla="*/ 1012227 h 2380521"/>
              <a:gd name="connsiteX1482" fmla="*/ 5581002 w 8023328"/>
              <a:gd name="connsiteY1482" fmla="*/ 1024625 h 2380521"/>
              <a:gd name="connsiteX1483" fmla="*/ 5568605 w 8023328"/>
              <a:gd name="connsiteY1483" fmla="*/ 1012227 h 2380521"/>
              <a:gd name="connsiteX1484" fmla="*/ 5581002 w 8023328"/>
              <a:gd name="connsiteY1484" fmla="*/ 998371 h 2380521"/>
              <a:gd name="connsiteX1485" fmla="*/ 5510171 w 8023328"/>
              <a:gd name="connsiteY1485" fmla="*/ 998371 h 2380521"/>
              <a:gd name="connsiteX1486" fmla="*/ 5524027 w 8023328"/>
              <a:gd name="connsiteY1486" fmla="*/ 1012227 h 2380521"/>
              <a:gd name="connsiteX1487" fmla="*/ 5510171 w 8023328"/>
              <a:gd name="connsiteY1487" fmla="*/ 1024625 h 2380521"/>
              <a:gd name="connsiteX1488" fmla="*/ 5497774 w 8023328"/>
              <a:gd name="connsiteY1488" fmla="*/ 1012227 h 2380521"/>
              <a:gd name="connsiteX1489" fmla="*/ 5510171 w 8023328"/>
              <a:gd name="connsiteY1489" fmla="*/ 998371 h 2380521"/>
              <a:gd name="connsiteX1490" fmla="*/ 5438937 w 8023328"/>
              <a:gd name="connsiteY1490" fmla="*/ 998371 h 2380521"/>
              <a:gd name="connsiteX1491" fmla="*/ 5453178 w 8023328"/>
              <a:gd name="connsiteY1491" fmla="*/ 1012227 h 2380521"/>
              <a:gd name="connsiteX1492" fmla="*/ 5438937 w 8023328"/>
              <a:gd name="connsiteY1492" fmla="*/ 1024625 h 2380521"/>
              <a:gd name="connsiteX1493" fmla="*/ 5426945 w 8023328"/>
              <a:gd name="connsiteY1493" fmla="*/ 1012227 h 2380521"/>
              <a:gd name="connsiteX1494" fmla="*/ 5438937 w 8023328"/>
              <a:gd name="connsiteY1494" fmla="*/ 998371 h 2380521"/>
              <a:gd name="connsiteX1495" fmla="*/ 5367530 w 8023328"/>
              <a:gd name="connsiteY1495" fmla="*/ 998371 h 2380521"/>
              <a:gd name="connsiteX1496" fmla="*/ 5382318 w 8023328"/>
              <a:gd name="connsiteY1496" fmla="*/ 1012227 h 2380521"/>
              <a:gd name="connsiteX1497" fmla="*/ 5367530 w 8023328"/>
              <a:gd name="connsiteY1497" fmla="*/ 1024625 h 2380521"/>
              <a:gd name="connsiteX1498" fmla="*/ 5352742 w 8023328"/>
              <a:gd name="connsiteY1498" fmla="*/ 1012227 h 2380521"/>
              <a:gd name="connsiteX1499" fmla="*/ 5367530 w 8023328"/>
              <a:gd name="connsiteY1499" fmla="*/ 998371 h 2380521"/>
              <a:gd name="connsiteX1500" fmla="*/ 5296699 w 8023328"/>
              <a:gd name="connsiteY1500" fmla="*/ 998371 h 2380521"/>
              <a:gd name="connsiteX1501" fmla="*/ 5311488 w 8023328"/>
              <a:gd name="connsiteY1501" fmla="*/ 1012227 h 2380521"/>
              <a:gd name="connsiteX1502" fmla="*/ 5296699 w 8023328"/>
              <a:gd name="connsiteY1502" fmla="*/ 1024625 h 2380521"/>
              <a:gd name="connsiteX1503" fmla="*/ 5281910 w 8023328"/>
              <a:gd name="connsiteY1503" fmla="*/ 1012227 h 2380521"/>
              <a:gd name="connsiteX1504" fmla="*/ 5296699 w 8023328"/>
              <a:gd name="connsiteY1504" fmla="*/ 998371 h 2380521"/>
              <a:gd name="connsiteX1505" fmla="*/ 5225869 w 8023328"/>
              <a:gd name="connsiteY1505" fmla="*/ 998371 h 2380521"/>
              <a:gd name="connsiteX1506" fmla="*/ 5240657 w 8023328"/>
              <a:gd name="connsiteY1506" fmla="*/ 1012227 h 2380521"/>
              <a:gd name="connsiteX1507" fmla="*/ 5225869 w 8023328"/>
              <a:gd name="connsiteY1507" fmla="*/ 1024625 h 2380521"/>
              <a:gd name="connsiteX1508" fmla="*/ 5211081 w 8023328"/>
              <a:gd name="connsiteY1508" fmla="*/ 1012227 h 2380521"/>
              <a:gd name="connsiteX1509" fmla="*/ 5225869 w 8023328"/>
              <a:gd name="connsiteY1509" fmla="*/ 998371 h 2380521"/>
              <a:gd name="connsiteX1510" fmla="*/ 5154105 w 8023328"/>
              <a:gd name="connsiteY1510" fmla="*/ 998371 h 2380521"/>
              <a:gd name="connsiteX1511" fmla="*/ 5166502 w 8023328"/>
              <a:gd name="connsiteY1511" fmla="*/ 1012227 h 2380521"/>
              <a:gd name="connsiteX1512" fmla="*/ 5154105 w 8023328"/>
              <a:gd name="connsiteY1512" fmla="*/ 1024625 h 2380521"/>
              <a:gd name="connsiteX1513" fmla="*/ 5140249 w 8023328"/>
              <a:gd name="connsiteY1513" fmla="*/ 1012227 h 2380521"/>
              <a:gd name="connsiteX1514" fmla="*/ 5154105 w 8023328"/>
              <a:gd name="connsiteY1514" fmla="*/ 998371 h 2380521"/>
              <a:gd name="connsiteX1515" fmla="*/ 5083276 w 8023328"/>
              <a:gd name="connsiteY1515" fmla="*/ 998371 h 2380521"/>
              <a:gd name="connsiteX1516" fmla="*/ 5095673 w 8023328"/>
              <a:gd name="connsiteY1516" fmla="*/ 1012227 h 2380521"/>
              <a:gd name="connsiteX1517" fmla="*/ 5083276 w 8023328"/>
              <a:gd name="connsiteY1517" fmla="*/ 1024625 h 2380521"/>
              <a:gd name="connsiteX1518" fmla="*/ 5069420 w 8023328"/>
              <a:gd name="connsiteY1518" fmla="*/ 1012227 h 2380521"/>
              <a:gd name="connsiteX1519" fmla="*/ 5083276 w 8023328"/>
              <a:gd name="connsiteY1519" fmla="*/ 998371 h 2380521"/>
              <a:gd name="connsiteX1520" fmla="*/ 5012445 w 8023328"/>
              <a:gd name="connsiteY1520" fmla="*/ 998371 h 2380521"/>
              <a:gd name="connsiteX1521" fmla="*/ 5024842 w 8023328"/>
              <a:gd name="connsiteY1521" fmla="*/ 1012227 h 2380521"/>
              <a:gd name="connsiteX1522" fmla="*/ 5012445 w 8023328"/>
              <a:gd name="connsiteY1522" fmla="*/ 1024625 h 2380521"/>
              <a:gd name="connsiteX1523" fmla="*/ 4998589 w 8023328"/>
              <a:gd name="connsiteY1523" fmla="*/ 1012227 h 2380521"/>
              <a:gd name="connsiteX1524" fmla="*/ 5012445 w 8023328"/>
              <a:gd name="connsiteY1524" fmla="*/ 998371 h 2380521"/>
              <a:gd name="connsiteX1525" fmla="*/ 4940157 w 8023328"/>
              <a:gd name="connsiteY1525" fmla="*/ 998371 h 2380521"/>
              <a:gd name="connsiteX1526" fmla="*/ 4954013 w 8023328"/>
              <a:gd name="connsiteY1526" fmla="*/ 1012227 h 2380521"/>
              <a:gd name="connsiteX1527" fmla="*/ 4940157 w 8023328"/>
              <a:gd name="connsiteY1527" fmla="*/ 1024625 h 2380521"/>
              <a:gd name="connsiteX1528" fmla="*/ 4927760 w 8023328"/>
              <a:gd name="connsiteY1528" fmla="*/ 1012227 h 2380521"/>
              <a:gd name="connsiteX1529" fmla="*/ 4940157 w 8023328"/>
              <a:gd name="connsiteY1529" fmla="*/ 998371 h 2380521"/>
              <a:gd name="connsiteX1530" fmla="*/ 4865953 w 8023328"/>
              <a:gd name="connsiteY1530" fmla="*/ 998371 h 2380521"/>
              <a:gd name="connsiteX1531" fmla="*/ 4879809 w 8023328"/>
              <a:gd name="connsiteY1531" fmla="*/ 1012227 h 2380521"/>
              <a:gd name="connsiteX1532" fmla="*/ 4865953 w 8023328"/>
              <a:gd name="connsiteY1532" fmla="*/ 1024625 h 2380521"/>
              <a:gd name="connsiteX1533" fmla="*/ 4853556 w 8023328"/>
              <a:gd name="connsiteY1533" fmla="*/ 1012227 h 2380521"/>
              <a:gd name="connsiteX1534" fmla="*/ 4865953 w 8023328"/>
              <a:gd name="connsiteY1534" fmla="*/ 998371 h 2380521"/>
              <a:gd name="connsiteX1535" fmla="*/ 4797514 w 8023328"/>
              <a:gd name="connsiteY1535" fmla="*/ 998371 h 2380521"/>
              <a:gd name="connsiteX1536" fmla="*/ 4812303 w 8023328"/>
              <a:gd name="connsiteY1536" fmla="*/ 1012227 h 2380521"/>
              <a:gd name="connsiteX1537" fmla="*/ 4797514 w 8023328"/>
              <a:gd name="connsiteY1537" fmla="*/ 1024625 h 2380521"/>
              <a:gd name="connsiteX1538" fmla="*/ 4782725 w 8023328"/>
              <a:gd name="connsiteY1538" fmla="*/ 1012227 h 2380521"/>
              <a:gd name="connsiteX1539" fmla="*/ 4797514 w 8023328"/>
              <a:gd name="connsiteY1539" fmla="*/ 998371 h 2380521"/>
              <a:gd name="connsiteX1540" fmla="*/ 4726684 w 8023328"/>
              <a:gd name="connsiteY1540" fmla="*/ 998371 h 2380521"/>
              <a:gd name="connsiteX1541" fmla="*/ 4741472 w 8023328"/>
              <a:gd name="connsiteY1541" fmla="*/ 1012227 h 2380521"/>
              <a:gd name="connsiteX1542" fmla="*/ 4726684 w 8023328"/>
              <a:gd name="connsiteY1542" fmla="*/ 1024625 h 2380521"/>
              <a:gd name="connsiteX1543" fmla="*/ 4711896 w 8023328"/>
              <a:gd name="connsiteY1543" fmla="*/ 1012227 h 2380521"/>
              <a:gd name="connsiteX1544" fmla="*/ 4726684 w 8023328"/>
              <a:gd name="connsiteY1544" fmla="*/ 998371 h 2380521"/>
              <a:gd name="connsiteX1545" fmla="*/ 4655853 w 8023328"/>
              <a:gd name="connsiteY1545" fmla="*/ 998371 h 2380521"/>
              <a:gd name="connsiteX1546" fmla="*/ 4670642 w 8023328"/>
              <a:gd name="connsiteY1546" fmla="*/ 1012227 h 2380521"/>
              <a:gd name="connsiteX1547" fmla="*/ 4655853 w 8023328"/>
              <a:gd name="connsiteY1547" fmla="*/ 1024625 h 2380521"/>
              <a:gd name="connsiteX1548" fmla="*/ 4641064 w 8023328"/>
              <a:gd name="connsiteY1548" fmla="*/ 1012227 h 2380521"/>
              <a:gd name="connsiteX1549" fmla="*/ 4655853 w 8023328"/>
              <a:gd name="connsiteY1549" fmla="*/ 998371 h 2380521"/>
              <a:gd name="connsiteX1550" fmla="*/ 4584091 w 8023328"/>
              <a:gd name="connsiteY1550" fmla="*/ 998371 h 2380521"/>
              <a:gd name="connsiteX1551" fmla="*/ 4596488 w 8023328"/>
              <a:gd name="connsiteY1551" fmla="*/ 1012227 h 2380521"/>
              <a:gd name="connsiteX1552" fmla="*/ 4584091 w 8023328"/>
              <a:gd name="connsiteY1552" fmla="*/ 1024625 h 2380521"/>
              <a:gd name="connsiteX1553" fmla="*/ 4570235 w 8023328"/>
              <a:gd name="connsiteY1553" fmla="*/ 1012227 h 2380521"/>
              <a:gd name="connsiteX1554" fmla="*/ 4584091 w 8023328"/>
              <a:gd name="connsiteY1554" fmla="*/ 998371 h 2380521"/>
              <a:gd name="connsiteX1555" fmla="*/ 4513260 w 8023328"/>
              <a:gd name="connsiteY1555" fmla="*/ 998371 h 2380521"/>
              <a:gd name="connsiteX1556" fmla="*/ 4525657 w 8023328"/>
              <a:gd name="connsiteY1556" fmla="*/ 1012227 h 2380521"/>
              <a:gd name="connsiteX1557" fmla="*/ 4513260 w 8023328"/>
              <a:gd name="connsiteY1557" fmla="*/ 1024625 h 2380521"/>
              <a:gd name="connsiteX1558" fmla="*/ 4499404 w 8023328"/>
              <a:gd name="connsiteY1558" fmla="*/ 1012227 h 2380521"/>
              <a:gd name="connsiteX1559" fmla="*/ 4513260 w 8023328"/>
              <a:gd name="connsiteY1559" fmla="*/ 998371 h 2380521"/>
              <a:gd name="connsiteX1560" fmla="*/ 4439056 w 8023328"/>
              <a:gd name="connsiteY1560" fmla="*/ 998371 h 2380521"/>
              <a:gd name="connsiteX1561" fmla="*/ 4451453 w 8023328"/>
              <a:gd name="connsiteY1561" fmla="*/ 1012227 h 2380521"/>
              <a:gd name="connsiteX1562" fmla="*/ 4439056 w 8023328"/>
              <a:gd name="connsiteY1562" fmla="*/ 1024625 h 2380521"/>
              <a:gd name="connsiteX1563" fmla="*/ 4425200 w 8023328"/>
              <a:gd name="connsiteY1563" fmla="*/ 1012227 h 2380521"/>
              <a:gd name="connsiteX1564" fmla="*/ 4439056 w 8023328"/>
              <a:gd name="connsiteY1564" fmla="*/ 998371 h 2380521"/>
              <a:gd name="connsiteX1565" fmla="*/ 4366768 w 8023328"/>
              <a:gd name="connsiteY1565" fmla="*/ 998371 h 2380521"/>
              <a:gd name="connsiteX1566" fmla="*/ 4380624 w 8023328"/>
              <a:gd name="connsiteY1566" fmla="*/ 1012227 h 2380521"/>
              <a:gd name="connsiteX1567" fmla="*/ 4366768 w 8023328"/>
              <a:gd name="connsiteY1567" fmla="*/ 1024625 h 2380521"/>
              <a:gd name="connsiteX1568" fmla="*/ 4354371 w 8023328"/>
              <a:gd name="connsiteY1568" fmla="*/ 1012227 h 2380521"/>
              <a:gd name="connsiteX1569" fmla="*/ 4366768 w 8023328"/>
              <a:gd name="connsiteY1569" fmla="*/ 998371 h 2380521"/>
              <a:gd name="connsiteX1570" fmla="*/ 4295937 w 8023328"/>
              <a:gd name="connsiteY1570" fmla="*/ 998371 h 2380521"/>
              <a:gd name="connsiteX1571" fmla="*/ 4309793 w 8023328"/>
              <a:gd name="connsiteY1571" fmla="*/ 1012227 h 2380521"/>
              <a:gd name="connsiteX1572" fmla="*/ 4295937 w 8023328"/>
              <a:gd name="connsiteY1572" fmla="*/ 1024625 h 2380521"/>
              <a:gd name="connsiteX1573" fmla="*/ 4283540 w 8023328"/>
              <a:gd name="connsiteY1573" fmla="*/ 1012227 h 2380521"/>
              <a:gd name="connsiteX1574" fmla="*/ 4295937 w 8023328"/>
              <a:gd name="connsiteY1574" fmla="*/ 998371 h 2380521"/>
              <a:gd name="connsiteX1575" fmla="*/ 4225107 w 8023328"/>
              <a:gd name="connsiteY1575" fmla="*/ 998371 h 2380521"/>
              <a:gd name="connsiteX1576" fmla="*/ 4238963 w 8023328"/>
              <a:gd name="connsiteY1576" fmla="*/ 1012227 h 2380521"/>
              <a:gd name="connsiteX1577" fmla="*/ 4225107 w 8023328"/>
              <a:gd name="connsiteY1577" fmla="*/ 1024625 h 2380521"/>
              <a:gd name="connsiteX1578" fmla="*/ 4212710 w 8023328"/>
              <a:gd name="connsiteY1578" fmla="*/ 1012227 h 2380521"/>
              <a:gd name="connsiteX1579" fmla="*/ 4225107 w 8023328"/>
              <a:gd name="connsiteY1579" fmla="*/ 998371 h 2380521"/>
              <a:gd name="connsiteX1580" fmla="*/ 4153295 w 8023328"/>
              <a:gd name="connsiteY1580" fmla="*/ 998371 h 2380521"/>
              <a:gd name="connsiteX1581" fmla="*/ 4168083 w 8023328"/>
              <a:gd name="connsiteY1581" fmla="*/ 1012227 h 2380521"/>
              <a:gd name="connsiteX1582" fmla="*/ 4153295 w 8023328"/>
              <a:gd name="connsiteY1582" fmla="*/ 1024625 h 2380521"/>
              <a:gd name="connsiteX1583" fmla="*/ 4138507 w 8023328"/>
              <a:gd name="connsiteY1583" fmla="*/ 1012227 h 2380521"/>
              <a:gd name="connsiteX1584" fmla="*/ 4153295 w 8023328"/>
              <a:gd name="connsiteY1584" fmla="*/ 998371 h 2380521"/>
              <a:gd name="connsiteX1585" fmla="*/ 4082465 w 8023328"/>
              <a:gd name="connsiteY1585" fmla="*/ 998371 h 2380521"/>
              <a:gd name="connsiteX1586" fmla="*/ 4097254 w 8023328"/>
              <a:gd name="connsiteY1586" fmla="*/ 1012227 h 2380521"/>
              <a:gd name="connsiteX1587" fmla="*/ 4082465 w 8023328"/>
              <a:gd name="connsiteY1587" fmla="*/ 1024625 h 2380521"/>
              <a:gd name="connsiteX1588" fmla="*/ 4067676 w 8023328"/>
              <a:gd name="connsiteY1588" fmla="*/ 1012227 h 2380521"/>
              <a:gd name="connsiteX1589" fmla="*/ 4082465 w 8023328"/>
              <a:gd name="connsiteY1589" fmla="*/ 998371 h 2380521"/>
              <a:gd name="connsiteX1590" fmla="*/ 4011635 w 8023328"/>
              <a:gd name="connsiteY1590" fmla="*/ 998371 h 2380521"/>
              <a:gd name="connsiteX1591" fmla="*/ 4026423 w 8023328"/>
              <a:gd name="connsiteY1591" fmla="*/ 1012227 h 2380521"/>
              <a:gd name="connsiteX1592" fmla="*/ 4011635 w 8023328"/>
              <a:gd name="connsiteY1592" fmla="*/ 1024625 h 2380521"/>
              <a:gd name="connsiteX1593" fmla="*/ 3996847 w 8023328"/>
              <a:gd name="connsiteY1593" fmla="*/ 1012227 h 2380521"/>
              <a:gd name="connsiteX1594" fmla="*/ 4011635 w 8023328"/>
              <a:gd name="connsiteY1594" fmla="*/ 998371 h 2380521"/>
              <a:gd name="connsiteX1595" fmla="*/ 3939871 w 8023328"/>
              <a:gd name="connsiteY1595" fmla="*/ 998371 h 2380521"/>
              <a:gd name="connsiteX1596" fmla="*/ 3952268 w 8023328"/>
              <a:gd name="connsiteY1596" fmla="*/ 1012227 h 2380521"/>
              <a:gd name="connsiteX1597" fmla="*/ 3939871 w 8023328"/>
              <a:gd name="connsiteY1597" fmla="*/ 1024625 h 2380521"/>
              <a:gd name="connsiteX1598" fmla="*/ 3926015 w 8023328"/>
              <a:gd name="connsiteY1598" fmla="*/ 1012227 h 2380521"/>
              <a:gd name="connsiteX1599" fmla="*/ 3939871 w 8023328"/>
              <a:gd name="connsiteY1599" fmla="*/ 998371 h 2380521"/>
              <a:gd name="connsiteX1600" fmla="*/ 3869042 w 8023328"/>
              <a:gd name="connsiteY1600" fmla="*/ 998371 h 2380521"/>
              <a:gd name="connsiteX1601" fmla="*/ 3881439 w 8023328"/>
              <a:gd name="connsiteY1601" fmla="*/ 1013160 h 2380521"/>
              <a:gd name="connsiteX1602" fmla="*/ 3869042 w 8023328"/>
              <a:gd name="connsiteY1602" fmla="*/ 1027949 h 2380521"/>
              <a:gd name="connsiteX1603" fmla="*/ 3855186 w 8023328"/>
              <a:gd name="connsiteY1603" fmla="*/ 1013160 h 2380521"/>
              <a:gd name="connsiteX1604" fmla="*/ 3869042 w 8023328"/>
              <a:gd name="connsiteY1604" fmla="*/ 998371 h 2380521"/>
              <a:gd name="connsiteX1605" fmla="*/ 3798211 w 8023328"/>
              <a:gd name="connsiteY1605" fmla="*/ 998371 h 2380521"/>
              <a:gd name="connsiteX1606" fmla="*/ 3810608 w 8023328"/>
              <a:gd name="connsiteY1606" fmla="*/ 1013160 h 2380521"/>
              <a:gd name="connsiteX1607" fmla="*/ 3798211 w 8023328"/>
              <a:gd name="connsiteY1607" fmla="*/ 1027949 h 2380521"/>
              <a:gd name="connsiteX1608" fmla="*/ 3784355 w 8023328"/>
              <a:gd name="connsiteY1608" fmla="*/ 1013160 h 2380521"/>
              <a:gd name="connsiteX1609" fmla="*/ 3798211 w 8023328"/>
              <a:gd name="connsiteY1609" fmla="*/ 998371 h 2380521"/>
              <a:gd name="connsiteX1610" fmla="*/ 3725922 w 8023328"/>
              <a:gd name="connsiteY1610" fmla="*/ 998371 h 2380521"/>
              <a:gd name="connsiteX1611" fmla="*/ 3739778 w 8023328"/>
              <a:gd name="connsiteY1611" fmla="*/ 1013160 h 2380521"/>
              <a:gd name="connsiteX1612" fmla="*/ 3725922 w 8023328"/>
              <a:gd name="connsiteY1612" fmla="*/ 1027949 h 2380521"/>
              <a:gd name="connsiteX1613" fmla="*/ 3713525 w 8023328"/>
              <a:gd name="connsiteY1613" fmla="*/ 1013160 h 2380521"/>
              <a:gd name="connsiteX1614" fmla="*/ 3725922 w 8023328"/>
              <a:gd name="connsiteY1614" fmla="*/ 998371 h 2380521"/>
              <a:gd name="connsiteX1615" fmla="*/ 724105 w 8023328"/>
              <a:gd name="connsiteY1615" fmla="*/ 998371 h 2380521"/>
              <a:gd name="connsiteX1616" fmla="*/ 737962 w 8023328"/>
              <a:gd name="connsiteY1616" fmla="*/ 1010768 h 2380521"/>
              <a:gd name="connsiteX1617" fmla="*/ 724105 w 8023328"/>
              <a:gd name="connsiteY1617" fmla="*/ 1024625 h 2380521"/>
              <a:gd name="connsiteX1618" fmla="*/ 711707 w 8023328"/>
              <a:gd name="connsiteY1618" fmla="*/ 1010768 h 2380521"/>
              <a:gd name="connsiteX1619" fmla="*/ 724105 w 8023328"/>
              <a:gd name="connsiteY1619" fmla="*/ 998371 h 2380521"/>
              <a:gd name="connsiteX1620" fmla="*/ 653274 w 8023328"/>
              <a:gd name="connsiteY1620" fmla="*/ 998371 h 2380521"/>
              <a:gd name="connsiteX1621" fmla="*/ 667129 w 8023328"/>
              <a:gd name="connsiteY1621" fmla="*/ 1010768 h 2380521"/>
              <a:gd name="connsiteX1622" fmla="*/ 653274 w 8023328"/>
              <a:gd name="connsiteY1622" fmla="*/ 1024625 h 2380521"/>
              <a:gd name="connsiteX1623" fmla="*/ 640877 w 8023328"/>
              <a:gd name="connsiteY1623" fmla="*/ 1010768 h 2380521"/>
              <a:gd name="connsiteX1624" fmla="*/ 653274 w 8023328"/>
              <a:gd name="connsiteY1624" fmla="*/ 998371 h 2380521"/>
              <a:gd name="connsiteX1625" fmla="*/ 582446 w 8023328"/>
              <a:gd name="connsiteY1625" fmla="*/ 998371 h 2380521"/>
              <a:gd name="connsiteX1626" fmla="*/ 596301 w 8023328"/>
              <a:gd name="connsiteY1626" fmla="*/ 1010768 h 2380521"/>
              <a:gd name="connsiteX1627" fmla="*/ 582446 w 8023328"/>
              <a:gd name="connsiteY1627" fmla="*/ 1024625 h 2380521"/>
              <a:gd name="connsiteX1628" fmla="*/ 570047 w 8023328"/>
              <a:gd name="connsiteY1628" fmla="*/ 1010768 h 2380521"/>
              <a:gd name="connsiteX1629" fmla="*/ 582446 w 8023328"/>
              <a:gd name="connsiteY1629" fmla="*/ 998371 h 2380521"/>
              <a:gd name="connsiteX1630" fmla="*/ 513636 w 8023328"/>
              <a:gd name="connsiteY1630" fmla="*/ 998371 h 2380521"/>
              <a:gd name="connsiteX1631" fmla="*/ 528813 w 8023328"/>
              <a:gd name="connsiteY1631" fmla="*/ 1010768 h 2380521"/>
              <a:gd name="connsiteX1632" fmla="*/ 513636 w 8023328"/>
              <a:gd name="connsiteY1632" fmla="*/ 1024625 h 2380521"/>
              <a:gd name="connsiteX1633" fmla="*/ 499216 w 8023328"/>
              <a:gd name="connsiteY1633" fmla="*/ 1010768 h 2380521"/>
              <a:gd name="connsiteX1634" fmla="*/ 513636 w 8023328"/>
              <a:gd name="connsiteY1634" fmla="*/ 998371 h 2380521"/>
              <a:gd name="connsiteX1635" fmla="*/ 439802 w 8023328"/>
              <a:gd name="connsiteY1635" fmla="*/ 998371 h 2380521"/>
              <a:gd name="connsiteX1636" fmla="*/ 454592 w 8023328"/>
              <a:gd name="connsiteY1636" fmla="*/ 1010768 h 2380521"/>
              <a:gd name="connsiteX1637" fmla="*/ 439802 w 8023328"/>
              <a:gd name="connsiteY1637" fmla="*/ 1024625 h 2380521"/>
              <a:gd name="connsiteX1638" fmla="*/ 425014 w 8023328"/>
              <a:gd name="connsiteY1638" fmla="*/ 1010768 h 2380521"/>
              <a:gd name="connsiteX1639" fmla="*/ 439802 w 8023328"/>
              <a:gd name="connsiteY1639" fmla="*/ 998371 h 2380521"/>
              <a:gd name="connsiteX1640" fmla="*/ 368040 w 8023328"/>
              <a:gd name="connsiteY1640" fmla="*/ 998371 h 2380521"/>
              <a:gd name="connsiteX1641" fmla="*/ 380438 w 8023328"/>
              <a:gd name="connsiteY1641" fmla="*/ 1012227 h 2380521"/>
              <a:gd name="connsiteX1642" fmla="*/ 368040 w 8023328"/>
              <a:gd name="connsiteY1642" fmla="*/ 1024625 h 2380521"/>
              <a:gd name="connsiteX1643" fmla="*/ 354183 w 8023328"/>
              <a:gd name="connsiteY1643" fmla="*/ 1012227 h 2380521"/>
              <a:gd name="connsiteX1644" fmla="*/ 368040 w 8023328"/>
              <a:gd name="connsiteY1644" fmla="*/ 998371 h 2380521"/>
              <a:gd name="connsiteX1645" fmla="*/ 297208 w 8023328"/>
              <a:gd name="connsiteY1645" fmla="*/ 998371 h 2380521"/>
              <a:gd name="connsiteX1646" fmla="*/ 309606 w 8023328"/>
              <a:gd name="connsiteY1646" fmla="*/ 1012227 h 2380521"/>
              <a:gd name="connsiteX1647" fmla="*/ 297208 w 8023328"/>
              <a:gd name="connsiteY1647" fmla="*/ 1024625 h 2380521"/>
              <a:gd name="connsiteX1648" fmla="*/ 283352 w 8023328"/>
              <a:gd name="connsiteY1648" fmla="*/ 1012227 h 2380521"/>
              <a:gd name="connsiteX1649" fmla="*/ 297208 w 8023328"/>
              <a:gd name="connsiteY1649" fmla="*/ 998371 h 2380521"/>
              <a:gd name="connsiteX1650" fmla="*/ 226379 w 8023328"/>
              <a:gd name="connsiteY1650" fmla="*/ 998371 h 2380521"/>
              <a:gd name="connsiteX1651" fmla="*/ 238778 w 8023328"/>
              <a:gd name="connsiteY1651" fmla="*/ 1012227 h 2380521"/>
              <a:gd name="connsiteX1652" fmla="*/ 226379 w 8023328"/>
              <a:gd name="connsiteY1652" fmla="*/ 1024625 h 2380521"/>
              <a:gd name="connsiteX1653" fmla="*/ 212523 w 8023328"/>
              <a:gd name="connsiteY1653" fmla="*/ 1012227 h 2380521"/>
              <a:gd name="connsiteX1654" fmla="*/ 226379 w 8023328"/>
              <a:gd name="connsiteY1654" fmla="*/ 998371 h 2380521"/>
              <a:gd name="connsiteX1655" fmla="*/ 154085 w 8023328"/>
              <a:gd name="connsiteY1655" fmla="*/ 998371 h 2380521"/>
              <a:gd name="connsiteX1656" fmla="*/ 167941 w 8023328"/>
              <a:gd name="connsiteY1656" fmla="*/ 1012227 h 2380521"/>
              <a:gd name="connsiteX1657" fmla="*/ 154085 w 8023328"/>
              <a:gd name="connsiteY1657" fmla="*/ 1024625 h 2380521"/>
              <a:gd name="connsiteX1658" fmla="*/ 141687 w 8023328"/>
              <a:gd name="connsiteY1658" fmla="*/ 1012227 h 2380521"/>
              <a:gd name="connsiteX1659" fmla="*/ 154085 w 8023328"/>
              <a:gd name="connsiteY1659" fmla="*/ 998371 h 2380521"/>
              <a:gd name="connsiteX1660" fmla="*/ 83255 w 8023328"/>
              <a:gd name="connsiteY1660" fmla="*/ 998371 h 2380521"/>
              <a:gd name="connsiteX1661" fmla="*/ 97111 w 8023328"/>
              <a:gd name="connsiteY1661" fmla="*/ 1012227 h 2380521"/>
              <a:gd name="connsiteX1662" fmla="*/ 83255 w 8023328"/>
              <a:gd name="connsiteY1662" fmla="*/ 1024625 h 2380521"/>
              <a:gd name="connsiteX1663" fmla="*/ 70858 w 8023328"/>
              <a:gd name="connsiteY1663" fmla="*/ 1012227 h 2380521"/>
              <a:gd name="connsiteX1664" fmla="*/ 83255 w 8023328"/>
              <a:gd name="connsiteY1664" fmla="*/ 998371 h 2380521"/>
              <a:gd name="connsiteX1665" fmla="*/ 12019 w 8023328"/>
              <a:gd name="connsiteY1665" fmla="*/ 998371 h 2380521"/>
              <a:gd name="connsiteX1666" fmla="*/ 26260 w 8023328"/>
              <a:gd name="connsiteY1666" fmla="*/ 1012227 h 2380521"/>
              <a:gd name="connsiteX1667" fmla="*/ 12019 w 8023328"/>
              <a:gd name="connsiteY1667" fmla="*/ 1024625 h 2380521"/>
              <a:gd name="connsiteX1668" fmla="*/ 27 w 8023328"/>
              <a:gd name="connsiteY1668" fmla="*/ 1012227 h 2380521"/>
              <a:gd name="connsiteX1669" fmla="*/ 12019 w 8023328"/>
              <a:gd name="connsiteY1669" fmla="*/ 998371 h 2380521"/>
              <a:gd name="connsiteX1670" fmla="*/ 870603 w 8023328"/>
              <a:gd name="connsiteY1670" fmla="*/ 927542 h 2380521"/>
              <a:gd name="connsiteX1671" fmla="*/ 883001 w 8023328"/>
              <a:gd name="connsiteY1671" fmla="*/ 939939 h 2380521"/>
              <a:gd name="connsiteX1672" fmla="*/ 870603 w 8023328"/>
              <a:gd name="connsiteY1672" fmla="*/ 953796 h 2380521"/>
              <a:gd name="connsiteX1673" fmla="*/ 856747 w 8023328"/>
              <a:gd name="connsiteY1673" fmla="*/ 939939 h 2380521"/>
              <a:gd name="connsiteX1674" fmla="*/ 870603 w 8023328"/>
              <a:gd name="connsiteY1674" fmla="*/ 927542 h 2380521"/>
              <a:gd name="connsiteX1675" fmla="*/ 799773 w 8023328"/>
              <a:gd name="connsiteY1675" fmla="*/ 927542 h 2380521"/>
              <a:gd name="connsiteX1676" fmla="*/ 812171 w 8023328"/>
              <a:gd name="connsiteY1676" fmla="*/ 939939 h 2380521"/>
              <a:gd name="connsiteX1677" fmla="*/ 799773 w 8023328"/>
              <a:gd name="connsiteY1677" fmla="*/ 953796 h 2380521"/>
              <a:gd name="connsiteX1678" fmla="*/ 785917 w 8023328"/>
              <a:gd name="connsiteY1678" fmla="*/ 939939 h 2380521"/>
              <a:gd name="connsiteX1679" fmla="*/ 799773 w 8023328"/>
              <a:gd name="connsiteY1679" fmla="*/ 927542 h 2380521"/>
              <a:gd name="connsiteX1680" fmla="*/ 724112 w 8023328"/>
              <a:gd name="connsiteY1680" fmla="*/ 927542 h 2380521"/>
              <a:gd name="connsiteX1681" fmla="*/ 737968 w 8023328"/>
              <a:gd name="connsiteY1681" fmla="*/ 939939 h 2380521"/>
              <a:gd name="connsiteX1682" fmla="*/ 724112 w 8023328"/>
              <a:gd name="connsiteY1682" fmla="*/ 953796 h 2380521"/>
              <a:gd name="connsiteX1683" fmla="*/ 711714 w 8023328"/>
              <a:gd name="connsiteY1683" fmla="*/ 939939 h 2380521"/>
              <a:gd name="connsiteX1684" fmla="*/ 724112 w 8023328"/>
              <a:gd name="connsiteY1684" fmla="*/ 927542 h 2380521"/>
              <a:gd name="connsiteX1685" fmla="*/ 653281 w 8023328"/>
              <a:gd name="connsiteY1685" fmla="*/ 927542 h 2380521"/>
              <a:gd name="connsiteX1686" fmla="*/ 667137 w 8023328"/>
              <a:gd name="connsiteY1686" fmla="*/ 939939 h 2380521"/>
              <a:gd name="connsiteX1687" fmla="*/ 653281 w 8023328"/>
              <a:gd name="connsiteY1687" fmla="*/ 953796 h 2380521"/>
              <a:gd name="connsiteX1688" fmla="*/ 640884 w 8023328"/>
              <a:gd name="connsiteY1688" fmla="*/ 939939 h 2380521"/>
              <a:gd name="connsiteX1689" fmla="*/ 653281 w 8023328"/>
              <a:gd name="connsiteY1689" fmla="*/ 927542 h 2380521"/>
              <a:gd name="connsiteX1690" fmla="*/ 582453 w 8023328"/>
              <a:gd name="connsiteY1690" fmla="*/ 927542 h 2380521"/>
              <a:gd name="connsiteX1691" fmla="*/ 596309 w 8023328"/>
              <a:gd name="connsiteY1691" fmla="*/ 939939 h 2380521"/>
              <a:gd name="connsiteX1692" fmla="*/ 582453 w 8023328"/>
              <a:gd name="connsiteY1692" fmla="*/ 953796 h 2380521"/>
              <a:gd name="connsiteX1693" fmla="*/ 570054 w 8023328"/>
              <a:gd name="connsiteY1693" fmla="*/ 939939 h 2380521"/>
              <a:gd name="connsiteX1694" fmla="*/ 582453 w 8023328"/>
              <a:gd name="connsiteY1694" fmla="*/ 927542 h 2380521"/>
              <a:gd name="connsiteX1695" fmla="*/ 513642 w 8023328"/>
              <a:gd name="connsiteY1695" fmla="*/ 927542 h 2380521"/>
              <a:gd name="connsiteX1696" fmla="*/ 528820 w 8023328"/>
              <a:gd name="connsiteY1696" fmla="*/ 939939 h 2380521"/>
              <a:gd name="connsiteX1697" fmla="*/ 513642 w 8023328"/>
              <a:gd name="connsiteY1697" fmla="*/ 953796 h 2380521"/>
              <a:gd name="connsiteX1698" fmla="*/ 499223 w 8023328"/>
              <a:gd name="connsiteY1698" fmla="*/ 939939 h 2380521"/>
              <a:gd name="connsiteX1699" fmla="*/ 513642 w 8023328"/>
              <a:gd name="connsiteY1699" fmla="*/ 927542 h 2380521"/>
              <a:gd name="connsiteX1700" fmla="*/ 439809 w 8023328"/>
              <a:gd name="connsiteY1700" fmla="*/ 927542 h 2380521"/>
              <a:gd name="connsiteX1701" fmla="*/ 454599 w 8023328"/>
              <a:gd name="connsiteY1701" fmla="*/ 939939 h 2380521"/>
              <a:gd name="connsiteX1702" fmla="*/ 439809 w 8023328"/>
              <a:gd name="connsiteY1702" fmla="*/ 953796 h 2380521"/>
              <a:gd name="connsiteX1703" fmla="*/ 425021 w 8023328"/>
              <a:gd name="connsiteY1703" fmla="*/ 939939 h 2380521"/>
              <a:gd name="connsiteX1704" fmla="*/ 439809 w 8023328"/>
              <a:gd name="connsiteY1704" fmla="*/ 927542 h 2380521"/>
              <a:gd name="connsiteX1705" fmla="*/ 368046 w 8023328"/>
              <a:gd name="connsiteY1705" fmla="*/ 927542 h 2380521"/>
              <a:gd name="connsiteX1706" fmla="*/ 380444 w 8023328"/>
              <a:gd name="connsiteY1706" fmla="*/ 939939 h 2380521"/>
              <a:gd name="connsiteX1707" fmla="*/ 368046 w 8023328"/>
              <a:gd name="connsiteY1707" fmla="*/ 953796 h 2380521"/>
              <a:gd name="connsiteX1708" fmla="*/ 354191 w 8023328"/>
              <a:gd name="connsiteY1708" fmla="*/ 939939 h 2380521"/>
              <a:gd name="connsiteX1709" fmla="*/ 368046 w 8023328"/>
              <a:gd name="connsiteY1709" fmla="*/ 927542 h 2380521"/>
              <a:gd name="connsiteX1710" fmla="*/ 297214 w 8023328"/>
              <a:gd name="connsiteY1710" fmla="*/ 927542 h 2380521"/>
              <a:gd name="connsiteX1711" fmla="*/ 309612 w 8023328"/>
              <a:gd name="connsiteY1711" fmla="*/ 939939 h 2380521"/>
              <a:gd name="connsiteX1712" fmla="*/ 297214 w 8023328"/>
              <a:gd name="connsiteY1712" fmla="*/ 953796 h 2380521"/>
              <a:gd name="connsiteX1713" fmla="*/ 283359 w 8023328"/>
              <a:gd name="connsiteY1713" fmla="*/ 939939 h 2380521"/>
              <a:gd name="connsiteX1714" fmla="*/ 297214 w 8023328"/>
              <a:gd name="connsiteY1714" fmla="*/ 927542 h 2380521"/>
              <a:gd name="connsiteX1715" fmla="*/ 226386 w 8023328"/>
              <a:gd name="connsiteY1715" fmla="*/ 927542 h 2380521"/>
              <a:gd name="connsiteX1716" fmla="*/ 238784 w 8023328"/>
              <a:gd name="connsiteY1716" fmla="*/ 939939 h 2380521"/>
              <a:gd name="connsiteX1717" fmla="*/ 226386 w 8023328"/>
              <a:gd name="connsiteY1717" fmla="*/ 953796 h 2380521"/>
              <a:gd name="connsiteX1718" fmla="*/ 212530 w 8023328"/>
              <a:gd name="connsiteY1718" fmla="*/ 939939 h 2380521"/>
              <a:gd name="connsiteX1719" fmla="*/ 226386 w 8023328"/>
              <a:gd name="connsiteY1719" fmla="*/ 927542 h 2380521"/>
              <a:gd name="connsiteX1720" fmla="*/ 154091 w 8023328"/>
              <a:gd name="connsiteY1720" fmla="*/ 927542 h 2380521"/>
              <a:gd name="connsiteX1721" fmla="*/ 167947 w 8023328"/>
              <a:gd name="connsiteY1721" fmla="*/ 939939 h 2380521"/>
              <a:gd name="connsiteX1722" fmla="*/ 154091 w 8023328"/>
              <a:gd name="connsiteY1722" fmla="*/ 953796 h 2380521"/>
              <a:gd name="connsiteX1723" fmla="*/ 141693 w 8023328"/>
              <a:gd name="connsiteY1723" fmla="*/ 939939 h 2380521"/>
              <a:gd name="connsiteX1724" fmla="*/ 154091 w 8023328"/>
              <a:gd name="connsiteY1724" fmla="*/ 927542 h 2380521"/>
              <a:gd name="connsiteX1725" fmla="*/ 83261 w 8023328"/>
              <a:gd name="connsiteY1725" fmla="*/ 927542 h 2380521"/>
              <a:gd name="connsiteX1726" fmla="*/ 97117 w 8023328"/>
              <a:gd name="connsiteY1726" fmla="*/ 939939 h 2380521"/>
              <a:gd name="connsiteX1727" fmla="*/ 83261 w 8023328"/>
              <a:gd name="connsiteY1727" fmla="*/ 953796 h 2380521"/>
              <a:gd name="connsiteX1728" fmla="*/ 70864 w 8023328"/>
              <a:gd name="connsiteY1728" fmla="*/ 939939 h 2380521"/>
              <a:gd name="connsiteX1729" fmla="*/ 83261 w 8023328"/>
              <a:gd name="connsiteY1729" fmla="*/ 927542 h 2380521"/>
              <a:gd name="connsiteX1730" fmla="*/ 12025 w 8023328"/>
              <a:gd name="connsiteY1730" fmla="*/ 927542 h 2380521"/>
              <a:gd name="connsiteX1731" fmla="*/ 26266 w 8023328"/>
              <a:gd name="connsiteY1731" fmla="*/ 939939 h 2380521"/>
              <a:gd name="connsiteX1732" fmla="*/ 12025 w 8023328"/>
              <a:gd name="connsiteY1732" fmla="*/ 953796 h 2380521"/>
              <a:gd name="connsiteX1733" fmla="*/ 33 w 8023328"/>
              <a:gd name="connsiteY1733" fmla="*/ 939939 h 2380521"/>
              <a:gd name="connsiteX1734" fmla="*/ 12025 w 8023328"/>
              <a:gd name="connsiteY1734" fmla="*/ 927542 h 2380521"/>
              <a:gd name="connsiteX1735" fmla="*/ 6581764 w 8023328"/>
              <a:gd name="connsiteY1735" fmla="*/ 924168 h 2380521"/>
              <a:gd name="connsiteX1736" fmla="*/ 6596552 w 8023328"/>
              <a:gd name="connsiteY1736" fmla="*/ 936565 h 2380521"/>
              <a:gd name="connsiteX1737" fmla="*/ 6581764 w 8023328"/>
              <a:gd name="connsiteY1737" fmla="*/ 950422 h 2380521"/>
              <a:gd name="connsiteX1738" fmla="*/ 6566976 w 8023328"/>
              <a:gd name="connsiteY1738" fmla="*/ 936565 h 2380521"/>
              <a:gd name="connsiteX1739" fmla="*/ 6581764 w 8023328"/>
              <a:gd name="connsiteY1739" fmla="*/ 924168 h 2380521"/>
              <a:gd name="connsiteX1740" fmla="*/ 6510933 w 8023328"/>
              <a:gd name="connsiteY1740" fmla="*/ 924168 h 2380521"/>
              <a:gd name="connsiteX1741" fmla="*/ 6525722 w 8023328"/>
              <a:gd name="connsiteY1741" fmla="*/ 936565 h 2380521"/>
              <a:gd name="connsiteX1742" fmla="*/ 6510933 w 8023328"/>
              <a:gd name="connsiteY1742" fmla="*/ 950422 h 2380521"/>
              <a:gd name="connsiteX1743" fmla="*/ 6496144 w 8023328"/>
              <a:gd name="connsiteY1743" fmla="*/ 936565 h 2380521"/>
              <a:gd name="connsiteX1744" fmla="*/ 6510933 w 8023328"/>
              <a:gd name="connsiteY1744" fmla="*/ 924168 h 2380521"/>
              <a:gd name="connsiteX1745" fmla="*/ 6440492 w 8023328"/>
              <a:gd name="connsiteY1745" fmla="*/ 924168 h 2380521"/>
              <a:gd name="connsiteX1746" fmla="*/ 6454911 w 8023328"/>
              <a:gd name="connsiteY1746" fmla="*/ 936565 h 2380521"/>
              <a:gd name="connsiteX1747" fmla="*/ 6440492 w 8023328"/>
              <a:gd name="connsiteY1747" fmla="*/ 950422 h 2380521"/>
              <a:gd name="connsiteX1748" fmla="*/ 6425315 w 8023328"/>
              <a:gd name="connsiteY1748" fmla="*/ 936565 h 2380521"/>
              <a:gd name="connsiteX1749" fmla="*/ 6440492 w 8023328"/>
              <a:gd name="connsiteY1749" fmla="*/ 924168 h 2380521"/>
              <a:gd name="connsiteX1750" fmla="*/ 6368340 w 8023328"/>
              <a:gd name="connsiteY1750" fmla="*/ 924168 h 2380521"/>
              <a:gd name="connsiteX1751" fmla="*/ 6380737 w 8023328"/>
              <a:gd name="connsiteY1751" fmla="*/ 936565 h 2380521"/>
              <a:gd name="connsiteX1752" fmla="*/ 6368340 w 8023328"/>
              <a:gd name="connsiteY1752" fmla="*/ 950422 h 2380521"/>
              <a:gd name="connsiteX1753" fmla="*/ 6354484 w 8023328"/>
              <a:gd name="connsiteY1753" fmla="*/ 936565 h 2380521"/>
              <a:gd name="connsiteX1754" fmla="*/ 6368340 w 8023328"/>
              <a:gd name="connsiteY1754" fmla="*/ 924168 h 2380521"/>
              <a:gd name="connsiteX1755" fmla="*/ 6297511 w 8023328"/>
              <a:gd name="connsiteY1755" fmla="*/ 924168 h 2380521"/>
              <a:gd name="connsiteX1756" fmla="*/ 6309908 w 8023328"/>
              <a:gd name="connsiteY1756" fmla="*/ 936565 h 2380521"/>
              <a:gd name="connsiteX1757" fmla="*/ 6297511 w 8023328"/>
              <a:gd name="connsiteY1757" fmla="*/ 950422 h 2380521"/>
              <a:gd name="connsiteX1758" fmla="*/ 6283655 w 8023328"/>
              <a:gd name="connsiteY1758" fmla="*/ 936565 h 2380521"/>
              <a:gd name="connsiteX1759" fmla="*/ 6297511 w 8023328"/>
              <a:gd name="connsiteY1759" fmla="*/ 924168 h 2380521"/>
              <a:gd name="connsiteX1760" fmla="*/ 6226679 w 8023328"/>
              <a:gd name="connsiteY1760" fmla="*/ 924168 h 2380521"/>
              <a:gd name="connsiteX1761" fmla="*/ 6239076 w 8023328"/>
              <a:gd name="connsiteY1761" fmla="*/ 936565 h 2380521"/>
              <a:gd name="connsiteX1762" fmla="*/ 6226679 w 8023328"/>
              <a:gd name="connsiteY1762" fmla="*/ 950422 h 2380521"/>
              <a:gd name="connsiteX1763" fmla="*/ 6212823 w 8023328"/>
              <a:gd name="connsiteY1763" fmla="*/ 936565 h 2380521"/>
              <a:gd name="connsiteX1764" fmla="*/ 6226679 w 8023328"/>
              <a:gd name="connsiteY1764" fmla="*/ 924168 h 2380521"/>
              <a:gd name="connsiteX1765" fmla="*/ 6154391 w 8023328"/>
              <a:gd name="connsiteY1765" fmla="*/ 924168 h 2380521"/>
              <a:gd name="connsiteX1766" fmla="*/ 6168247 w 8023328"/>
              <a:gd name="connsiteY1766" fmla="*/ 936565 h 2380521"/>
              <a:gd name="connsiteX1767" fmla="*/ 6154391 w 8023328"/>
              <a:gd name="connsiteY1767" fmla="*/ 950422 h 2380521"/>
              <a:gd name="connsiteX1768" fmla="*/ 6141994 w 8023328"/>
              <a:gd name="connsiteY1768" fmla="*/ 936565 h 2380521"/>
              <a:gd name="connsiteX1769" fmla="*/ 6154391 w 8023328"/>
              <a:gd name="connsiteY1769" fmla="*/ 924168 h 2380521"/>
              <a:gd name="connsiteX1770" fmla="*/ 6083559 w 8023328"/>
              <a:gd name="connsiteY1770" fmla="*/ 924168 h 2380521"/>
              <a:gd name="connsiteX1771" fmla="*/ 6097415 w 8023328"/>
              <a:gd name="connsiteY1771" fmla="*/ 936565 h 2380521"/>
              <a:gd name="connsiteX1772" fmla="*/ 6083559 w 8023328"/>
              <a:gd name="connsiteY1772" fmla="*/ 950422 h 2380521"/>
              <a:gd name="connsiteX1773" fmla="*/ 6071162 w 8023328"/>
              <a:gd name="connsiteY1773" fmla="*/ 936565 h 2380521"/>
              <a:gd name="connsiteX1774" fmla="*/ 6083559 w 8023328"/>
              <a:gd name="connsiteY1774" fmla="*/ 924168 h 2380521"/>
              <a:gd name="connsiteX1775" fmla="*/ 6011748 w 8023328"/>
              <a:gd name="connsiteY1775" fmla="*/ 924168 h 2380521"/>
              <a:gd name="connsiteX1776" fmla="*/ 6026537 w 8023328"/>
              <a:gd name="connsiteY1776" fmla="*/ 936565 h 2380521"/>
              <a:gd name="connsiteX1777" fmla="*/ 6011748 w 8023328"/>
              <a:gd name="connsiteY1777" fmla="*/ 950422 h 2380521"/>
              <a:gd name="connsiteX1778" fmla="*/ 5996959 w 8023328"/>
              <a:gd name="connsiteY1778" fmla="*/ 936565 h 2380521"/>
              <a:gd name="connsiteX1779" fmla="*/ 6011748 w 8023328"/>
              <a:gd name="connsiteY1779" fmla="*/ 924168 h 2380521"/>
              <a:gd name="connsiteX1780" fmla="*/ 5940548 w 8023328"/>
              <a:gd name="connsiteY1780" fmla="*/ 924168 h 2380521"/>
              <a:gd name="connsiteX1781" fmla="*/ 5955726 w 8023328"/>
              <a:gd name="connsiteY1781" fmla="*/ 936565 h 2380521"/>
              <a:gd name="connsiteX1782" fmla="*/ 5940548 w 8023328"/>
              <a:gd name="connsiteY1782" fmla="*/ 950422 h 2380521"/>
              <a:gd name="connsiteX1783" fmla="*/ 5926130 w 8023328"/>
              <a:gd name="connsiteY1783" fmla="*/ 936565 h 2380521"/>
              <a:gd name="connsiteX1784" fmla="*/ 5940548 w 8023328"/>
              <a:gd name="connsiteY1784" fmla="*/ 924168 h 2380521"/>
              <a:gd name="connsiteX1785" fmla="*/ 5870088 w 8023328"/>
              <a:gd name="connsiteY1785" fmla="*/ 924168 h 2380521"/>
              <a:gd name="connsiteX1786" fmla="*/ 5884877 w 8023328"/>
              <a:gd name="connsiteY1786" fmla="*/ 936565 h 2380521"/>
              <a:gd name="connsiteX1787" fmla="*/ 5870088 w 8023328"/>
              <a:gd name="connsiteY1787" fmla="*/ 950422 h 2380521"/>
              <a:gd name="connsiteX1788" fmla="*/ 5855299 w 8023328"/>
              <a:gd name="connsiteY1788" fmla="*/ 936565 h 2380521"/>
              <a:gd name="connsiteX1789" fmla="*/ 5870088 w 8023328"/>
              <a:gd name="connsiteY1789" fmla="*/ 924168 h 2380521"/>
              <a:gd name="connsiteX1790" fmla="*/ 5798325 w 8023328"/>
              <a:gd name="connsiteY1790" fmla="*/ 924168 h 2380521"/>
              <a:gd name="connsiteX1791" fmla="*/ 5810722 w 8023328"/>
              <a:gd name="connsiteY1791" fmla="*/ 936565 h 2380521"/>
              <a:gd name="connsiteX1792" fmla="*/ 5798325 w 8023328"/>
              <a:gd name="connsiteY1792" fmla="*/ 950422 h 2380521"/>
              <a:gd name="connsiteX1793" fmla="*/ 5784469 w 8023328"/>
              <a:gd name="connsiteY1793" fmla="*/ 936565 h 2380521"/>
              <a:gd name="connsiteX1794" fmla="*/ 5798325 w 8023328"/>
              <a:gd name="connsiteY1794" fmla="*/ 924168 h 2380521"/>
              <a:gd name="connsiteX1795" fmla="*/ 5724122 w 8023328"/>
              <a:gd name="connsiteY1795" fmla="*/ 924168 h 2380521"/>
              <a:gd name="connsiteX1796" fmla="*/ 5736519 w 8023328"/>
              <a:gd name="connsiteY1796" fmla="*/ 936565 h 2380521"/>
              <a:gd name="connsiteX1797" fmla="*/ 5724122 w 8023328"/>
              <a:gd name="connsiteY1797" fmla="*/ 950422 h 2380521"/>
              <a:gd name="connsiteX1798" fmla="*/ 5710266 w 8023328"/>
              <a:gd name="connsiteY1798" fmla="*/ 936565 h 2380521"/>
              <a:gd name="connsiteX1799" fmla="*/ 5724122 w 8023328"/>
              <a:gd name="connsiteY1799" fmla="*/ 924168 h 2380521"/>
              <a:gd name="connsiteX1800" fmla="*/ 5653291 w 8023328"/>
              <a:gd name="connsiteY1800" fmla="*/ 924168 h 2380521"/>
              <a:gd name="connsiteX1801" fmla="*/ 5665688 w 8023328"/>
              <a:gd name="connsiteY1801" fmla="*/ 936565 h 2380521"/>
              <a:gd name="connsiteX1802" fmla="*/ 5653291 w 8023328"/>
              <a:gd name="connsiteY1802" fmla="*/ 950422 h 2380521"/>
              <a:gd name="connsiteX1803" fmla="*/ 5639435 w 8023328"/>
              <a:gd name="connsiteY1803" fmla="*/ 936565 h 2380521"/>
              <a:gd name="connsiteX1804" fmla="*/ 5653291 w 8023328"/>
              <a:gd name="connsiteY1804" fmla="*/ 924168 h 2380521"/>
              <a:gd name="connsiteX1805" fmla="*/ 5581002 w 8023328"/>
              <a:gd name="connsiteY1805" fmla="*/ 924168 h 2380521"/>
              <a:gd name="connsiteX1806" fmla="*/ 5594858 w 8023328"/>
              <a:gd name="connsiteY1806" fmla="*/ 936565 h 2380521"/>
              <a:gd name="connsiteX1807" fmla="*/ 5581002 w 8023328"/>
              <a:gd name="connsiteY1807" fmla="*/ 950422 h 2380521"/>
              <a:gd name="connsiteX1808" fmla="*/ 5568605 w 8023328"/>
              <a:gd name="connsiteY1808" fmla="*/ 936565 h 2380521"/>
              <a:gd name="connsiteX1809" fmla="*/ 5581002 w 8023328"/>
              <a:gd name="connsiteY1809" fmla="*/ 924168 h 2380521"/>
              <a:gd name="connsiteX1810" fmla="*/ 5510171 w 8023328"/>
              <a:gd name="connsiteY1810" fmla="*/ 924168 h 2380521"/>
              <a:gd name="connsiteX1811" fmla="*/ 5524027 w 8023328"/>
              <a:gd name="connsiteY1811" fmla="*/ 936565 h 2380521"/>
              <a:gd name="connsiteX1812" fmla="*/ 5510171 w 8023328"/>
              <a:gd name="connsiteY1812" fmla="*/ 950422 h 2380521"/>
              <a:gd name="connsiteX1813" fmla="*/ 5497774 w 8023328"/>
              <a:gd name="connsiteY1813" fmla="*/ 936565 h 2380521"/>
              <a:gd name="connsiteX1814" fmla="*/ 5510171 w 8023328"/>
              <a:gd name="connsiteY1814" fmla="*/ 924168 h 2380521"/>
              <a:gd name="connsiteX1815" fmla="*/ 5438937 w 8023328"/>
              <a:gd name="connsiteY1815" fmla="*/ 924168 h 2380521"/>
              <a:gd name="connsiteX1816" fmla="*/ 5453178 w 8023328"/>
              <a:gd name="connsiteY1816" fmla="*/ 936565 h 2380521"/>
              <a:gd name="connsiteX1817" fmla="*/ 5438937 w 8023328"/>
              <a:gd name="connsiteY1817" fmla="*/ 950422 h 2380521"/>
              <a:gd name="connsiteX1818" fmla="*/ 5426945 w 8023328"/>
              <a:gd name="connsiteY1818" fmla="*/ 936565 h 2380521"/>
              <a:gd name="connsiteX1819" fmla="*/ 5438937 w 8023328"/>
              <a:gd name="connsiteY1819" fmla="*/ 924168 h 2380521"/>
              <a:gd name="connsiteX1820" fmla="*/ 5367530 w 8023328"/>
              <a:gd name="connsiteY1820" fmla="*/ 924168 h 2380521"/>
              <a:gd name="connsiteX1821" fmla="*/ 5382318 w 8023328"/>
              <a:gd name="connsiteY1821" fmla="*/ 936565 h 2380521"/>
              <a:gd name="connsiteX1822" fmla="*/ 5367530 w 8023328"/>
              <a:gd name="connsiteY1822" fmla="*/ 950422 h 2380521"/>
              <a:gd name="connsiteX1823" fmla="*/ 5352742 w 8023328"/>
              <a:gd name="connsiteY1823" fmla="*/ 936565 h 2380521"/>
              <a:gd name="connsiteX1824" fmla="*/ 5367530 w 8023328"/>
              <a:gd name="connsiteY1824" fmla="*/ 924168 h 2380521"/>
              <a:gd name="connsiteX1825" fmla="*/ 5296699 w 8023328"/>
              <a:gd name="connsiteY1825" fmla="*/ 924168 h 2380521"/>
              <a:gd name="connsiteX1826" fmla="*/ 5311488 w 8023328"/>
              <a:gd name="connsiteY1826" fmla="*/ 936565 h 2380521"/>
              <a:gd name="connsiteX1827" fmla="*/ 5296699 w 8023328"/>
              <a:gd name="connsiteY1827" fmla="*/ 950422 h 2380521"/>
              <a:gd name="connsiteX1828" fmla="*/ 5281910 w 8023328"/>
              <a:gd name="connsiteY1828" fmla="*/ 936565 h 2380521"/>
              <a:gd name="connsiteX1829" fmla="*/ 5296699 w 8023328"/>
              <a:gd name="connsiteY1829" fmla="*/ 924168 h 2380521"/>
              <a:gd name="connsiteX1830" fmla="*/ 5225869 w 8023328"/>
              <a:gd name="connsiteY1830" fmla="*/ 924168 h 2380521"/>
              <a:gd name="connsiteX1831" fmla="*/ 5240657 w 8023328"/>
              <a:gd name="connsiteY1831" fmla="*/ 936565 h 2380521"/>
              <a:gd name="connsiteX1832" fmla="*/ 5225869 w 8023328"/>
              <a:gd name="connsiteY1832" fmla="*/ 950422 h 2380521"/>
              <a:gd name="connsiteX1833" fmla="*/ 5211081 w 8023328"/>
              <a:gd name="connsiteY1833" fmla="*/ 936565 h 2380521"/>
              <a:gd name="connsiteX1834" fmla="*/ 5225869 w 8023328"/>
              <a:gd name="connsiteY1834" fmla="*/ 924168 h 2380521"/>
              <a:gd name="connsiteX1835" fmla="*/ 5154105 w 8023328"/>
              <a:gd name="connsiteY1835" fmla="*/ 924168 h 2380521"/>
              <a:gd name="connsiteX1836" fmla="*/ 5166502 w 8023328"/>
              <a:gd name="connsiteY1836" fmla="*/ 936565 h 2380521"/>
              <a:gd name="connsiteX1837" fmla="*/ 5154105 w 8023328"/>
              <a:gd name="connsiteY1837" fmla="*/ 950422 h 2380521"/>
              <a:gd name="connsiteX1838" fmla="*/ 5140249 w 8023328"/>
              <a:gd name="connsiteY1838" fmla="*/ 936565 h 2380521"/>
              <a:gd name="connsiteX1839" fmla="*/ 5154105 w 8023328"/>
              <a:gd name="connsiteY1839" fmla="*/ 924168 h 2380521"/>
              <a:gd name="connsiteX1840" fmla="*/ 5083276 w 8023328"/>
              <a:gd name="connsiteY1840" fmla="*/ 924168 h 2380521"/>
              <a:gd name="connsiteX1841" fmla="*/ 5095673 w 8023328"/>
              <a:gd name="connsiteY1841" fmla="*/ 936565 h 2380521"/>
              <a:gd name="connsiteX1842" fmla="*/ 5083276 w 8023328"/>
              <a:gd name="connsiteY1842" fmla="*/ 950422 h 2380521"/>
              <a:gd name="connsiteX1843" fmla="*/ 5069420 w 8023328"/>
              <a:gd name="connsiteY1843" fmla="*/ 936565 h 2380521"/>
              <a:gd name="connsiteX1844" fmla="*/ 5083276 w 8023328"/>
              <a:gd name="connsiteY1844" fmla="*/ 924168 h 2380521"/>
              <a:gd name="connsiteX1845" fmla="*/ 5012445 w 8023328"/>
              <a:gd name="connsiteY1845" fmla="*/ 924168 h 2380521"/>
              <a:gd name="connsiteX1846" fmla="*/ 5024842 w 8023328"/>
              <a:gd name="connsiteY1846" fmla="*/ 936565 h 2380521"/>
              <a:gd name="connsiteX1847" fmla="*/ 5012445 w 8023328"/>
              <a:gd name="connsiteY1847" fmla="*/ 950422 h 2380521"/>
              <a:gd name="connsiteX1848" fmla="*/ 4998589 w 8023328"/>
              <a:gd name="connsiteY1848" fmla="*/ 938024 h 2380521"/>
              <a:gd name="connsiteX1849" fmla="*/ 5012445 w 8023328"/>
              <a:gd name="connsiteY1849" fmla="*/ 924168 h 2380521"/>
              <a:gd name="connsiteX1850" fmla="*/ 4940157 w 8023328"/>
              <a:gd name="connsiteY1850" fmla="*/ 924168 h 2380521"/>
              <a:gd name="connsiteX1851" fmla="*/ 4954013 w 8023328"/>
              <a:gd name="connsiteY1851" fmla="*/ 938024 h 2380521"/>
              <a:gd name="connsiteX1852" fmla="*/ 4940157 w 8023328"/>
              <a:gd name="connsiteY1852" fmla="*/ 950422 h 2380521"/>
              <a:gd name="connsiteX1853" fmla="*/ 4927760 w 8023328"/>
              <a:gd name="connsiteY1853" fmla="*/ 938024 h 2380521"/>
              <a:gd name="connsiteX1854" fmla="*/ 4940157 w 8023328"/>
              <a:gd name="connsiteY1854" fmla="*/ 924168 h 2380521"/>
              <a:gd name="connsiteX1855" fmla="*/ 4865953 w 8023328"/>
              <a:gd name="connsiteY1855" fmla="*/ 924168 h 2380521"/>
              <a:gd name="connsiteX1856" fmla="*/ 4879809 w 8023328"/>
              <a:gd name="connsiteY1856" fmla="*/ 938024 h 2380521"/>
              <a:gd name="connsiteX1857" fmla="*/ 4865953 w 8023328"/>
              <a:gd name="connsiteY1857" fmla="*/ 950422 h 2380521"/>
              <a:gd name="connsiteX1858" fmla="*/ 4853556 w 8023328"/>
              <a:gd name="connsiteY1858" fmla="*/ 938024 h 2380521"/>
              <a:gd name="connsiteX1859" fmla="*/ 4865953 w 8023328"/>
              <a:gd name="connsiteY1859" fmla="*/ 924168 h 2380521"/>
              <a:gd name="connsiteX1860" fmla="*/ 4797514 w 8023328"/>
              <a:gd name="connsiteY1860" fmla="*/ 924168 h 2380521"/>
              <a:gd name="connsiteX1861" fmla="*/ 4812303 w 8023328"/>
              <a:gd name="connsiteY1861" fmla="*/ 938024 h 2380521"/>
              <a:gd name="connsiteX1862" fmla="*/ 4797514 w 8023328"/>
              <a:gd name="connsiteY1862" fmla="*/ 950422 h 2380521"/>
              <a:gd name="connsiteX1863" fmla="*/ 4782725 w 8023328"/>
              <a:gd name="connsiteY1863" fmla="*/ 938024 h 2380521"/>
              <a:gd name="connsiteX1864" fmla="*/ 4797514 w 8023328"/>
              <a:gd name="connsiteY1864" fmla="*/ 924168 h 2380521"/>
              <a:gd name="connsiteX1865" fmla="*/ 4726684 w 8023328"/>
              <a:gd name="connsiteY1865" fmla="*/ 924168 h 2380521"/>
              <a:gd name="connsiteX1866" fmla="*/ 4741472 w 8023328"/>
              <a:gd name="connsiteY1866" fmla="*/ 938024 h 2380521"/>
              <a:gd name="connsiteX1867" fmla="*/ 4726684 w 8023328"/>
              <a:gd name="connsiteY1867" fmla="*/ 950422 h 2380521"/>
              <a:gd name="connsiteX1868" fmla="*/ 4711896 w 8023328"/>
              <a:gd name="connsiteY1868" fmla="*/ 938024 h 2380521"/>
              <a:gd name="connsiteX1869" fmla="*/ 4726684 w 8023328"/>
              <a:gd name="connsiteY1869" fmla="*/ 924168 h 2380521"/>
              <a:gd name="connsiteX1870" fmla="*/ 4655853 w 8023328"/>
              <a:gd name="connsiteY1870" fmla="*/ 924168 h 2380521"/>
              <a:gd name="connsiteX1871" fmla="*/ 4670642 w 8023328"/>
              <a:gd name="connsiteY1871" fmla="*/ 938024 h 2380521"/>
              <a:gd name="connsiteX1872" fmla="*/ 4655853 w 8023328"/>
              <a:gd name="connsiteY1872" fmla="*/ 950422 h 2380521"/>
              <a:gd name="connsiteX1873" fmla="*/ 4641064 w 8023328"/>
              <a:gd name="connsiteY1873" fmla="*/ 938024 h 2380521"/>
              <a:gd name="connsiteX1874" fmla="*/ 4655853 w 8023328"/>
              <a:gd name="connsiteY1874" fmla="*/ 924168 h 2380521"/>
              <a:gd name="connsiteX1875" fmla="*/ 4584091 w 8023328"/>
              <a:gd name="connsiteY1875" fmla="*/ 924168 h 2380521"/>
              <a:gd name="connsiteX1876" fmla="*/ 4596488 w 8023328"/>
              <a:gd name="connsiteY1876" fmla="*/ 938024 h 2380521"/>
              <a:gd name="connsiteX1877" fmla="*/ 4584091 w 8023328"/>
              <a:gd name="connsiteY1877" fmla="*/ 950422 h 2380521"/>
              <a:gd name="connsiteX1878" fmla="*/ 4570235 w 8023328"/>
              <a:gd name="connsiteY1878" fmla="*/ 938024 h 2380521"/>
              <a:gd name="connsiteX1879" fmla="*/ 4584091 w 8023328"/>
              <a:gd name="connsiteY1879" fmla="*/ 924168 h 2380521"/>
              <a:gd name="connsiteX1880" fmla="*/ 4513260 w 8023328"/>
              <a:gd name="connsiteY1880" fmla="*/ 924168 h 2380521"/>
              <a:gd name="connsiteX1881" fmla="*/ 4525657 w 8023328"/>
              <a:gd name="connsiteY1881" fmla="*/ 938024 h 2380521"/>
              <a:gd name="connsiteX1882" fmla="*/ 4513260 w 8023328"/>
              <a:gd name="connsiteY1882" fmla="*/ 950422 h 2380521"/>
              <a:gd name="connsiteX1883" fmla="*/ 4499404 w 8023328"/>
              <a:gd name="connsiteY1883" fmla="*/ 938024 h 2380521"/>
              <a:gd name="connsiteX1884" fmla="*/ 4513260 w 8023328"/>
              <a:gd name="connsiteY1884" fmla="*/ 924168 h 2380521"/>
              <a:gd name="connsiteX1885" fmla="*/ 4439056 w 8023328"/>
              <a:gd name="connsiteY1885" fmla="*/ 924168 h 2380521"/>
              <a:gd name="connsiteX1886" fmla="*/ 4451453 w 8023328"/>
              <a:gd name="connsiteY1886" fmla="*/ 938024 h 2380521"/>
              <a:gd name="connsiteX1887" fmla="*/ 4439056 w 8023328"/>
              <a:gd name="connsiteY1887" fmla="*/ 950422 h 2380521"/>
              <a:gd name="connsiteX1888" fmla="*/ 4425200 w 8023328"/>
              <a:gd name="connsiteY1888" fmla="*/ 938024 h 2380521"/>
              <a:gd name="connsiteX1889" fmla="*/ 4439056 w 8023328"/>
              <a:gd name="connsiteY1889" fmla="*/ 924168 h 2380521"/>
              <a:gd name="connsiteX1890" fmla="*/ 4366768 w 8023328"/>
              <a:gd name="connsiteY1890" fmla="*/ 924168 h 2380521"/>
              <a:gd name="connsiteX1891" fmla="*/ 4380624 w 8023328"/>
              <a:gd name="connsiteY1891" fmla="*/ 938024 h 2380521"/>
              <a:gd name="connsiteX1892" fmla="*/ 4366768 w 8023328"/>
              <a:gd name="connsiteY1892" fmla="*/ 950422 h 2380521"/>
              <a:gd name="connsiteX1893" fmla="*/ 4354371 w 8023328"/>
              <a:gd name="connsiteY1893" fmla="*/ 938024 h 2380521"/>
              <a:gd name="connsiteX1894" fmla="*/ 4366768 w 8023328"/>
              <a:gd name="connsiteY1894" fmla="*/ 924168 h 2380521"/>
              <a:gd name="connsiteX1895" fmla="*/ 4295937 w 8023328"/>
              <a:gd name="connsiteY1895" fmla="*/ 924168 h 2380521"/>
              <a:gd name="connsiteX1896" fmla="*/ 4309793 w 8023328"/>
              <a:gd name="connsiteY1896" fmla="*/ 938024 h 2380521"/>
              <a:gd name="connsiteX1897" fmla="*/ 4295937 w 8023328"/>
              <a:gd name="connsiteY1897" fmla="*/ 950422 h 2380521"/>
              <a:gd name="connsiteX1898" fmla="*/ 4283540 w 8023328"/>
              <a:gd name="connsiteY1898" fmla="*/ 938024 h 2380521"/>
              <a:gd name="connsiteX1899" fmla="*/ 4295937 w 8023328"/>
              <a:gd name="connsiteY1899" fmla="*/ 924168 h 2380521"/>
              <a:gd name="connsiteX1900" fmla="*/ 4225107 w 8023328"/>
              <a:gd name="connsiteY1900" fmla="*/ 924168 h 2380521"/>
              <a:gd name="connsiteX1901" fmla="*/ 4238963 w 8023328"/>
              <a:gd name="connsiteY1901" fmla="*/ 938024 h 2380521"/>
              <a:gd name="connsiteX1902" fmla="*/ 4225107 w 8023328"/>
              <a:gd name="connsiteY1902" fmla="*/ 950422 h 2380521"/>
              <a:gd name="connsiteX1903" fmla="*/ 4212710 w 8023328"/>
              <a:gd name="connsiteY1903" fmla="*/ 938024 h 2380521"/>
              <a:gd name="connsiteX1904" fmla="*/ 4225107 w 8023328"/>
              <a:gd name="connsiteY1904" fmla="*/ 924168 h 2380521"/>
              <a:gd name="connsiteX1905" fmla="*/ 4153295 w 8023328"/>
              <a:gd name="connsiteY1905" fmla="*/ 924168 h 2380521"/>
              <a:gd name="connsiteX1906" fmla="*/ 4168083 w 8023328"/>
              <a:gd name="connsiteY1906" fmla="*/ 938024 h 2380521"/>
              <a:gd name="connsiteX1907" fmla="*/ 4153295 w 8023328"/>
              <a:gd name="connsiteY1907" fmla="*/ 950422 h 2380521"/>
              <a:gd name="connsiteX1908" fmla="*/ 4138507 w 8023328"/>
              <a:gd name="connsiteY1908" fmla="*/ 938024 h 2380521"/>
              <a:gd name="connsiteX1909" fmla="*/ 4153295 w 8023328"/>
              <a:gd name="connsiteY1909" fmla="*/ 924168 h 2380521"/>
              <a:gd name="connsiteX1910" fmla="*/ 4082465 w 8023328"/>
              <a:gd name="connsiteY1910" fmla="*/ 924168 h 2380521"/>
              <a:gd name="connsiteX1911" fmla="*/ 4097254 w 8023328"/>
              <a:gd name="connsiteY1911" fmla="*/ 938024 h 2380521"/>
              <a:gd name="connsiteX1912" fmla="*/ 4082465 w 8023328"/>
              <a:gd name="connsiteY1912" fmla="*/ 950422 h 2380521"/>
              <a:gd name="connsiteX1913" fmla="*/ 4067676 w 8023328"/>
              <a:gd name="connsiteY1913" fmla="*/ 938024 h 2380521"/>
              <a:gd name="connsiteX1914" fmla="*/ 4082465 w 8023328"/>
              <a:gd name="connsiteY1914" fmla="*/ 924168 h 2380521"/>
              <a:gd name="connsiteX1915" fmla="*/ 4011635 w 8023328"/>
              <a:gd name="connsiteY1915" fmla="*/ 924168 h 2380521"/>
              <a:gd name="connsiteX1916" fmla="*/ 4026423 w 8023328"/>
              <a:gd name="connsiteY1916" fmla="*/ 938024 h 2380521"/>
              <a:gd name="connsiteX1917" fmla="*/ 4011635 w 8023328"/>
              <a:gd name="connsiteY1917" fmla="*/ 950422 h 2380521"/>
              <a:gd name="connsiteX1918" fmla="*/ 3996847 w 8023328"/>
              <a:gd name="connsiteY1918" fmla="*/ 938024 h 2380521"/>
              <a:gd name="connsiteX1919" fmla="*/ 4011635 w 8023328"/>
              <a:gd name="connsiteY1919" fmla="*/ 924168 h 2380521"/>
              <a:gd name="connsiteX1920" fmla="*/ 3939871 w 8023328"/>
              <a:gd name="connsiteY1920" fmla="*/ 924168 h 2380521"/>
              <a:gd name="connsiteX1921" fmla="*/ 3952268 w 8023328"/>
              <a:gd name="connsiteY1921" fmla="*/ 938024 h 2380521"/>
              <a:gd name="connsiteX1922" fmla="*/ 3939871 w 8023328"/>
              <a:gd name="connsiteY1922" fmla="*/ 950422 h 2380521"/>
              <a:gd name="connsiteX1923" fmla="*/ 3926015 w 8023328"/>
              <a:gd name="connsiteY1923" fmla="*/ 938024 h 2380521"/>
              <a:gd name="connsiteX1924" fmla="*/ 3939871 w 8023328"/>
              <a:gd name="connsiteY1924" fmla="*/ 924168 h 2380521"/>
              <a:gd name="connsiteX1925" fmla="*/ 3869042 w 8023328"/>
              <a:gd name="connsiteY1925" fmla="*/ 924168 h 2380521"/>
              <a:gd name="connsiteX1926" fmla="*/ 3881439 w 8023328"/>
              <a:gd name="connsiteY1926" fmla="*/ 938024 h 2380521"/>
              <a:gd name="connsiteX1927" fmla="*/ 3869042 w 8023328"/>
              <a:gd name="connsiteY1927" fmla="*/ 950422 h 2380521"/>
              <a:gd name="connsiteX1928" fmla="*/ 3855186 w 8023328"/>
              <a:gd name="connsiteY1928" fmla="*/ 938024 h 2380521"/>
              <a:gd name="connsiteX1929" fmla="*/ 3869042 w 8023328"/>
              <a:gd name="connsiteY1929" fmla="*/ 924168 h 2380521"/>
              <a:gd name="connsiteX1930" fmla="*/ 3798211 w 8023328"/>
              <a:gd name="connsiteY1930" fmla="*/ 924168 h 2380521"/>
              <a:gd name="connsiteX1931" fmla="*/ 3810608 w 8023328"/>
              <a:gd name="connsiteY1931" fmla="*/ 938024 h 2380521"/>
              <a:gd name="connsiteX1932" fmla="*/ 3798211 w 8023328"/>
              <a:gd name="connsiteY1932" fmla="*/ 950422 h 2380521"/>
              <a:gd name="connsiteX1933" fmla="*/ 3784355 w 8023328"/>
              <a:gd name="connsiteY1933" fmla="*/ 938024 h 2380521"/>
              <a:gd name="connsiteX1934" fmla="*/ 3798211 w 8023328"/>
              <a:gd name="connsiteY1934" fmla="*/ 924168 h 2380521"/>
              <a:gd name="connsiteX1935" fmla="*/ 3725922 w 8023328"/>
              <a:gd name="connsiteY1935" fmla="*/ 924168 h 2380521"/>
              <a:gd name="connsiteX1936" fmla="*/ 3739778 w 8023328"/>
              <a:gd name="connsiteY1936" fmla="*/ 938024 h 2380521"/>
              <a:gd name="connsiteX1937" fmla="*/ 3725922 w 8023328"/>
              <a:gd name="connsiteY1937" fmla="*/ 950422 h 2380521"/>
              <a:gd name="connsiteX1938" fmla="*/ 3713525 w 8023328"/>
              <a:gd name="connsiteY1938" fmla="*/ 938024 h 2380521"/>
              <a:gd name="connsiteX1939" fmla="*/ 3725922 w 8023328"/>
              <a:gd name="connsiteY1939" fmla="*/ 924168 h 2380521"/>
              <a:gd name="connsiteX1940" fmla="*/ 3655091 w 8023328"/>
              <a:gd name="connsiteY1940" fmla="*/ 924168 h 2380521"/>
              <a:gd name="connsiteX1941" fmla="*/ 3668947 w 8023328"/>
              <a:gd name="connsiteY1941" fmla="*/ 938024 h 2380521"/>
              <a:gd name="connsiteX1942" fmla="*/ 3655091 w 8023328"/>
              <a:gd name="connsiteY1942" fmla="*/ 950422 h 2380521"/>
              <a:gd name="connsiteX1943" fmla="*/ 3642694 w 8023328"/>
              <a:gd name="connsiteY1943" fmla="*/ 938024 h 2380521"/>
              <a:gd name="connsiteX1944" fmla="*/ 3655091 w 8023328"/>
              <a:gd name="connsiteY1944" fmla="*/ 924168 h 2380521"/>
              <a:gd name="connsiteX1945" fmla="*/ 3583280 w 8023328"/>
              <a:gd name="connsiteY1945" fmla="*/ 924168 h 2380521"/>
              <a:gd name="connsiteX1946" fmla="*/ 3598069 w 8023328"/>
              <a:gd name="connsiteY1946" fmla="*/ 938024 h 2380521"/>
              <a:gd name="connsiteX1947" fmla="*/ 3583280 w 8023328"/>
              <a:gd name="connsiteY1947" fmla="*/ 950422 h 2380521"/>
              <a:gd name="connsiteX1948" fmla="*/ 3568491 w 8023328"/>
              <a:gd name="connsiteY1948" fmla="*/ 938024 h 2380521"/>
              <a:gd name="connsiteX1949" fmla="*/ 3583280 w 8023328"/>
              <a:gd name="connsiteY1949" fmla="*/ 924168 h 2380521"/>
              <a:gd name="connsiteX1950" fmla="*/ 941441 w 8023328"/>
              <a:gd name="connsiteY1950" fmla="*/ 856710 h 2380521"/>
              <a:gd name="connsiteX1951" fmla="*/ 953839 w 8023328"/>
              <a:gd name="connsiteY1951" fmla="*/ 869107 h 2380521"/>
              <a:gd name="connsiteX1952" fmla="*/ 941441 w 8023328"/>
              <a:gd name="connsiteY1952" fmla="*/ 882964 h 2380521"/>
              <a:gd name="connsiteX1953" fmla="*/ 927585 w 8023328"/>
              <a:gd name="connsiteY1953" fmla="*/ 869107 h 2380521"/>
              <a:gd name="connsiteX1954" fmla="*/ 941441 w 8023328"/>
              <a:gd name="connsiteY1954" fmla="*/ 856710 h 2380521"/>
              <a:gd name="connsiteX1955" fmla="*/ 870610 w 8023328"/>
              <a:gd name="connsiteY1955" fmla="*/ 856710 h 2380521"/>
              <a:gd name="connsiteX1956" fmla="*/ 883008 w 8023328"/>
              <a:gd name="connsiteY1956" fmla="*/ 869107 h 2380521"/>
              <a:gd name="connsiteX1957" fmla="*/ 870610 w 8023328"/>
              <a:gd name="connsiteY1957" fmla="*/ 882964 h 2380521"/>
              <a:gd name="connsiteX1958" fmla="*/ 856754 w 8023328"/>
              <a:gd name="connsiteY1958" fmla="*/ 869107 h 2380521"/>
              <a:gd name="connsiteX1959" fmla="*/ 870610 w 8023328"/>
              <a:gd name="connsiteY1959" fmla="*/ 856710 h 2380521"/>
              <a:gd name="connsiteX1960" fmla="*/ 799780 w 8023328"/>
              <a:gd name="connsiteY1960" fmla="*/ 856710 h 2380521"/>
              <a:gd name="connsiteX1961" fmla="*/ 812178 w 8023328"/>
              <a:gd name="connsiteY1961" fmla="*/ 869107 h 2380521"/>
              <a:gd name="connsiteX1962" fmla="*/ 799780 w 8023328"/>
              <a:gd name="connsiteY1962" fmla="*/ 882964 h 2380521"/>
              <a:gd name="connsiteX1963" fmla="*/ 785924 w 8023328"/>
              <a:gd name="connsiteY1963" fmla="*/ 869107 h 2380521"/>
              <a:gd name="connsiteX1964" fmla="*/ 799780 w 8023328"/>
              <a:gd name="connsiteY1964" fmla="*/ 856710 h 2380521"/>
              <a:gd name="connsiteX1965" fmla="*/ 724119 w 8023328"/>
              <a:gd name="connsiteY1965" fmla="*/ 856710 h 2380521"/>
              <a:gd name="connsiteX1966" fmla="*/ 737976 w 8023328"/>
              <a:gd name="connsiteY1966" fmla="*/ 869107 h 2380521"/>
              <a:gd name="connsiteX1967" fmla="*/ 724119 w 8023328"/>
              <a:gd name="connsiteY1967" fmla="*/ 882964 h 2380521"/>
              <a:gd name="connsiteX1968" fmla="*/ 711721 w 8023328"/>
              <a:gd name="connsiteY1968" fmla="*/ 869107 h 2380521"/>
              <a:gd name="connsiteX1969" fmla="*/ 724119 w 8023328"/>
              <a:gd name="connsiteY1969" fmla="*/ 856710 h 2380521"/>
              <a:gd name="connsiteX1970" fmla="*/ 653288 w 8023328"/>
              <a:gd name="connsiteY1970" fmla="*/ 856710 h 2380521"/>
              <a:gd name="connsiteX1971" fmla="*/ 667144 w 8023328"/>
              <a:gd name="connsiteY1971" fmla="*/ 869107 h 2380521"/>
              <a:gd name="connsiteX1972" fmla="*/ 653288 w 8023328"/>
              <a:gd name="connsiteY1972" fmla="*/ 882964 h 2380521"/>
              <a:gd name="connsiteX1973" fmla="*/ 640891 w 8023328"/>
              <a:gd name="connsiteY1973" fmla="*/ 869107 h 2380521"/>
              <a:gd name="connsiteX1974" fmla="*/ 653288 w 8023328"/>
              <a:gd name="connsiteY1974" fmla="*/ 856710 h 2380521"/>
              <a:gd name="connsiteX1975" fmla="*/ 584851 w 8023328"/>
              <a:gd name="connsiteY1975" fmla="*/ 856710 h 2380521"/>
              <a:gd name="connsiteX1976" fmla="*/ 599638 w 8023328"/>
              <a:gd name="connsiteY1976" fmla="*/ 869107 h 2380521"/>
              <a:gd name="connsiteX1977" fmla="*/ 584851 w 8023328"/>
              <a:gd name="connsiteY1977" fmla="*/ 882964 h 2380521"/>
              <a:gd name="connsiteX1978" fmla="*/ 570061 w 8023328"/>
              <a:gd name="connsiteY1978" fmla="*/ 869107 h 2380521"/>
              <a:gd name="connsiteX1979" fmla="*/ 584851 w 8023328"/>
              <a:gd name="connsiteY1979" fmla="*/ 856710 h 2380521"/>
              <a:gd name="connsiteX1980" fmla="*/ 513649 w 8023328"/>
              <a:gd name="connsiteY1980" fmla="*/ 856710 h 2380521"/>
              <a:gd name="connsiteX1981" fmla="*/ 528826 w 8023328"/>
              <a:gd name="connsiteY1981" fmla="*/ 869107 h 2380521"/>
              <a:gd name="connsiteX1982" fmla="*/ 513649 w 8023328"/>
              <a:gd name="connsiteY1982" fmla="*/ 882964 h 2380521"/>
              <a:gd name="connsiteX1983" fmla="*/ 499230 w 8023328"/>
              <a:gd name="connsiteY1983" fmla="*/ 869107 h 2380521"/>
              <a:gd name="connsiteX1984" fmla="*/ 513649 w 8023328"/>
              <a:gd name="connsiteY1984" fmla="*/ 856710 h 2380521"/>
              <a:gd name="connsiteX1985" fmla="*/ 439816 w 8023328"/>
              <a:gd name="connsiteY1985" fmla="*/ 856710 h 2380521"/>
              <a:gd name="connsiteX1986" fmla="*/ 454606 w 8023328"/>
              <a:gd name="connsiteY1986" fmla="*/ 869107 h 2380521"/>
              <a:gd name="connsiteX1987" fmla="*/ 439816 w 8023328"/>
              <a:gd name="connsiteY1987" fmla="*/ 882964 h 2380521"/>
              <a:gd name="connsiteX1988" fmla="*/ 425028 w 8023328"/>
              <a:gd name="connsiteY1988" fmla="*/ 869107 h 2380521"/>
              <a:gd name="connsiteX1989" fmla="*/ 439816 w 8023328"/>
              <a:gd name="connsiteY1989" fmla="*/ 856710 h 2380521"/>
              <a:gd name="connsiteX1990" fmla="*/ 368053 w 8023328"/>
              <a:gd name="connsiteY1990" fmla="*/ 856710 h 2380521"/>
              <a:gd name="connsiteX1991" fmla="*/ 380451 w 8023328"/>
              <a:gd name="connsiteY1991" fmla="*/ 869107 h 2380521"/>
              <a:gd name="connsiteX1992" fmla="*/ 368053 w 8023328"/>
              <a:gd name="connsiteY1992" fmla="*/ 882964 h 2380521"/>
              <a:gd name="connsiteX1993" fmla="*/ 354198 w 8023328"/>
              <a:gd name="connsiteY1993" fmla="*/ 869107 h 2380521"/>
              <a:gd name="connsiteX1994" fmla="*/ 368053 w 8023328"/>
              <a:gd name="connsiteY1994" fmla="*/ 856710 h 2380521"/>
              <a:gd name="connsiteX1995" fmla="*/ 297222 w 8023328"/>
              <a:gd name="connsiteY1995" fmla="*/ 856710 h 2380521"/>
              <a:gd name="connsiteX1996" fmla="*/ 309618 w 8023328"/>
              <a:gd name="connsiteY1996" fmla="*/ 869107 h 2380521"/>
              <a:gd name="connsiteX1997" fmla="*/ 297222 w 8023328"/>
              <a:gd name="connsiteY1997" fmla="*/ 882964 h 2380521"/>
              <a:gd name="connsiteX1998" fmla="*/ 283366 w 8023328"/>
              <a:gd name="connsiteY1998" fmla="*/ 869107 h 2380521"/>
              <a:gd name="connsiteX1999" fmla="*/ 297222 w 8023328"/>
              <a:gd name="connsiteY1999" fmla="*/ 856710 h 2380521"/>
              <a:gd name="connsiteX2000" fmla="*/ 226393 w 8023328"/>
              <a:gd name="connsiteY2000" fmla="*/ 856710 h 2380521"/>
              <a:gd name="connsiteX2001" fmla="*/ 238791 w 8023328"/>
              <a:gd name="connsiteY2001" fmla="*/ 869107 h 2380521"/>
              <a:gd name="connsiteX2002" fmla="*/ 226393 w 8023328"/>
              <a:gd name="connsiteY2002" fmla="*/ 882964 h 2380521"/>
              <a:gd name="connsiteX2003" fmla="*/ 212537 w 8023328"/>
              <a:gd name="connsiteY2003" fmla="*/ 869107 h 2380521"/>
              <a:gd name="connsiteX2004" fmla="*/ 226393 w 8023328"/>
              <a:gd name="connsiteY2004" fmla="*/ 856710 h 2380521"/>
              <a:gd name="connsiteX2005" fmla="*/ 154097 w 8023328"/>
              <a:gd name="connsiteY2005" fmla="*/ 856710 h 2380521"/>
              <a:gd name="connsiteX2006" fmla="*/ 167953 w 8023328"/>
              <a:gd name="connsiteY2006" fmla="*/ 869107 h 2380521"/>
              <a:gd name="connsiteX2007" fmla="*/ 154097 w 8023328"/>
              <a:gd name="connsiteY2007" fmla="*/ 882964 h 2380521"/>
              <a:gd name="connsiteX2008" fmla="*/ 141699 w 8023328"/>
              <a:gd name="connsiteY2008" fmla="*/ 869107 h 2380521"/>
              <a:gd name="connsiteX2009" fmla="*/ 154097 w 8023328"/>
              <a:gd name="connsiteY2009" fmla="*/ 856710 h 2380521"/>
              <a:gd name="connsiteX2010" fmla="*/ 83267 w 8023328"/>
              <a:gd name="connsiteY2010" fmla="*/ 856710 h 2380521"/>
              <a:gd name="connsiteX2011" fmla="*/ 97123 w 8023328"/>
              <a:gd name="connsiteY2011" fmla="*/ 869107 h 2380521"/>
              <a:gd name="connsiteX2012" fmla="*/ 83267 w 8023328"/>
              <a:gd name="connsiteY2012" fmla="*/ 882964 h 2380521"/>
              <a:gd name="connsiteX2013" fmla="*/ 70870 w 8023328"/>
              <a:gd name="connsiteY2013" fmla="*/ 869107 h 2380521"/>
              <a:gd name="connsiteX2014" fmla="*/ 83267 w 8023328"/>
              <a:gd name="connsiteY2014" fmla="*/ 856710 h 2380521"/>
              <a:gd name="connsiteX2015" fmla="*/ 12032 w 8023328"/>
              <a:gd name="connsiteY2015" fmla="*/ 856710 h 2380521"/>
              <a:gd name="connsiteX2016" fmla="*/ 26273 w 8023328"/>
              <a:gd name="connsiteY2016" fmla="*/ 869107 h 2380521"/>
              <a:gd name="connsiteX2017" fmla="*/ 12032 w 8023328"/>
              <a:gd name="connsiteY2017" fmla="*/ 882964 h 2380521"/>
              <a:gd name="connsiteX2018" fmla="*/ 39 w 8023328"/>
              <a:gd name="connsiteY2018" fmla="*/ 869107 h 2380521"/>
              <a:gd name="connsiteX2019" fmla="*/ 12032 w 8023328"/>
              <a:gd name="connsiteY2019" fmla="*/ 856710 h 2380521"/>
              <a:gd name="connsiteX2020" fmla="*/ 6368340 w 8023328"/>
              <a:gd name="connsiteY2020" fmla="*/ 853339 h 2380521"/>
              <a:gd name="connsiteX2021" fmla="*/ 6380737 w 8023328"/>
              <a:gd name="connsiteY2021" fmla="*/ 867757 h 2380521"/>
              <a:gd name="connsiteX2022" fmla="*/ 6368340 w 8023328"/>
              <a:gd name="connsiteY2022" fmla="*/ 882935 h 2380521"/>
              <a:gd name="connsiteX2023" fmla="*/ 6354484 w 8023328"/>
              <a:gd name="connsiteY2023" fmla="*/ 867757 h 2380521"/>
              <a:gd name="connsiteX2024" fmla="*/ 6368340 w 8023328"/>
              <a:gd name="connsiteY2024" fmla="*/ 853339 h 2380521"/>
              <a:gd name="connsiteX2025" fmla="*/ 6297511 w 8023328"/>
              <a:gd name="connsiteY2025" fmla="*/ 853339 h 2380521"/>
              <a:gd name="connsiteX2026" fmla="*/ 6309908 w 8023328"/>
              <a:gd name="connsiteY2026" fmla="*/ 867757 h 2380521"/>
              <a:gd name="connsiteX2027" fmla="*/ 6297511 w 8023328"/>
              <a:gd name="connsiteY2027" fmla="*/ 882935 h 2380521"/>
              <a:gd name="connsiteX2028" fmla="*/ 6283655 w 8023328"/>
              <a:gd name="connsiteY2028" fmla="*/ 867757 h 2380521"/>
              <a:gd name="connsiteX2029" fmla="*/ 6297511 w 8023328"/>
              <a:gd name="connsiteY2029" fmla="*/ 853339 h 2380521"/>
              <a:gd name="connsiteX2030" fmla="*/ 6226679 w 8023328"/>
              <a:gd name="connsiteY2030" fmla="*/ 853339 h 2380521"/>
              <a:gd name="connsiteX2031" fmla="*/ 6239076 w 8023328"/>
              <a:gd name="connsiteY2031" fmla="*/ 867757 h 2380521"/>
              <a:gd name="connsiteX2032" fmla="*/ 6226679 w 8023328"/>
              <a:gd name="connsiteY2032" fmla="*/ 882935 h 2380521"/>
              <a:gd name="connsiteX2033" fmla="*/ 6212823 w 8023328"/>
              <a:gd name="connsiteY2033" fmla="*/ 867757 h 2380521"/>
              <a:gd name="connsiteX2034" fmla="*/ 6226679 w 8023328"/>
              <a:gd name="connsiteY2034" fmla="*/ 853339 h 2380521"/>
              <a:gd name="connsiteX2035" fmla="*/ 6154391 w 8023328"/>
              <a:gd name="connsiteY2035" fmla="*/ 853339 h 2380521"/>
              <a:gd name="connsiteX2036" fmla="*/ 6168247 w 8023328"/>
              <a:gd name="connsiteY2036" fmla="*/ 865007 h 2380521"/>
              <a:gd name="connsiteX2037" fmla="*/ 6154391 w 8023328"/>
              <a:gd name="connsiteY2037" fmla="*/ 879593 h 2380521"/>
              <a:gd name="connsiteX2038" fmla="*/ 6141994 w 8023328"/>
              <a:gd name="connsiteY2038" fmla="*/ 865007 h 2380521"/>
              <a:gd name="connsiteX2039" fmla="*/ 6154391 w 8023328"/>
              <a:gd name="connsiteY2039" fmla="*/ 853339 h 2380521"/>
              <a:gd name="connsiteX2040" fmla="*/ 6083559 w 8023328"/>
              <a:gd name="connsiteY2040" fmla="*/ 853339 h 2380521"/>
              <a:gd name="connsiteX2041" fmla="*/ 6097415 w 8023328"/>
              <a:gd name="connsiteY2041" fmla="*/ 865007 h 2380521"/>
              <a:gd name="connsiteX2042" fmla="*/ 6083559 w 8023328"/>
              <a:gd name="connsiteY2042" fmla="*/ 879593 h 2380521"/>
              <a:gd name="connsiteX2043" fmla="*/ 6071162 w 8023328"/>
              <a:gd name="connsiteY2043" fmla="*/ 865007 h 2380521"/>
              <a:gd name="connsiteX2044" fmla="*/ 6083559 w 8023328"/>
              <a:gd name="connsiteY2044" fmla="*/ 853339 h 2380521"/>
              <a:gd name="connsiteX2045" fmla="*/ 6011748 w 8023328"/>
              <a:gd name="connsiteY2045" fmla="*/ 853339 h 2380521"/>
              <a:gd name="connsiteX2046" fmla="*/ 6026537 w 8023328"/>
              <a:gd name="connsiteY2046" fmla="*/ 865007 h 2380521"/>
              <a:gd name="connsiteX2047" fmla="*/ 6011748 w 8023328"/>
              <a:gd name="connsiteY2047" fmla="*/ 879593 h 2380521"/>
              <a:gd name="connsiteX2048" fmla="*/ 5996959 w 8023328"/>
              <a:gd name="connsiteY2048" fmla="*/ 865007 h 2380521"/>
              <a:gd name="connsiteX2049" fmla="*/ 6011748 w 8023328"/>
              <a:gd name="connsiteY2049" fmla="*/ 853339 h 2380521"/>
              <a:gd name="connsiteX2050" fmla="*/ 5940548 w 8023328"/>
              <a:gd name="connsiteY2050" fmla="*/ 853339 h 2380521"/>
              <a:gd name="connsiteX2051" fmla="*/ 5955726 w 8023328"/>
              <a:gd name="connsiteY2051" fmla="*/ 865007 h 2380521"/>
              <a:gd name="connsiteX2052" fmla="*/ 5940548 w 8023328"/>
              <a:gd name="connsiteY2052" fmla="*/ 879593 h 2380521"/>
              <a:gd name="connsiteX2053" fmla="*/ 5926130 w 8023328"/>
              <a:gd name="connsiteY2053" fmla="*/ 865007 h 2380521"/>
              <a:gd name="connsiteX2054" fmla="*/ 5940548 w 8023328"/>
              <a:gd name="connsiteY2054" fmla="*/ 853339 h 2380521"/>
              <a:gd name="connsiteX2055" fmla="*/ 5870088 w 8023328"/>
              <a:gd name="connsiteY2055" fmla="*/ 853339 h 2380521"/>
              <a:gd name="connsiteX2056" fmla="*/ 5884877 w 8023328"/>
              <a:gd name="connsiteY2056" fmla="*/ 865007 h 2380521"/>
              <a:gd name="connsiteX2057" fmla="*/ 5870088 w 8023328"/>
              <a:gd name="connsiteY2057" fmla="*/ 879593 h 2380521"/>
              <a:gd name="connsiteX2058" fmla="*/ 5855299 w 8023328"/>
              <a:gd name="connsiteY2058" fmla="*/ 865007 h 2380521"/>
              <a:gd name="connsiteX2059" fmla="*/ 5870088 w 8023328"/>
              <a:gd name="connsiteY2059" fmla="*/ 853339 h 2380521"/>
              <a:gd name="connsiteX2060" fmla="*/ 5798325 w 8023328"/>
              <a:gd name="connsiteY2060" fmla="*/ 853339 h 2380521"/>
              <a:gd name="connsiteX2061" fmla="*/ 5810722 w 8023328"/>
              <a:gd name="connsiteY2061" fmla="*/ 865007 h 2380521"/>
              <a:gd name="connsiteX2062" fmla="*/ 5798325 w 8023328"/>
              <a:gd name="connsiteY2062" fmla="*/ 879593 h 2380521"/>
              <a:gd name="connsiteX2063" fmla="*/ 5784469 w 8023328"/>
              <a:gd name="connsiteY2063" fmla="*/ 865007 h 2380521"/>
              <a:gd name="connsiteX2064" fmla="*/ 5798325 w 8023328"/>
              <a:gd name="connsiteY2064" fmla="*/ 853339 h 2380521"/>
              <a:gd name="connsiteX2065" fmla="*/ 5724122 w 8023328"/>
              <a:gd name="connsiteY2065" fmla="*/ 853339 h 2380521"/>
              <a:gd name="connsiteX2066" fmla="*/ 5736519 w 8023328"/>
              <a:gd name="connsiteY2066" fmla="*/ 865007 h 2380521"/>
              <a:gd name="connsiteX2067" fmla="*/ 5724122 w 8023328"/>
              <a:gd name="connsiteY2067" fmla="*/ 879593 h 2380521"/>
              <a:gd name="connsiteX2068" fmla="*/ 5710266 w 8023328"/>
              <a:gd name="connsiteY2068" fmla="*/ 865007 h 2380521"/>
              <a:gd name="connsiteX2069" fmla="*/ 5724122 w 8023328"/>
              <a:gd name="connsiteY2069" fmla="*/ 853339 h 2380521"/>
              <a:gd name="connsiteX2070" fmla="*/ 5653291 w 8023328"/>
              <a:gd name="connsiteY2070" fmla="*/ 853339 h 2380521"/>
              <a:gd name="connsiteX2071" fmla="*/ 5665688 w 8023328"/>
              <a:gd name="connsiteY2071" fmla="*/ 865007 h 2380521"/>
              <a:gd name="connsiteX2072" fmla="*/ 5653291 w 8023328"/>
              <a:gd name="connsiteY2072" fmla="*/ 879593 h 2380521"/>
              <a:gd name="connsiteX2073" fmla="*/ 5639435 w 8023328"/>
              <a:gd name="connsiteY2073" fmla="*/ 865007 h 2380521"/>
              <a:gd name="connsiteX2074" fmla="*/ 5653291 w 8023328"/>
              <a:gd name="connsiteY2074" fmla="*/ 853339 h 2380521"/>
              <a:gd name="connsiteX2075" fmla="*/ 5581002 w 8023328"/>
              <a:gd name="connsiteY2075" fmla="*/ 853339 h 2380521"/>
              <a:gd name="connsiteX2076" fmla="*/ 5594858 w 8023328"/>
              <a:gd name="connsiteY2076" fmla="*/ 865007 h 2380521"/>
              <a:gd name="connsiteX2077" fmla="*/ 5581002 w 8023328"/>
              <a:gd name="connsiteY2077" fmla="*/ 879593 h 2380521"/>
              <a:gd name="connsiteX2078" fmla="*/ 5568605 w 8023328"/>
              <a:gd name="connsiteY2078" fmla="*/ 865007 h 2380521"/>
              <a:gd name="connsiteX2079" fmla="*/ 5581002 w 8023328"/>
              <a:gd name="connsiteY2079" fmla="*/ 853339 h 2380521"/>
              <a:gd name="connsiteX2080" fmla="*/ 5510171 w 8023328"/>
              <a:gd name="connsiteY2080" fmla="*/ 853339 h 2380521"/>
              <a:gd name="connsiteX2081" fmla="*/ 5524027 w 8023328"/>
              <a:gd name="connsiteY2081" fmla="*/ 865007 h 2380521"/>
              <a:gd name="connsiteX2082" fmla="*/ 5510171 w 8023328"/>
              <a:gd name="connsiteY2082" fmla="*/ 879593 h 2380521"/>
              <a:gd name="connsiteX2083" fmla="*/ 5497774 w 8023328"/>
              <a:gd name="connsiteY2083" fmla="*/ 865007 h 2380521"/>
              <a:gd name="connsiteX2084" fmla="*/ 5510171 w 8023328"/>
              <a:gd name="connsiteY2084" fmla="*/ 853339 h 2380521"/>
              <a:gd name="connsiteX2085" fmla="*/ 5438937 w 8023328"/>
              <a:gd name="connsiteY2085" fmla="*/ 853339 h 2380521"/>
              <a:gd name="connsiteX2086" fmla="*/ 5453178 w 8023328"/>
              <a:gd name="connsiteY2086" fmla="*/ 865007 h 2380521"/>
              <a:gd name="connsiteX2087" fmla="*/ 5438937 w 8023328"/>
              <a:gd name="connsiteY2087" fmla="*/ 879593 h 2380521"/>
              <a:gd name="connsiteX2088" fmla="*/ 5426945 w 8023328"/>
              <a:gd name="connsiteY2088" fmla="*/ 865007 h 2380521"/>
              <a:gd name="connsiteX2089" fmla="*/ 5438937 w 8023328"/>
              <a:gd name="connsiteY2089" fmla="*/ 853339 h 2380521"/>
              <a:gd name="connsiteX2090" fmla="*/ 5367530 w 8023328"/>
              <a:gd name="connsiteY2090" fmla="*/ 853339 h 2380521"/>
              <a:gd name="connsiteX2091" fmla="*/ 5382318 w 8023328"/>
              <a:gd name="connsiteY2091" fmla="*/ 865007 h 2380521"/>
              <a:gd name="connsiteX2092" fmla="*/ 5367530 w 8023328"/>
              <a:gd name="connsiteY2092" fmla="*/ 879593 h 2380521"/>
              <a:gd name="connsiteX2093" fmla="*/ 5352742 w 8023328"/>
              <a:gd name="connsiteY2093" fmla="*/ 865007 h 2380521"/>
              <a:gd name="connsiteX2094" fmla="*/ 5367530 w 8023328"/>
              <a:gd name="connsiteY2094" fmla="*/ 853339 h 2380521"/>
              <a:gd name="connsiteX2095" fmla="*/ 5296699 w 8023328"/>
              <a:gd name="connsiteY2095" fmla="*/ 853339 h 2380521"/>
              <a:gd name="connsiteX2096" fmla="*/ 5311488 w 8023328"/>
              <a:gd name="connsiteY2096" fmla="*/ 865007 h 2380521"/>
              <a:gd name="connsiteX2097" fmla="*/ 5296699 w 8023328"/>
              <a:gd name="connsiteY2097" fmla="*/ 879593 h 2380521"/>
              <a:gd name="connsiteX2098" fmla="*/ 5281910 w 8023328"/>
              <a:gd name="connsiteY2098" fmla="*/ 865007 h 2380521"/>
              <a:gd name="connsiteX2099" fmla="*/ 5296699 w 8023328"/>
              <a:gd name="connsiteY2099" fmla="*/ 853339 h 2380521"/>
              <a:gd name="connsiteX2100" fmla="*/ 5225869 w 8023328"/>
              <a:gd name="connsiteY2100" fmla="*/ 853339 h 2380521"/>
              <a:gd name="connsiteX2101" fmla="*/ 5240657 w 8023328"/>
              <a:gd name="connsiteY2101" fmla="*/ 865007 h 2380521"/>
              <a:gd name="connsiteX2102" fmla="*/ 5225869 w 8023328"/>
              <a:gd name="connsiteY2102" fmla="*/ 879593 h 2380521"/>
              <a:gd name="connsiteX2103" fmla="*/ 5211081 w 8023328"/>
              <a:gd name="connsiteY2103" fmla="*/ 865007 h 2380521"/>
              <a:gd name="connsiteX2104" fmla="*/ 5225869 w 8023328"/>
              <a:gd name="connsiteY2104" fmla="*/ 853339 h 2380521"/>
              <a:gd name="connsiteX2105" fmla="*/ 5154105 w 8023328"/>
              <a:gd name="connsiteY2105" fmla="*/ 853339 h 2380521"/>
              <a:gd name="connsiteX2106" fmla="*/ 5166502 w 8023328"/>
              <a:gd name="connsiteY2106" fmla="*/ 865007 h 2380521"/>
              <a:gd name="connsiteX2107" fmla="*/ 5154105 w 8023328"/>
              <a:gd name="connsiteY2107" fmla="*/ 879593 h 2380521"/>
              <a:gd name="connsiteX2108" fmla="*/ 5140249 w 8023328"/>
              <a:gd name="connsiteY2108" fmla="*/ 865007 h 2380521"/>
              <a:gd name="connsiteX2109" fmla="*/ 5154105 w 8023328"/>
              <a:gd name="connsiteY2109" fmla="*/ 853339 h 2380521"/>
              <a:gd name="connsiteX2110" fmla="*/ 5083276 w 8023328"/>
              <a:gd name="connsiteY2110" fmla="*/ 853339 h 2380521"/>
              <a:gd name="connsiteX2111" fmla="*/ 5095673 w 8023328"/>
              <a:gd name="connsiteY2111" fmla="*/ 865007 h 2380521"/>
              <a:gd name="connsiteX2112" fmla="*/ 5083276 w 8023328"/>
              <a:gd name="connsiteY2112" fmla="*/ 879593 h 2380521"/>
              <a:gd name="connsiteX2113" fmla="*/ 5069420 w 8023328"/>
              <a:gd name="connsiteY2113" fmla="*/ 865007 h 2380521"/>
              <a:gd name="connsiteX2114" fmla="*/ 5083276 w 8023328"/>
              <a:gd name="connsiteY2114" fmla="*/ 853339 h 2380521"/>
              <a:gd name="connsiteX2115" fmla="*/ 5012445 w 8023328"/>
              <a:gd name="connsiteY2115" fmla="*/ 853339 h 2380521"/>
              <a:gd name="connsiteX2116" fmla="*/ 5024842 w 8023328"/>
              <a:gd name="connsiteY2116" fmla="*/ 865007 h 2380521"/>
              <a:gd name="connsiteX2117" fmla="*/ 5012445 w 8023328"/>
              <a:gd name="connsiteY2117" fmla="*/ 879593 h 2380521"/>
              <a:gd name="connsiteX2118" fmla="*/ 4998589 w 8023328"/>
              <a:gd name="connsiteY2118" fmla="*/ 865007 h 2380521"/>
              <a:gd name="connsiteX2119" fmla="*/ 5012445 w 8023328"/>
              <a:gd name="connsiteY2119" fmla="*/ 853339 h 2380521"/>
              <a:gd name="connsiteX2120" fmla="*/ 4940157 w 8023328"/>
              <a:gd name="connsiteY2120" fmla="*/ 853339 h 2380521"/>
              <a:gd name="connsiteX2121" fmla="*/ 4954013 w 8023328"/>
              <a:gd name="connsiteY2121" fmla="*/ 865007 h 2380521"/>
              <a:gd name="connsiteX2122" fmla="*/ 4940157 w 8023328"/>
              <a:gd name="connsiteY2122" fmla="*/ 879593 h 2380521"/>
              <a:gd name="connsiteX2123" fmla="*/ 4927760 w 8023328"/>
              <a:gd name="connsiteY2123" fmla="*/ 865007 h 2380521"/>
              <a:gd name="connsiteX2124" fmla="*/ 4940157 w 8023328"/>
              <a:gd name="connsiteY2124" fmla="*/ 853339 h 2380521"/>
              <a:gd name="connsiteX2125" fmla="*/ 4865953 w 8023328"/>
              <a:gd name="connsiteY2125" fmla="*/ 853339 h 2380521"/>
              <a:gd name="connsiteX2126" fmla="*/ 4879809 w 8023328"/>
              <a:gd name="connsiteY2126" fmla="*/ 865007 h 2380521"/>
              <a:gd name="connsiteX2127" fmla="*/ 4865953 w 8023328"/>
              <a:gd name="connsiteY2127" fmla="*/ 879593 h 2380521"/>
              <a:gd name="connsiteX2128" fmla="*/ 4853556 w 8023328"/>
              <a:gd name="connsiteY2128" fmla="*/ 865007 h 2380521"/>
              <a:gd name="connsiteX2129" fmla="*/ 4865953 w 8023328"/>
              <a:gd name="connsiteY2129" fmla="*/ 853339 h 2380521"/>
              <a:gd name="connsiteX2130" fmla="*/ 4797514 w 8023328"/>
              <a:gd name="connsiteY2130" fmla="*/ 853339 h 2380521"/>
              <a:gd name="connsiteX2131" fmla="*/ 4812303 w 8023328"/>
              <a:gd name="connsiteY2131" fmla="*/ 865007 h 2380521"/>
              <a:gd name="connsiteX2132" fmla="*/ 4797514 w 8023328"/>
              <a:gd name="connsiteY2132" fmla="*/ 879593 h 2380521"/>
              <a:gd name="connsiteX2133" fmla="*/ 4782725 w 8023328"/>
              <a:gd name="connsiteY2133" fmla="*/ 865007 h 2380521"/>
              <a:gd name="connsiteX2134" fmla="*/ 4797514 w 8023328"/>
              <a:gd name="connsiteY2134" fmla="*/ 853339 h 2380521"/>
              <a:gd name="connsiteX2135" fmla="*/ 4726684 w 8023328"/>
              <a:gd name="connsiteY2135" fmla="*/ 853339 h 2380521"/>
              <a:gd name="connsiteX2136" fmla="*/ 4741472 w 8023328"/>
              <a:gd name="connsiteY2136" fmla="*/ 865007 h 2380521"/>
              <a:gd name="connsiteX2137" fmla="*/ 4726684 w 8023328"/>
              <a:gd name="connsiteY2137" fmla="*/ 879593 h 2380521"/>
              <a:gd name="connsiteX2138" fmla="*/ 4711896 w 8023328"/>
              <a:gd name="connsiteY2138" fmla="*/ 865007 h 2380521"/>
              <a:gd name="connsiteX2139" fmla="*/ 4726684 w 8023328"/>
              <a:gd name="connsiteY2139" fmla="*/ 853339 h 2380521"/>
              <a:gd name="connsiteX2140" fmla="*/ 4655853 w 8023328"/>
              <a:gd name="connsiteY2140" fmla="*/ 853339 h 2380521"/>
              <a:gd name="connsiteX2141" fmla="*/ 4670642 w 8023328"/>
              <a:gd name="connsiteY2141" fmla="*/ 865007 h 2380521"/>
              <a:gd name="connsiteX2142" fmla="*/ 4655853 w 8023328"/>
              <a:gd name="connsiteY2142" fmla="*/ 879593 h 2380521"/>
              <a:gd name="connsiteX2143" fmla="*/ 4641064 w 8023328"/>
              <a:gd name="connsiteY2143" fmla="*/ 865007 h 2380521"/>
              <a:gd name="connsiteX2144" fmla="*/ 4655853 w 8023328"/>
              <a:gd name="connsiteY2144" fmla="*/ 853339 h 2380521"/>
              <a:gd name="connsiteX2145" fmla="*/ 4584091 w 8023328"/>
              <a:gd name="connsiteY2145" fmla="*/ 853339 h 2380521"/>
              <a:gd name="connsiteX2146" fmla="*/ 4596488 w 8023328"/>
              <a:gd name="connsiteY2146" fmla="*/ 865007 h 2380521"/>
              <a:gd name="connsiteX2147" fmla="*/ 4584091 w 8023328"/>
              <a:gd name="connsiteY2147" fmla="*/ 879593 h 2380521"/>
              <a:gd name="connsiteX2148" fmla="*/ 4570235 w 8023328"/>
              <a:gd name="connsiteY2148" fmla="*/ 865007 h 2380521"/>
              <a:gd name="connsiteX2149" fmla="*/ 4584091 w 8023328"/>
              <a:gd name="connsiteY2149" fmla="*/ 853339 h 2380521"/>
              <a:gd name="connsiteX2150" fmla="*/ 4513260 w 8023328"/>
              <a:gd name="connsiteY2150" fmla="*/ 853339 h 2380521"/>
              <a:gd name="connsiteX2151" fmla="*/ 4525657 w 8023328"/>
              <a:gd name="connsiteY2151" fmla="*/ 865007 h 2380521"/>
              <a:gd name="connsiteX2152" fmla="*/ 4513260 w 8023328"/>
              <a:gd name="connsiteY2152" fmla="*/ 879593 h 2380521"/>
              <a:gd name="connsiteX2153" fmla="*/ 4499404 w 8023328"/>
              <a:gd name="connsiteY2153" fmla="*/ 865007 h 2380521"/>
              <a:gd name="connsiteX2154" fmla="*/ 4513260 w 8023328"/>
              <a:gd name="connsiteY2154" fmla="*/ 853339 h 2380521"/>
              <a:gd name="connsiteX2155" fmla="*/ 4439056 w 8023328"/>
              <a:gd name="connsiteY2155" fmla="*/ 853339 h 2380521"/>
              <a:gd name="connsiteX2156" fmla="*/ 4451453 w 8023328"/>
              <a:gd name="connsiteY2156" fmla="*/ 865007 h 2380521"/>
              <a:gd name="connsiteX2157" fmla="*/ 4439056 w 8023328"/>
              <a:gd name="connsiteY2157" fmla="*/ 879593 h 2380521"/>
              <a:gd name="connsiteX2158" fmla="*/ 4425200 w 8023328"/>
              <a:gd name="connsiteY2158" fmla="*/ 865007 h 2380521"/>
              <a:gd name="connsiteX2159" fmla="*/ 4439056 w 8023328"/>
              <a:gd name="connsiteY2159" fmla="*/ 853339 h 2380521"/>
              <a:gd name="connsiteX2160" fmla="*/ 4366768 w 8023328"/>
              <a:gd name="connsiteY2160" fmla="*/ 853339 h 2380521"/>
              <a:gd name="connsiteX2161" fmla="*/ 4380624 w 8023328"/>
              <a:gd name="connsiteY2161" fmla="*/ 865007 h 2380521"/>
              <a:gd name="connsiteX2162" fmla="*/ 4366768 w 8023328"/>
              <a:gd name="connsiteY2162" fmla="*/ 879593 h 2380521"/>
              <a:gd name="connsiteX2163" fmla="*/ 4354371 w 8023328"/>
              <a:gd name="connsiteY2163" fmla="*/ 867195 h 2380521"/>
              <a:gd name="connsiteX2164" fmla="*/ 4366768 w 8023328"/>
              <a:gd name="connsiteY2164" fmla="*/ 853339 h 2380521"/>
              <a:gd name="connsiteX2165" fmla="*/ 4295937 w 8023328"/>
              <a:gd name="connsiteY2165" fmla="*/ 853339 h 2380521"/>
              <a:gd name="connsiteX2166" fmla="*/ 4309793 w 8023328"/>
              <a:gd name="connsiteY2166" fmla="*/ 867195 h 2380521"/>
              <a:gd name="connsiteX2167" fmla="*/ 4295937 w 8023328"/>
              <a:gd name="connsiteY2167" fmla="*/ 879593 h 2380521"/>
              <a:gd name="connsiteX2168" fmla="*/ 4283540 w 8023328"/>
              <a:gd name="connsiteY2168" fmla="*/ 867195 h 2380521"/>
              <a:gd name="connsiteX2169" fmla="*/ 4295937 w 8023328"/>
              <a:gd name="connsiteY2169" fmla="*/ 853339 h 2380521"/>
              <a:gd name="connsiteX2170" fmla="*/ 4225107 w 8023328"/>
              <a:gd name="connsiteY2170" fmla="*/ 853339 h 2380521"/>
              <a:gd name="connsiteX2171" fmla="*/ 4238963 w 8023328"/>
              <a:gd name="connsiteY2171" fmla="*/ 867195 h 2380521"/>
              <a:gd name="connsiteX2172" fmla="*/ 4225107 w 8023328"/>
              <a:gd name="connsiteY2172" fmla="*/ 879593 h 2380521"/>
              <a:gd name="connsiteX2173" fmla="*/ 4212710 w 8023328"/>
              <a:gd name="connsiteY2173" fmla="*/ 867195 h 2380521"/>
              <a:gd name="connsiteX2174" fmla="*/ 4225107 w 8023328"/>
              <a:gd name="connsiteY2174" fmla="*/ 853339 h 2380521"/>
              <a:gd name="connsiteX2175" fmla="*/ 4153295 w 8023328"/>
              <a:gd name="connsiteY2175" fmla="*/ 853339 h 2380521"/>
              <a:gd name="connsiteX2176" fmla="*/ 4168083 w 8023328"/>
              <a:gd name="connsiteY2176" fmla="*/ 867195 h 2380521"/>
              <a:gd name="connsiteX2177" fmla="*/ 4153295 w 8023328"/>
              <a:gd name="connsiteY2177" fmla="*/ 879593 h 2380521"/>
              <a:gd name="connsiteX2178" fmla="*/ 4138507 w 8023328"/>
              <a:gd name="connsiteY2178" fmla="*/ 867195 h 2380521"/>
              <a:gd name="connsiteX2179" fmla="*/ 4153295 w 8023328"/>
              <a:gd name="connsiteY2179" fmla="*/ 853339 h 2380521"/>
              <a:gd name="connsiteX2180" fmla="*/ 4082465 w 8023328"/>
              <a:gd name="connsiteY2180" fmla="*/ 853339 h 2380521"/>
              <a:gd name="connsiteX2181" fmla="*/ 4097254 w 8023328"/>
              <a:gd name="connsiteY2181" fmla="*/ 867195 h 2380521"/>
              <a:gd name="connsiteX2182" fmla="*/ 4082465 w 8023328"/>
              <a:gd name="connsiteY2182" fmla="*/ 879593 h 2380521"/>
              <a:gd name="connsiteX2183" fmla="*/ 4067676 w 8023328"/>
              <a:gd name="connsiteY2183" fmla="*/ 867195 h 2380521"/>
              <a:gd name="connsiteX2184" fmla="*/ 4082465 w 8023328"/>
              <a:gd name="connsiteY2184" fmla="*/ 853339 h 2380521"/>
              <a:gd name="connsiteX2185" fmla="*/ 4011635 w 8023328"/>
              <a:gd name="connsiteY2185" fmla="*/ 853339 h 2380521"/>
              <a:gd name="connsiteX2186" fmla="*/ 4026423 w 8023328"/>
              <a:gd name="connsiteY2186" fmla="*/ 867195 h 2380521"/>
              <a:gd name="connsiteX2187" fmla="*/ 4011635 w 8023328"/>
              <a:gd name="connsiteY2187" fmla="*/ 879593 h 2380521"/>
              <a:gd name="connsiteX2188" fmla="*/ 3996847 w 8023328"/>
              <a:gd name="connsiteY2188" fmla="*/ 867195 h 2380521"/>
              <a:gd name="connsiteX2189" fmla="*/ 4011635 w 8023328"/>
              <a:gd name="connsiteY2189" fmla="*/ 853339 h 2380521"/>
              <a:gd name="connsiteX2190" fmla="*/ 3939871 w 8023328"/>
              <a:gd name="connsiteY2190" fmla="*/ 853339 h 2380521"/>
              <a:gd name="connsiteX2191" fmla="*/ 3952268 w 8023328"/>
              <a:gd name="connsiteY2191" fmla="*/ 867195 h 2380521"/>
              <a:gd name="connsiteX2192" fmla="*/ 3939871 w 8023328"/>
              <a:gd name="connsiteY2192" fmla="*/ 879593 h 2380521"/>
              <a:gd name="connsiteX2193" fmla="*/ 3926015 w 8023328"/>
              <a:gd name="connsiteY2193" fmla="*/ 867195 h 2380521"/>
              <a:gd name="connsiteX2194" fmla="*/ 3939871 w 8023328"/>
              <a:gd name="connsiteY2194" fmla="*/ 853339 h 2380521"/>
              <a:gd name="connsiteX2195" fmla="*/ 3869042 w 8023328"/>
              <a:gd name="connsiteY2195" fmla="*/ 853339 h 2380521"/>
              <a:gd name="connsiteX2196" fmla="*/ 3881439 w 8023328"/>
              <a:gd name="connsiteY2196" fmla="*/ 867195 h 2380521"/>
              <a:gd name="connsiteX2197" fmla="*/ 3869042 w 8023328"/>
              <a:gd name="connsiteY2197" fmla="*/ 879593 h 2380521"/>
              <a:gd name="connsiteX2198" fmla="*/ 3855186 w 8023328"/>
              <a:gd name="connsiteY2198" fmla="*/ 867195 h 2380521"/>
              <a:gd name="connsiteX2199" fmla="*/ 3869042 w 8023328"/>
              <a:gd name="connsiteY2199" fmla="*/ 853339 h 2380521"/>
              <a:gd name="connsiteX2200" fmla="*/ 3796752 w 8023328"/>
              <a:gd name="connsiteY2200" fmla="*/ 853339 h 2380521"/>
              <a:gd name="connsiteX2201" fmla="*/ 3810608 w 8023328"/>
              <a:gd name="connsiteY2201" fmla="*/ 867195 h 2380521"/>
              <a:gd name="connsiteX2202" fmla="*/ 3796752 w 8023328"/>
              <a:gd name="connsiteY2202" fmla="*/ 879593 h 2380521"/>
              <a:gd name="connsiteX2203" fmla="*/ 3784355 w 8023328"/>
              <a:gd name="connsiteY2203" fmla="*/ 867195 h 2380521"/>
              <a:gd name="connsiteX2204" fmla="*/ 3796752 w 8023328"/>
              <a:gd name="connsiteY2204" fmla="*/ 853339 h 2380521"/>
              <a:gd name="connsiteX2205" fmla="*/ 3725922 w 8023328"/>
              <a:gd name="connsiteY2205" fmla="*/ 853339 h 2380521"/>
              <a:gd name="connsiteX2206" fmla="*/ 3739778 w 8023328"/>
              <a:gd name="connsiteY2206" fmla="*/ 867195 h 2380521"/>
              <a:gd name="connsiteX2207" fmla="*/ 3725922 w 8023328"/>
              <a:gd name="connsiteY2207" fmla="*/ 879593 h 2380521"/>
              <a:gd name="connsiteX2208" fmla="*/ 3713525 w 8023328"/>
              <a:gd name="connsiteY2208" fmla="*/ 867195 h 2380521"/>
              <a:gd name="connsiteX2209" fmla="*/ 3725922 w 8023328"/>
              <a:gd name="connsiteY2209" fmla="*/ 853339 h 2380521"/>
              <a:gd name="connsiteX2210" fmla="*/ 3655091 w 8023328"/>
              <a:gd name="connsiteY2210" fmla="*/ 853339 h 2380521"/>
              <a:gd name="connsiteX2211" fmla="*/ 3668947 w 8023328"/>
              <a:gd name="connsiteY2211" fmla="*/ 867195 h 2380521"/>
              <a:gd name="connsiteX2212" fmla="*/ 3655091 w 8023328"/>
              <a:gd name="connsiteY2212" fmla="*/ 879593 h 2380521"/>
              <a:gd name="connsiteX2213" fmla="*/ 3642694 w 8023328"/>
              <a:gd name="connsiteY2213" fmla="*/ 867195 h 2380521"/>
              <a:gd name="connsiteX2214" fmla="*/ 3655091 w 8023328"/>
              <a:gd name="connsiteY2214" fmla="*/ 853339 h 2380521"/>
              <a:gd name="connsiteX2215" fmla="*/ 3583280 w 8023328"/>
              <a:gd name="connsiteY2215" fmla="*/ 853339 h 2380521"/>
              <a:gd name="connsiteX2216" fmla="*/ 3598069 w 8023328"/>
              <a:gd name="connsiteY2216" fmla="*/ 867195 h 2380521"/>
              <a:gd name="connsiteX2217" fmla="*/ 3583280 w 8023328"/>
              <a:gd name="connsiteY2217" fmla="*/ 879593 h 2380521"/>
              <a:gd name="connsiteX2218" fmla="*/ 3568491 w 8023328"/>
              <a:gd name="connsiteY2218" fmla="*/ 867195 h 2380521"/>
              <a:gd name="connsiteX2219" fmla="*/ 3583280 w 8023328"/>
              <a:gd name="connsiteY2219" fmla="*/ 853339 h 2380521"/>
              <a:gd name="connsiteX2220" fmla="*/ 3512449 w 8023328"/>
              <a:gd name="connsiteY2220" fmla="*/ 853339 h 2380521"/>
              <a:gd name="connsiteX2221" fmla="*/ 3527237 w 8023328"/>
              <a:gd name="connsiteY2221" fmla="*/ 867195 h 2380521"/>
              <a:gd name="connsiteX2222" fmla="*/ 3512449 w 8023328"/>
              <a:gd name="connsiteY2222" fmla="*/ 879593 h 2380521"/>
              <a:gd name="connsiteX2223" fmla="*/ 3497661 w 8023328"/>
              <a:gd name="connsiteY2223" fmla="*/ 867195 h 2380521"/>
              <a:gd name="connsiteX2224" fmla="*/ 3512449 w 8023328"/>
              <a:gd name="connsiteY2224" fmla="*/ 853339 h 2380521"/>
              <a:gd name="connsiteX2225" fmla="*/ 3441619 w 8023328"/>
              <a:gd name="connsiteY2225" fmla="*/ 853339 h 2380521"/>
              <a:gd name="connsiteX2226" fmla="*/ 3456408 w 8023328"/>
              <a:gd name="connsiteY2226" fmla="*/ 867195 h 2380521"/>
              <a:gd name="connsiteX2227" fmla="*/ 3441619 w 8023328"/>
              <a:gd name="connsiteY2227" fmla="*/ 879593 h 2380521"/>
              <a:gd name="connsiteX2228" fmla="*/ 3426830 w 8023328"/>
              <a:gd name="connsiteY2228" fmla="*/ 867195 h 2380521"/>
              <a:gd name="connsiteX2229" fmla="*/ 3441619 w 8023328"/>
              <a:gd name="connsiteY2229" fmla="*/ 853339 h 2380521"/>
              <a:gd name="connsiteX2230" fmla="*/ 3369857 w 8023328"/>
              <a:gd name="connsiteY2230" fmla="*/ 853339 h 2380521"/>
              <a:gd name="connsiteX2231" fmla="*/ 3382254 w 8023328"/>
              <a:gd name="connsiteY2231" fmla="*/ 867195 h 2380521"/>
              <a:gd name="connsiteX2232" fmla="*/ 3369857 w 8023328"/>
              <a:gd name="connsiteY2232" fmla="*/ 879593 h 2380521"/>
              <a:gd name="connsiteX2233" fmla="*/ 3356001 w 8023328"/>
              <a:gd name="connsiteY2233" fmla="*/ 867195 h 2380521"/>
              <a:gd name="connsiteX2234" fmla="*/ 3369857 w 8023328"/>
              <a:gd name="connsiteY2234" fmla="*/ 853339 h 2380521"/>
              <a:gd name="connsiteX2235" fmla="*/ 1013589 w 8023328"/>
              <a:gd name="connsiteY2235" fmla="*/ 853339 h 2380521"/>
              <a:gd name="connsiteX2236" fmla="*/ 1028011 w 8023328"/>
              <a:gd name="connsiteY2236" fmla="*/ 868127 h 2380521"/>
              <a:gd name="connsiteX2237" fmla="*/ 1013589 w 8023328"/>
              <a:gd name="connsiteY2237" fmla="*/ 882916 h 2380521"/>
              <a:gd name="connsiteX2238" fmla="*/ 998413 w 8023328"/>
              <a:gd name="connsiteY2238" fmla="*/ 868127 h 2380521"/>
              <a:gd name="connsiteX2239" fmla="*/ 1013589 w 8023328"/>
              <a:gd name="connsiteY2239" fmla="*/ 853339 h 2380521"/>
              <a:gd name="connsiteX2240" fmla="*/ 368059 w 8023328"/>
              <a:gd name="connsiteY2240" fmla="*/ 785881 h 2380521"/>
              <a:gd name="connsiteX2241" fmla="*/ 380456 w 8023328"/>
              <a:gd name="connsiteY2241" fmla="*/ 797549 h 2380521"/>
              <a:gd name="connsiteX2242" fmla="*/ 368059 w 8023328"/>
              <a:gd name="connsiteY2242" fmla="*/ 812135 h 2380521"/>
              <a:gd name="connsiteX2243" fmla="*/ 354203 w 8023328"/>
              <a:gd name="connsiteY2243" fmla="*/ 797549 h 2380521"/>
              <a:gd name="connsiteX2244" fmla="*/ 368059 w 8023328"/>
              <a:gd name="connsiteY2244" fmla="*/ 785881 h 2380521"/>
              <a:gd name="connsiteX2245" fmla="*/ 297226 w 8023328"/>
              <a:gd name="connsiteY2245" fmla="*/ 785881 h 2380521"/>
              <a:gd name="connsiteX2246" fmla="*/ 309624 w 8023328"/>
              <a:gd name="connsiteY2246" fmla="*/ 797549 h 2380521"/>
              <a:gd name="connsiteX2247" fmla="*/ 297226 w 8023328"/>
              <a:gd name="connsiteY2247" fmla="*/ 812135 h 2380521"/>
              <a:gd name="connsiteX2248" fmla="*/ 283371 w 8023328"/>
              <a:gd name="connsiteY2248" fmla="*/ 797549 h 2380521"/>
              <a:gd name="connsiteX2249" fmla="*/ 297226 w 8023328"/>
              <a:gd name="connsiteY2249" fmla="*/ 785881 h 2380521"/>
              <a:gd name="connsiteX2250" fmla="*/ 226398 w 8023328"/>
              <a:gd name="connsiteY2250" fmla="*/ 785881 h 2380521"/>
              <a:gd name="connsiteX2251" fmla="*/ 238797 w 8023328"/>
              <a:gd name="connsiteY2251" fmla="*/ 797549 h 2380521"/>
              <a:gd name="connsiteX2252" fmla="*/ 226398 w 8023328"/>
              <a:gd name="connsiteY2252" fmla="*/ 812135 h 2380521"/>
              <a:gd name="connsiteX2253" fmla="*/ 212542 w 8023328"/>
              <a:gd name="connsiteY2253" fmla="*/ 797549 h 2380521"/>
              <a:gd name="connsiteX2254" fmla="*/ 226398 w 8023328"/>
              <a:gd name="connsiteY2254" fmla="*/ 785881 h 2380521"/>
              <a:gd name="connsiteX2255" fmla="*/ 154101 w 8023328"/>
              <a:gd name="connsiteY2255" fmla="*/ 785881 h 2380521"/>
              <a:gd name="connsiteX2256" fmla="*/ 167957 w 8023328"/>
              <a:gd name="connsiteY2256" fmla="*/ 797549 h 2380521"/>
              <a:gd name="connsiteX2257" fmla="*/ 154101 w 8023328"/>
              <a:gd name="connsiteY2257" fmla="*/ 812135 h 2380521"/>
              <a:gd name="connsiteX2258" fmla="*/ 141704 w 8023328"/>
              <a:gd name="connsiteY2258" fmla="*/ 797549 h 2380521"/>
              <a:gd name="connsiteX2259" fmla="*/ 154101 w 8023328"/>
              <a:gd name="connsiteY2259" fmla="*/ 785881 h 2380521"/>
              <a:gd name="connsiteX2260" fmla="*/ 83272 w 8023328"/>
              <a:gd name="connsiteY2260" fmla="*/ 785881 h 2380521"/>
              <a:gd name="connsiteX2261" fmla="*/ 97128 w 8023328"/>
              <a:gd name="connsiteY2261" fmla="*/ 797549 h 2380521"/>
              <a:gd name="connsiteX2262" fmla="*/ 83272 w 8023328"/>
              <a:gd name="connsiteY2262" fmla="*/ 812135 h 2380521"/>
              <a:gd name="connsiteX2263" fmla="*/ 70874 w 8023328"/>
              <a:gd name="connsiteY2263" fmla="*/ 797549 h 2380521"/>
              <a:gd name="connsiteX2264" fmla="*/ 83272 w 8023328"/>
              <a:gd name="connsiteY2264" fmla="*/ 785881 h 2380521"/>
              <a:gd name="connsiteX2265" fmla="*/ 12036 w 8023328"/>
              <a:gd name="connsiteY2265" fmla="*/ 785881 h 2380521"/>
              <a:gd name="connsiteX2266" fmla="*/ 26277 w 8023328"/>
              <a:gd name="connsiteY2266" fmla="*/ 797549 h 2380521"/>
              <a:gd name="connsiteX2267" fmla="*/ 12036 w 8023328"/>
              <a:gd name="connsiteY2267" fmla="*/ 812135 h 2380521"/>
              <a:gd name="connsiteX2268" fmla="*/ 44 w 8023328"/>
              <a:gd name="connsiteY2268" fmla="*/ 797549 h 2380521"/>
              <a:gd name="connsiteX2269" fmla="*/ 12036 w 8023328"/>
              <a:gd name="connsiteY2269" fmla="*/ 785881 h 2380521"/>
              <a:gd name="connsiteX2270" fmla="*/ 4726684 w 8023328"/>
              <a:gd name="connsiteY2270" fmla="*/ 782507 h 2380521"/>
              <a:gd name="connsiteX2271" fmla="*/ 4741472 w 8023328"/>
              <a:gd name="connsiteY2271" fmla="*/ 794904 h 2380521"/>
              <a:gd name="connsiteX2272" fmla="*/ 4726684 w 8023328"/>
              <a:gd name="connsiteY2272" fmla="*/ 808761 h 2380521"/>
              <a:gd name="connsiteX2273" fmla="*/ 4711896 w 8023328"/>
              <a:gd name="connsiteY2273" fmla="*/ 794904 h 2380521"/>
              <a:gd name="connsiteX2274" fmla="*/ 4726684 w 8023328"/>
              <a:gd name="connsiteY2274" fmla="*/ 782507 h 2380521"/>
              <a:gd name="connsiteX2275" fmla="*/ 4655853 w 8023328"/>
              <a:gd name="connsiteY2275" fmla="*/ 782507 h 2380521"/>
              <a:gd name="connsiteX2276" fmla="*/ 4670642 w 8023328"/>
              <a:gd name="connsiteY2276" fmla="*/ 794904 h 2380521"/>
              <a:gd name="connsiteX2277" fmla="*/ 4655853 w 8023328"/>
              <a:gd name="connsiteY2277" fmla="*/ 808761 h 2380521"/>
              <a:gd name="connsiteX2278" fmla="*/ 4641064 w 8023328"/>
              <a:gd name="connsiteY2278" fmla="*/ 794904 h 2380521"/>
              <a:gd name="connsiteX2279" fmla="*/ 4655853 w 8023328"/>
              <a:gd name="connsiteY2279" fmla="*/ 782507 h 2380521"/>
              <a:gd name="connsiteX2280" fmla="*/ 4584091 w 8023328"/>
              <a:gd name="connsiteY2280" fmla="*/ 782507 h 2380521"/>
              <a:gd name="connsiteX2281" fmla="*/ 4596488 w 8023328"/>
              <a:gd name="connsiteY2281" fmla="*/ 794904 h 2380521"/>
              <a:gd name="connsiteX2282" fmla="*/ 4584091 w 8023328"/>
              <a:gd name="connsiteY2282" fmla="*/ 808761 h 2380521"/>
              <a:gd name="connsiteX2283" fmla="*/ 4570235 w 8023328"/>
              <a:gd name="connsiteY2283" fmla="*/ 794904 h 2380521"/>
              <a:gd name="connsiteX2284" fmla="*/ 4584091 w 8023328"/>
              <a:gd name="connsiteY2284" fmla="*/ 782507 h 2380521"/>
              <a:gd name="connsiteX2285" fmla="*/ 4513260 w 8023328"/>
              <a:gd name="connsiteY2285" fmla="*/ 782507 h 2380521"/>
              <a:gd name="connsiteX2286" fmla="*/ 4525657 w 8023328"/>
              <a:gd name="connsiteY2286" fmla="*/ 794904 h 2380521"/>
              <a:gd name="connsiteX2287" fmla="*/ 4513260 w 8023328"/>
              <a:gd name="connsiteY2287" fmla="*/ 808761 h 2380521"/>
              <a:gd name="connsiteX2288" fmla="*/ 4499404 w 8023328"/>
              <a:gd name="connsiteY2288" fmla="*/ 794904 h 2380521"/>
              <a:gd name="connsiteX2289" fmla="*/ 4513260 w 8023328"/>
              <a:gd name="connsiteY2289" fmla="*/ 782507 h 2380521"/>
              <a:gd name="connsiteX2290" fmla="*/ 4439056 w 8023328"/>
              <a:gd name="connsiteY2290" fmla="*/ 782507 h 2380521"/>
              <a:gd name="connsiteX2291" fmla="*/ 4451453 w 8023328"/>
              <a:gd name="connsiteY2291" fmla="*/ 794904 h 2380521"/>
              <a:gd name="connsiteX2292" fmla="*/ 4439056 w 8023328"/>
              <a:gd name="connsiteY2292" fmla="*/ 808761 h 2380521"/>
              <a:gd name="connsiteX2293" fmla="*/ 4425200 w 8023328"/>
              <a:gd name="connsiteY2293" fmla="*/ 794904 h 2380521"/>
              <a:gd name="connsiteX2294" fmla="*/ 4439056 w 8023328"/>
              <a:gd name="connsiteY2294" fmla="*/ 782507 h 2380521"/>
              <a:gd name="connsiteX2295" fmla="*/ 4366768 w 8023328"/>
              <a:gd name="connsiteY2295" fmla="*/ 782507 h 2380521"/>
              <a:gd name="connsiteX2296" fmla="*/ 4380624 w 8023328"/>
              <a:gd name="connsiteY2296" fmla="*/ 794904 h 2380521"/>
              <a:gd name="connsiteX2297" fmla="*/ 4366768 w 8023328"/>
              <a:gd name="connsiteY2297" fmla="*/ 808761 h 2380521"/>
              <a:gd name="connsiteX2298" fmla="*/ 4354371 w 8023328"/>
              <a:gd name="connsiteY2298" fmla="*/ 794904 h 2380521"/>
              <a:gd name="connsiteX2299" fmla="*/ 4366768 w 8023328"/>
              <a:gd name="connsiteY2299" fmla="*/ 782507 h 2380521"/>
              <a:gd name="connsiteX2300" fmla="*/ 4295937 w 8023328"/>
              <a:gd name="connsiteY2300" fmla="*/ 782507 h 2380521"/>
              <a:gd name="connsiteX2301" fmla="*/ 4309793 w 8023328"/>
              <a:gd name="connsiteY2301" fmla="*/ 794904 h 2380521"/>
              <a:gd name="connsiteX2302" fmla="*/ 4295937 w 8023328"/>
              <a:gd name="connsiteY2302" fmla="*/ 808761 h 2380521"/>
              <a:gd name="connsiteX2303" fmla="*/ 4283540 w 8023328"/>
              <a:gd name="connsiteY2303" fmla="*/ 794904 h 2380521"/>
              <a:gd name="connsiteX2304" fmla="*/ 4295937 w 8023328"/>
              <a:gd name="connsiteY2304" fmla="*/ 782507 h 2380521"/>
              <a:gd name="connsiteX2305" fmla="*/ 4225107 w 8023328"/>
              <a:gd name="connsiteY2305" fmla="*/ 782507 h 2380521"/>
              <a:gd name="connsiteX2306" fmla="*/ 4238963 w 8023328"/>
              <a:gd name="connsiteY2306" fmla="*/ 794904 h 2380521"/>
              <a:gd name="connsiteX2307" fmla="*/ 4225107 w 8023328"/>
              <a:gd name="connsiteY2307" fmla="*/ 808761 h 2380521"/>
              <a:gd name="connsiteX2308" fmla="*/ 4212710 w 8023328"/>
              <a:gd name="connsiteY2308" fmla="*/ 794904 h 2380521"/>
              <a:gd name="connsiteX2309" fmla="*/ 4225107 w 8023328"/>
              <a:gd name="connsiteY2309" fmla="*/ 782507 h 2380521"/>
              <a:gd name="connsiteX2310" fmla="*/ 4153295 w 8023328"/>
              <a:gd name="connsiteY2310" fmla="*/ 782507 h 2380521"/>
              <a:gd name="connsiteX2311" fmla="*/ 4168083 w 8023328"/>
              <a:gd name="connsiteY2311" fmla="*/ 794904 h 2380521"/>
              <a:gd name="connsiteX2312" fmla="*/ 4153295 w 8023328"/>
              <a:gd name="connsiteY2312" fmla="*/ 808761 h 2380521"/>
              <a:gd name="connsiteX2313" fmla="*/ 4138507 w 8023328"/>
              <a:gd name="connsiteY2313" fmla="*/ 794904 h 2380521"/>
              <a:gd name="connsiteX2314" fmla="*/ 4153295 w 8023328"/>
              <a:gd name="connsiteY2314" fmla="*/ 782507 h 2380521"/>
              <a:gd name="connsiteX2315" fmla="*/ 4082465 w 8023328"/>
              <a:gd name="connsiteY2315" fmla="*/ 782507 h 2380521"/>
              <a:gd name="connsiteX2316" fmla="*/ 4097254 w 8023328"/>
              <a:gd name="connsiteY2316" fmla="*/ 794904 h 2380521"/>
              <a:gd name="connsiteX2317" fmla="*/ 4082465 w 8023328"/>
              <a:gd name="connsiteY2317" fmla="*/ 808761 h 2380521"/>
              <a:gd name="connsiteX2318" fmla="*/ 4067676 w 8023328"/>
              <a:gd name="connsiteY2318" fmla="*/ 794904 h 2380521"/>
              <a:gd name="connsiteX2319" fmla="*/ 4082465 w 8023328"/>
              <a:gd name="connsiteY2319" fmla="*/ 782507 h 2380521"/>
              <a:gd name="connsiteX2320" fmla="*/ 4010703 w 8023328"/>
              <a:gd name="connsiteY2320" fmla="*/ 782507 h 2380521"/>
              <a:gd name="connsiteX2321" fmla="*/ 4023100 w 8023328"/>
              <a:gd name="connsiteY2321" fmla="*/ 794904 h 2380521"/>
              <a:gd name="connsiteX2322" fmla="*/ 4010703 w 8023328"/>
              <a:gd name="connsiteY2322" fmla="*/ 808761 h 2380521"/>
              <a:gd name="connsiteX2323" fmla="*/ 3996847 w 8023328"/>
              <a:gd name="connsiteY2323" fmla="*/ 794904 h 2380521"/>
              <a:gd name="connsiteX2324" fmla="*/ 4010703 w 8023328"/>
              <a:gd name="connsiteY2324" fmla="*/ 782507 h 2380521"/>
              <a:gd name="connsiteX2325" fmla="*/ 3939871 w 8023328"/>
              <a:gd name="connsiteY2325" fmla="*/ 782507 h 2380521"/>
              <a:gd name="connsiteX2326" fmla="*/ 3952268 w 8023328"/>
              <a:gd name="connsiteY2326" fmla="*/ 794904 h 2380521"/>
              <a:gd name="connsiteX2327" fmla="*/ 3939871 w 8023328"/>
              <a:gd name="connsiteY2327" fmla="*/ 808761 h 2380521"/>
              <a:gd name="connsiteX2328" fmla="*/ 3926015 w 8023328"/>
              <a:gd name="connsiteY2328" fmla="*/ 794904 h 2380521"/>
              <a:gd name="connsiteX2329" fmla="*/ 3939871 w 8023328"/>
              <a:gd name="connsiteY2329" fmla="*/ 782507 h 2380521"/>
              <a:gd name="connsiteX2330" fmla="*/ 3869042 w 8023328"/>
              <a:gd name="connsiteY2330" fmla="*/ 782507 h 2380521"/>
              <a:gd name="connsiteX2331" fmla="*/ 3881439 w 8023328"/>
              <a:gd name="connsiteY2331" fmla="*/ 794904 h 2380521"/>
              <a:gd name="connsiteX2332" fmla="*/ 3869042 w 8023328"/>
              <a:gd name="connsiteY2332" fmla="*/ 808761 h 2380521"/>
              <a:gd name="connsiteX2333" fmla="*/ 3855186 w 8023328"/>
              <a:gd name="connsiteY2333" fmla="*/ 794904 h 2380521"/>
              <a:gd name="connsiteX2334" fmla="*/ 3869042 w 8023328"/>
              <a:gd name="connsiteY2334" fmla="*/ 782507 h 2380521"/>
              <a:gd name="connsiteX2335" fmla="*/ 3796752 w 8023328"/>
              <a:gd name="connsiteY2335" fmla="*/ 782507 h 2380521"/>
              <a:gd name="connsiteX2336" fmla="*/ 3810608 w 8023328"/>
              <a:gd name="connsiteY2336" fmla="*/ 796363 h 2380521"/>
              <a:gd name="connsiteX2337" fmla="*/ 3796752 w 8023328"/>
              <a:gd name="connsiteY2337" fmla="*/ 808761 h 2380521"/>
              <a:gd name="connsiteX2338" fmla="*/ 3784355 w 8023328"/>
              <a:gd name="connsiteY2338" fmla="*/ 796363 h 2380521"/>
              <a:gd name="connsiteX2339" fmla="*/ 3796752 w 8023328"/>
              <a:gd name="connsiteY2339" fmla="*/ 782507 h 2380521"/>
              <a:gd name="connsiteX2340" fmla="*/ 3725922 w 8023328"/>
              <a:gd name="connsiteY2340" fmla="*/ 782507 h 2380521"/>
              <a:gd name="connsiteX2341" fmla="*/ 3739778 w 8023328"/>
              <a:gd name="connsiteY2341" fmla="*/ 796363 h 2380521"/>
              <a:gd name="connsiteX2342" fmla="*/ 3725922 w 8023328"/>
              <a:gd name="connsiteY2342" fmla="*/ 808761 h 2380521"/>
              <a:gd name="connsiteX2343" fmla="*/ 3713525 w 8023328"/>
              <a:gd name="connsiteY2343" fmla="*/ 796363 h 2380521"/>
              <a:gd name="connsiteX2344" fmla="*/ 3725922 w 8023328"/>
              <a:gd name="connsiteY2344" fmla="*/ 782507 h 2380521"/>
              <a:gd name="connsiteX2345" fmla="*/ 3655091 w 8023328"/>
              <a:gd name="connsiteY2345" fmla="*/ 782507 h 2380521"/>
              <a:gd name="connsiteX2346" fmla="*/ 3668947 w 8023328"/>
              <a:gd name="connsiteY2346" fmla="*/ 796363 h 2380521"/>
              <a:gd name="connsiteX2347" fmla="*/ 3655091 w 8023328"/>
              <a:gd name="connsiteY2347" fmla="*/ 808761 h 2380521"/>
              <a:gd name="connsiteX2348" fmla="*/ 3642694 w 8023328"/>
              <a:gd name="connsiteY2348" fmla="*/ 796363 h 2380521"/>
              <a:gd name="connsiteX2349" fmla="*/ 3655091 w 8023328"/>
              <a:gd name="connsiteY2349" fmla="*/ 782507 h 2380521"/>
              <a:gd name="connsiteX2350" fmla="*/ 3583280 w 8023328"/>
              <a:gd name="connsiteY2350" fmla="*/ 782507 h 2380521"/>
              <a:gd name="connsiteX2351" fmla="*/ 3598069 w 8023328"/>
              <a:gd name="connsiteY2351" fmla="*/ 796363 h 2380521"/>
              <a:gd name="connsiteX2352" fmla="*/ 3583280 w 8023328"/>
              <a:gd name="connsiteY2352" fmla="*/ 808761 h 2380521"/>
              <a:gd name="connsiteX2353" fmla="*/ 3568491 w 8023328"/>
              <a:gd name="connsiteY2353" fmla="*/ 796363 h 2380521"/>
              <a:gd name="connsiteX2354" fmla="*/ 3583280 w 8023328"/>
              <a:gd name="connsiteY2354" fmla="*/ 782507 h 2380521"/>
              <a:gd name="connsiteX2355" fmla="*/ 3512449 w 8023328"/>
              <a:gd name="connsiteY2355" fmla="*/ 782507 h 2380521"/>
              <a:gd name="connsiteX2356" fmla="*/ 3527237 w 8023328"/>
              <a:gd name="connsiteY2356" fmla="*/ 796363 h 2380521"/>
              <a:gd name="connsiteX2357" fmla="*/ 3512449 w 8023328"/>
              <a:gd name="connsiteY2357" fmla="*/ 808761 h 2380521"/>
              <a:gd name="connsiteX2358" fmla="*/ 3497661 w 8023328"/>
              <a:gd name="connsiteY2358" fmla="*/ 796363 h 2380521"/>
              <a:gd name="connsiteX2359" fmla="*/ 3512449 w 8023328"/>
              <a:gd name="connsiteY2359" fmla="*/ 782507 h 2380521"/>
              <a:gd name="connsiteX2360" fmla="*/ 3441619 w 8023328"/>
              <a:gd name="connsiteY2360" fmla="*/ 782507 h 2380521"/>
              <a:gd name="connsiteX2361" fmla="*/ 3456408 w 8023328"/>
              <a:gd name="connsiteY2361" fmla="*/ 796363 h 2380521"/>
              <a:gd name="connsiteX2362" fmla="*/ 3441619 w 8023328"/>
              <a:gd name="connsiteY2362" fmla="*/ 808761 h 2380521"/>
              <a:gd name="connsiteX2363" fmla="*/ 3426830 w 8023328"/>
              <a:gd name="connsiteY2363" fmla="*/ 796363 h 2380521"/>
              <a:gd name="connsiteX2364" fmla="*/ 3441619 w 8023328"/>
              <a:gd name="connsiteY2364" fmla="*/ 782507 h 2380521"/>
              <a:gd name="connsiteX2365" fmla="*/ 3369857 w 8023328"/>
              <a:gd name="connsiteY2365" fmla="*/ 782507 h 2380521"/>
              <a:gd name="connsiteX2366" fmla="*/ 3382254 w 8023328"/>
              <a:gd name="connsiteY2366" fmla="*/ 796363 h 2380521"/>
              <a:gd name="connsiteX2367" fmla="*/ 3369857 w 8023328"/>
              <a:gd name="connsiteY2367" fmla="*/ 808761 h 2380521"/>
              <a:gd name="connsiteX2368" fmla="*/ 3356001 w 8023328"/>
              <a:gd name="connsiteY2368" fmla="*/ 796363 h 2380521"/>
              <a:gd name="connsiteX2369" fmla="*/ 3369857 w 8023328"/>
              <a:gd name="connsiteY2369" fmla="*/ 782507 h 2380521"/>
              <a:gd name="connsiteX2370" fmla="*/ 3299083 w 8023328"/>
              <a:gd name="connsiteY2370" fmla="*/ 782507 h 2380521"/>
              <a:gd name="connsiteX2371" fmla="*/ 3311480 w 8023328"/>
              <a:gd name="connsiteY2371" fmla="*/ 796363 h 2380521"/>
              <a:gd name="connsiteX2372" fmla="*/ 3299083 w 8023328"/>
              <a:gd name="connsiteY2372" fmla="*/ 808761 h 2380521"/>
              <a:gd name="connsiteX2373" fmla="*/ 3285229 w 8023328"/>
              <a:gd name="connsiteY2373" fmla="*/ 796363 h 2380521"/>
              <a:gd name="connsiteX2374" fmla="*/ 3299083 w 8023328"/>
              <a:gd name="connsiteY2374" fmla="*/ 782507 h 2380521"/>
              <a:gd name="connsiteX2375" fmla="*/ 3228250 w 8023328"/>
              <a:gd name="connsiteY2375" fmla="*/ 782507 h 2380521"/>
              <a:gd name="connsiteX2376" fmla="*/ 3240649 w 8023328"/>
              <a:gd name="connsiteY2376" fmla="*/ 796363 h 2380521"/>
              <a:gd name="connsiteX2377" fmla="*/ 3228250 w 8023328"/>
              <a:gd name="connsiteY2377" fmla="*/ 808761 h 2380521"/>
              <a:gd name="connsiteX2378" fmla="*/ 3214395 w 8023328"/>
              <a:gd name="connsiteY2378" fmla="*/ 796363 h 2380521"/>
              <a:gd name="connsiteX2379" fmla="*/ 3228250 w 8023328"/>
              <a:gd name="connsiteY2379" fmla="*/ 782507 h 2380521"/>
              <a:gd name="connsiteX2380" fmla="*/ 3152591 w 8023328"/>
              <a:gd name="connsiteY2380" fmla="*/ 782507 h 2380521"/>
              <a:gd name="connsiteX2381" fmla="*/ 3166447 w 8023328"/>
              <a:gd name="connsiteY2381" fmla="*/ 796363 h 2380521"/>
              <a:gd name="connsiteX2382" fmla="*/ 3152591 w 8023328"/>
              <a:gd name="connsiteY2382" fmla="*/ 808761 h 2380521"/>
              <a:gd name="connsiteX2383" fmla="*/ 3140193 w 8023328"/>
              <a:gd name="connsiteY2383" fmla="*/ 796363 h 2380521"/>
              <a:gd name="connsiteX2384" fmla="*/ 3152591 w 8023328"/>
              <a:gd name="connsiteY2384" fmla="*/ 782507 h 2380521"/>
              <a:gd name="connsiteX2385" fmla="*/ 1226672 w 8023328"/>
              <a:gd name="connsiteY2385" fmla="*/ 782507 h 2380521"/>
              <a:gd name="connsiteX2386" fmla="*/ 1240529 w 8023328"/>
              <a:gd name="connsiteY2386" fmla="*/ 796926 h 2380521"/>
              <a:gd name="connsiteX2387" fmla="*/ 1226672 w 8023328"/>
              <a:gd name="connsiteY2387" fmla="*/ 812105 h 2380521"/>
              <a:gd name="connsiteX2388" fmla="*/ 1214283 w 8023328"/>
              <a:gd name="connsiteY2388" fmla="*/ 796926 h 2380521"/>
              <a:gd name="connsiteX2389" fmla="*/ 1226672 w 8023328"/>
              <a:gd name="connsiteY2389" fmla="*/ 782507 h 2380521"/>
              <a:gd name="connsiteX2390" fmla="*/ 1154869 w 8023328"/>
              <a:gd name="connsiteY2390" fmla="*/ 782507 h 2380521"/>
              <a:gd name="connsiteX2391" fmla="*/ 1169658 w 8023328"/>
              <a:gd name="connsiteY2391" fmla="*/ 796926 h 2380521"/>
              <a:gd name="connsiteX2392" fmla="*/ 1154869 w 8023328"/>
              <a:gd name="connsiteY2392" fmla="*/ 812105 h 2380521"/>
              <a:gd name="connsiteX2393" fmla="*/ 1140080 w 8023328"/>
              <a:gd name="connsiteY2393" fmla="*/ 796926 h 2380521"/>
              <a:gd name="connsiteX2394" fmla="*/ 1154869 w 8023328"/>
              <a:gd name="connsiteY2394" fmla="*/ 782507 h 2380521"/>
              <a:gd name="connsiteX2395" fmla="*/ 1084040 w 8023328"/>
              <a:gd name="connsiteY2395" fmla="*/ 782507 h 2380521"/>
              <a:gd name="connsiteX2396" fmla="*/ 1098826 w 8023328"/>
              <a:gd name="connsiteY2396" fmla="*/ 796926 h 2380521"/>
              <a:gd name="connsiteX2397" fmla="*/ 1084040 w 8023328"/>
              <a:gd name="connsiteY2397" fmla="*/ 812105 h 2380521"/>
              <a:gd name="connsiteX2398" fmla="*/ 1069250 w 8023328"/>
              <a:gd name="connsiteY2398" fmla="*/ 796926 h 2380521"/>
              <a:gd name="connsiteX2399" fmla="*/ 1084040 w 8023328"/>
              <a:gd name="connsiteY2399" fmla="*/ 782507 h 2380521"/>
              <a:gd name="connsiteX2400" fmla="*/ 1013594 w 8023328"/>
              <a:gd name="connsiteY2400" fmla="*/ 782507 h 2380521"/>
              <a:gd name="connsiteX2401" fmla="*/ 1028015 w 8023328"/>
              <a:gd name="connsiteY2401" fmla="*/ 796926 h 2380521"/>
              <a:gd name="connsiteX2402" fmla="*/ 1013594 w 8023328"/>
              <a:gd name="connsiteY2402" fmla="*/ 812105 h 2380521"/>
              <a:gd name="connsiteX2403" fmla="*/ 998417 w 8023328"/>
              <a:gd name="connsiteY2403" fmla="*/ 796926 h 2380521"/>
              <a:gd name="connsiteX2404" fmla="*/ 1013594 w 8023328"/>
              <a:gd name="connsiteY2404" fmla="*/ 782507 h 2380521"/>
              <a:gd name="connsiteX2405" fmla="*/ 941447 w 8023328"/>
              <a:gd name="connsiteY2405" fmla="*/ 782507 h 2380521"/>
              <a:gd name="connsiteX2406" fmla="*/ 953844 w 8023328"/>
              <a:gd name="connsiteY2406" fmla="*/ 796926 h 2380521"/>
              <a:gd name="connsiteX2407" fmla="*/ 941447 w 8023328"/>
              <a:gd name="connsiteY2407" fmla="*/ 812105 h 2380521"/>
              <a:gd name="connsiteX2408" fmla="*/ 927591 w 8023328"/>
              <a:gd name="connsiteY2408" fmla="*/ 796926 h 2380521"/>
              <a:gd name="connsiteX2409" fmla="*/ 941447 w 8023328"/>
              <a:gd name="connsiteY2409" fmla="*/ 782507 h 2380521"/>
              <a:gd name="connsiteX2410" fmla="*/ 870615 w 8023328"/>
              <a:gd name="connsiteY2410" fmla="*/ 782507 h 2380521"/>
              <a:gd name="connsiteX2411" fmla="*/ 883013 w 8023328"/>
              <a:gd name="connsiteY2411" fmla="*/ 796926 h 2380521"/>
              <a:gd name="connsiteX2412" fmla="*/ 870615 w 8023328"/>
              <a:gd name="connsiteY2412" fmla="*/ 812105 h 2380521"/>
              <a:gd name="connsiteX2413" fmla="*/ 856759 w 8023328"/>
              <a:gd name="connsiteY2413" fmla="*/ 796926 h 2380521"/>
              <a:gd name="connsiteX2414" fmla="*/ 870615 w 8023328"/>
              <a:gd name="connsiteY2414" fmla="*/ 782507 h 2380521"/>
              <a:gd name="connsiteX2415" fmla="*/ 799784 w 8023328"/>
              <a:gd name="connsiteY2415" fmla="*/ 782507 h 2380521"/>
              <a:gd name="connsiteX2416" fmla="*/ 812183 w 8023328"/>
              <a:gd name="connsiteY2416" fmla="*/ 796926 h 2380521"/>
              <a:gd name="connsiteX2417" fmla="*/ 799784 w 8023328"/>
              <a:gd name="connsiteY2417" fmla="*/ 812105 h 2380521"/>
              <a:gd name="connsiteX2418" fmla="*/ 785929 w 8023328"/>
              <a:gd name="connsiteY2418" fmla="*/ 796926 h 2380521"/>
              <a:gd name="connsiteX2419" fmla="*/ 799784 w 8023328"/>
              <a:gd name="connsiteY2419" fmla="*/ 782507 h 2380521"/>
              <a:gd name="connsiteX2420" fmla="*/ 724123 w 8023328"/>
              <a:gd name="connsiteY2420" fmla="*/ 782507 h 2380521"/>
              <a:gd name="connsiteX2421" fmla="*/ 737981 w 8023328"/>
              <a:gd name="connsiteY2421" fmla="*/ 796926 h 2380521"/>
              <a:gd name="connsiteX2422" fmla="*/ 724123 w 8023328"/>
              <a:gd name="connsiteY2422" fmla="*/ 812105 h 2380521"/>
              <a:gd name="connsiteX2423" fmla="*/ 711726 w 8023328"/>
              <a:gd name="connsiteY2423" fmla="*/ 796926 h 2380521"/>
              <a:gd name="connsiteX2424" fmla="*/ 724123 w 8023328"/>
              <a:gd name="connsiteY2424" fmla="*/ 782507 h 2380521"/>
              <a:gd name="connsiteX2425" fmla="*/ 653293 w 8023328"/>
              <a:gd name="connsiteY2425" fmla="*/ 782507 h 2380521"/>
              <a:gd name="connsiteX2426" fmla="*/ 667149 w 8023328"/>
              <a:gd name="connsiteY2426" fmla="*/ 796926 h 2380521"/>
              <a:gd name="connsiteX2427" fmla="*/ 653293 w 8023328"/>
              <a:gd name="connsiteY2427" fmla="*/ 812105 h 2380521"/>
              <a:gd name="connsiteX2428" fmla="*/ 640896 w 8023328"/>
              <a:gd name="connsiteY2428" fmla="*/ 796926 h 2380521"/>
              <a:gd name="connsiteX2429" fmla="*/ 653293 w 8023328"/>
              <a:gd name="connsiteY2429" fmla="*/ 782507 h 2380521"/>
              <a:gd name="connsiteX2430" fmla="*/ 584855 w 8023328"/>
              <a:gd name="connsiteY2430" fmla="*/ 782507 h 2380521"/>
              <a:gd name="connsiteX2431" fmla="*/ 599643 w 8023328"/>
              <a:gd name="connsiteY2431" fmla="*/ 796926 h 2380521"/>
              <a:gd name="connsiteX2432" fmla="*/ 584855 w 8023328"/>
              <a:gd name="connsiteY2432" fmla="*/ 812105 h 2380521"/>
              <a:gd name="connsiteX2433" fmla="*/ 570066 w 8023328"/>
              <a:gd name="connsiteY2433" fmla="*/ 796926 h 2380521"/>
              <a:gd name="connsiteX2434" fmla="*/ 584855 w 8023328"/>
              <a:gd name="connsiteY2434" fmla="*/ 782507 h 2380521"/>
              <a:gd name="connsiteX2435" fmla="*/ 513654 w 8023328"/>
              <a:gd name="connsiteY2435" fmla="*/ 782507 h 2380521"/>
              <a:gd name="connsiteX2436" fmla="*/ 528831 w 8023328"/>
              <a:gd name="connsiteY2436" fmla="*/ 796926 h 2380521"/>
              <a:gd name="connsiteX2437" fmla="*/ 513654 w 8023328"/>
              <a:gd name="connsiteY2437" fmla="*/ 812105 h 2380521"/>
              <a:gd name="connsiteX2438" fmla="*/ 499235 w 8023328"/>
              <a:gd name="connsiteY2438" fmla="*/ 796926 h 2380521"/>
              <a:gd name="connsiteX2439" fmla="*/ 513654 w 8023328"/>
              <a:gd name="connsiteY2439" fmla="*/ 782507 h 2380521"/>
              <a:gd name="connsiteX2440" fmla="*/ 439821 w 8023328"/>
              <a:gd name="connsiteY2440" fmla="*/ 782507 h 2380521"/>
              <a:gd name="connsiteX2441" fmla="*/ 454611 w 8023328"/>
              <a:gd name="connsiteY2441" fmla="*/ 796926 h 2380521"/>
              <a:gd name="connsiteX2442" fmla="*/ 439821 w 8023328"/>
              <a:gd name="connsiteY2442" fmla="*/ 812105 h 2380521"/>
              <a:gd name="connsiteX2443" fmla="*/ 425033 w 8023328"/>
              <a:gd name="connsiteY2443" fmla="*/ 796926 h 2380521"/>
              <a:gd name="connsiteX2444" fmla="*/ 439821 w 8023328"/>
              <a:gd name="connsiteY2444" fmla="*/ 782507 h 2380521"/>
              <a:gd name="connsiteX2445" fmla="*/ 4439056 w 8023328"/>
              <a:gd name="connsiteY2445" fmla="*/ 711678 h 2380521"/>
              <a:gd name="connsiteX2446" fmla="*/ 4451453 w 8023328"/>
              <a:gd name="connsiteY2446" fmla="*/ 724075 h 2380521"/>
              <a:gd name="connsiteX2447" fmla="*/ 4439056 w 8023328"/>
              <a:gd name="connsiteY2447" fmla="*/ 737932 h 2380521"/>
              <a:gd name="connsiteX2448" fmla="*/ 4425200 w 8023328"/>
              <a:gd name="connsiteY2448" fmla="*/ 724075 h 2380521"/>
              <a:gd name="connsiteX2449" fmla="*/ 4439056 w 8023328"/>
              <a:gd name="connsiteY2449" fmla="*/ 711678 h 2380521"/>
              <a:gd name="connsiteX2450" fmla="*/ 4366768 w 8023328"/>
              <a:gd name="connsiteY2450" fmla="*/ 711678 h 2380521"/>
              <a:gd name="connsiteX2451" fmla="*/ 4380624 w 8023328"/>
              <a:gd name="connsiteY2451" fmla="*/ 724075 h 2380521"/>
              <a:gd name="connsiteX2452" fmla="*/ 4366768 w 8023328"/>
              <a:gd name="connsiteY2452" fmla="*/ 737932 h 2380521"/>
              <a:gd name="connsiteX2453" fmla="*/ 4354371 w 8023328"/>
              <a:gd name="connsiteY2453" fmla="*/ 724075 h 2380521"/>
              <a:gd name="connsiteX2454" fmla="*/ 4366768 w 8023328"/>
              <a:gd name="connsiteY2454" fmla="*/ 711678 h 2380521"/>
              <a:gd name="connsiteX2455" fmla="*/ 4295937 w 8023328"/>
              <a:gd name="connsiteY2455" fmla="*/ 711678 h 2380521"/>
              <a:gd name="connsiteX2456" fmla="*/ 4309793 w 8023328"/>
              <a:gd name="connsiteY2456" fmla="*/ 724075 h 2380521"/>
              <a:gd name="connsiteX2457" fmla="*/ 4295937 w 8023328"/>
              <a:gd name="connsiteY2457" fmla="*/ 737932 h 2380521"/>
              <a:gd name="connsiteX2458" fmla="*/ 4283540 w 8023328"/>
              <a:gd name="connsiteY2458" fmla="*/ 724075 h 2380521"/>
              <a:gd name="connsiteX2459" fmla="*/ 4295937 w 8023328"/>
              <a:gd name="connsiteY2459" fmla="*/ 711678 h 2380521"/>
              <a:gd name="connsiteX2460" fmla="*/ 4225107 w 8023328"/>
              <a:gd name="connsiteY2460" fmla="*/ 711678 h 2380521"/>
              <a:gd name="connsiteX2461" fmla="*/ 4238963 w 8023328"/>
              <a:gd name="connsiteY2461" fmla="*/ 724075 h 2380521"/>
              <a:gd name="connsiteX2462" fmla="*/ 4225107 w 8023328"/>
              <a:gd name="connsiteY2462" fmla="*/ 737932 h 2380521"/>
              <a:gd name="connsiteX2463" fmla="*/ 4212710 w 8023328"/>
              <a:gd name="connsiteY2463" fmla="*/ 724075 h 2380521"/>
              <a:gd name="connsiteX2464" fmla="*/ 4225107 w 8023328"/>
              <a:gd name="connsiteY2464" fmla="*/ 711678 h 2380521"/>
              <a:gd name="connsiteX2465" fmla="*/ 4153295 w 8023328"/>
              <a:gd name="connsiteY2465" fmla="*/ 711678 h 2380521"/>
              <a:gd name="connsiteX2466" fmla="*/ 4168083 w 8023328"/>
              <a:gd name="connsiteY2466" fmla="*/ 724075 h 2380521"/>
              <a:gd name="connsiteX2467" fmla="*/ 4153295 w 8023328"/>
              <a:gd name="connsiteY2467" fmla="*/ 737932 h 2380521"/>
              <a:gd name="connsiteX2468" fmla="*/ 4138507 w 8023328"/>
              <a:gd name="connsiteY2468" fmla="*/ 724075 h 2380521"/>
              <a:gd name="connsiteX2469" fmla="*/ 4153295 w 8023328"/>
              <a:gd name="connsiteY2469" fmla="*/ 711678 h 2380521"/>
              <a:gd name="connsiteX2470" fmla="*/ 4082465 w 8023328"/>
              <a:gd name="connsiteY2470" fmla="*/ 711678 h 2380521"/>
              <a:gd name="connsiteX2471" fmla="*/ 4097254 w 8023328"/>
              <a:gd name="connsiteY2471" fmla="*/ 724075 h 2380521"/>
              <a:gd name="connsiteX2472" fmla="*/ 4082465 w 8023328"/>
              <a:gd name="connsiteY2472" fmla="*/ 737932 h 2380521"/>
              <a:gd name="connsiteX2473" fmla="*/ 4067676 w 8023328"/>
              <a:gd name="connsiteY2473" fmla="*/ 724075 h 2380521"/>
              <a:gd name="connsiteX2474" fmla="*/ 4082465 w 8023328"/>
              <a:gd name="connsiteY2474" fmla="*/ 711678 h 2380521"/>
              <a:gd name="connsiteX2475" fmla="*/ 4010703 w 8023328"/>
              <a:gd name="connsiteY2475" fmla="*/ 711678 h 2380521"/>
              <a:gd name="connsiteX2476" fmla="*/ 4023100 w 8023328"/>
              <a:gd name="connsiteY2476" fmla="*/ 724075 h 2380521"/>
              <a:gd name="connsiteX2477" fmla="*/ 4010703 w 8023328"/>
              <a:gd name="connsiteY2477" fmla="*/ 737932 h 2380521"/>
              <a:gd name="connsiteX2478" fmla="*/ 3996847 w 8023328"/>
              <a:gd name="connsiteY2478" fmla="*/ 724075 h 2380521"/>
              <a:gd name="connsiteX2479" fmla="*/ 4010703 w 8023328"/>
              <a:gd name="connsiteY2479" fmla="*/ 711678 h 2380521"/>
              <a:gd name="connsiteX2480" fmla="*/ 3939871 w 8023328"/>
              <a:gd name="connsiteY2480" fmla="*/ 711678 h 2380521"/>
              <a:gd name="connsiteX2481" fmla="*/ 3952268 w 8023328"/>
              <a:gd name="connsiteY2481" fmla="*/ 724075 h 2380521"/>
              <a:gd name="connsiteX2482" fmla="*/ 3939871 w 8023328"/>
              <a:gd name="connsiteY2482" fmla="*/ 737932 h 2380521"/>
              <a:gd name="connsiteX2483" fmla="*/ 3926015 w 8023328"/>
              <a:gd name="connsiteY2483" fmla="*/ 724075 h 2380521"/>
              <a:gd name="connsiteX2484" fmla="*/ 3939871 w 8023328"/>
              <a:gd name="connsiteY2484" fmla="*/ 711678 h 2380521"/>
              <a:gd name="connsiteX2485" fmla="*/ 3869042 w 8023328"/>
              <a:gd name="connsiteY2485" fmla="*/ 711678 h 2380521"/>
              <a:gd name="connsiteX2486" fmla="*/ 3881439 w 8023328"/>
              <a:gd name="connsiteY2486" fmla="*/ 724075 h 2380521"/>
              <a:gd name="connsiteX2487" fmla="*/ 3869042 w 8023328"/>
              <a:gd name="connsiteY2487" fmla="*/ 737932 h 2380521"/>
              <a:gd name="connsiteX2488" fmla="*/ 3855186 w 8023328"/>
              <a:gd name="connsiteY2488" fmla="*/ 724075 h 2380521"/>
              <a:gd name="connsiteX2489" fmla="*/ 3869042 w 8023328"/>
              <a:gd name="connsiteY2489" fmla="*/ 711678 h 2380521"/>
              <a:gd name="connsiteX2490" fmla="*/ 3796752 w 8023328"/>
              <a:gd name="connsiteY2490" fmla="*/ 711678 h 2380521"/>
              <a:gd name="connsiteX2491" fmla="*/ 3810608 w 8023328"/>
              <a:gd name="connsiteY2491" fmla="*/ 724075 h 2380521"/>
              <a:gd name="connsiteX2492" fmla="*/ 3796752 w 8023328"/>
              <a:gd name="connsiteY2492" fmla="*/ 737932 h 2380521"/>
              <a:gd name="connsiteX2493" fmla="*/ 3784355 w 8023328"/>
              <a:gd name="connsiteY2493" fmla="*/ 724075 h 2380521"/>
              <a:gd name="connsiteX2494" fmla="*/ 3796752 w 8023328"/>
              <a:gd name="connsiteY2494" fmla="*/ 711678 h 2380521"/>
              <a:gd name="connsiteX2495" fmla="*/ 3725922 w 8023328"/>
              <a:gd name="connsiteY2495" fmla="*/ 711678 h 2380521"/>
              <a:gd name="connsiteX2496" fmla="*/ 3739778 w 8023328"/>
              <a:gd name="connsiteY2496" fmla="*/ 724075 h 2380521"/>
              <a:gd name="connsiteX2497" fmla="*/ 3725922 w 8023328"/>
              <a:gd name="connsiteY2497" fmla="*/ 737932 h 2380521"/>
              <a:gd name="connsiteX2498" fmla="*/ 3713525 w 8023328"/>
              <a:gd name="connsiteY2498" fmla="*/ 724075 h 2380521"/>
              <a:gd name="connsiteX2499" fmla="*/ 3725922 w 8023328"/>
              <a:gd name="connsiteY2499" fmla="*/ 711678 h 2380521"/>
              <a:gd name="connsiteX2500" fmla="*/ 3655091 w 8023328"/>
              <a:gd name="connsiteY2500" fmla="*/ 711678 h 2380521"/>
              <a:gd name="connsiteX2501" fmla="*/ 3668947 w 8023328"/>
              <a:gd name="connsiteY2501" fmla="*/ 724075 h 2380521"/>
              <a:gd name="connsiteX2502" fmla="*/ 3655091 w 8023328"/>
              <a:gd name="connsiteY2502" fmla="*/ 737932 h 2380521"/>
              <a:gd name="connsiteX2503" fmla="*/ 3642694 w 8023328"/>
              <a:gd name="connsiteY2503" fmla="*/ 724075 h 2380521"/>
              <a:gd name="connsiteX2504" fmla="*/ 3655091 w 8023328"/>
              <a:gd name="connsiteY2504" fmla="*/ 711678 h 2380521"/>
              <a:gd name="connsiteX2505" fmla="*/ 3583280 w 8023328"/>
              <a:gd name="connsiteY2505" fmla="*/ 711678 h 2380521"/>
              <a:gd name="connsiteX2506" fmla="*/ 3598069 w 8023328"/>
              <a:gd name="connsiteY2506" fmla="*/ 724075 h 2380521"/>
              <a:gd name="connsiteX2507" fmla="*/ 3583280 w 8023328"/>
              <a:gd name="connsiteY2507" fmla="*/ 737932 h 2380521"/>
              <a:gd name="connsiteX2508" fmla="*/ 3568491 w 8023328"/>
              <a:gd name="connsiteY2508" fmla="*/ 724075 h 2380521"/>
              <a:gd name="connsiteX2509" fmla="*/ 3583280 w 8023328"/>
              <a:gd name="connsiteY2509" fmla="*/ 711678 h 2380521"/>
              <a:gd name="connsiteX2510" fmla="*/ 3512449 w 8023328"/>
              <a:gd name="connsiteY2510" fmla="*/ 711678 h 2380521"/>
              <a:gd name="connsiteX2511" fmla="*/ 3527237 w 8023328"/>
              <a:gd name="connsiteY2511" fmla="*/ 724075 h 2380521"/>
              <a:gd name="connsiteX2512" fmla="*/ 3512449 w 8023328"/>
              <a:gd name="connsiteY2512" fmla="*/ 737932 h 2380521"/>
              <a:gd name="connsiteX2513" fmla="*/ 3497661 w 8023328"/>
              <a:gd name="connsiteY2513" fmla="*/ 724075 h 2380521"/>
              <a:gd name="connsiteX2514" fmla="*/ 3512449 w 8023328"/>
              <a:gd name="connsiteY2514" fmla="*/ 711678 h 2380521"/>
              <a:gd name="connsiteX2515" fmla="*/ 3441619 w 8023328"/>
              <a:gd name="connsiteY2515" fmla="*/ 711678 h 2380521"/>
              <a:gd name="connsiteX2516" fmla="*/ 3456408 w 8023328"/>
              <a:gd name="connsiteY2516" fmla="*/ 724075 h 2380521"/>
              <a:gd name="connsiteX2517" fmla="*/ 3441619 w 8023328"/>
              <a:gd name="connsiteY2517" fmla="*/ 737932 h 2380521"/>
              <a:gd name="connsiteX2518" fmla="*/ 3426830 w 8023328"/>
              <a:gd name="connsiteY2518" fmla="*/ 724075 h 2380521"/>
              <a:gd name="connsiteX2519" fmla="*/ 3441619 w 8023328"/>
              <a:gd name="connsiteY2519" fmla="*/ 711678 h 2380521"/>
              <a:gd name="connsiteX2520" fmla="*/ 3369857 w 8023328"/>
              <a:gd name="connsiteY2520" fmla="*/ 711678 h 2380521"/>
              <a:gd name="connsiteX2521" fmla="*/ 3382254 w 8023328"/>
              <a:gd name="connsiteY2521" fmla="*/ 724075 h 2380521"/>
              <a:gd name="connsiteX2522" fmla="*/ 3369857 w 8023328"/>
              <a:gd name="connsiteY2522" fmla="*/ 737932 h 2380521"/>
              <a:gd name="connsiteX2523" fmla="*/ 3356001 w 8023328"/>
              <a:gd name="connsiteY2523" fmla="*/ 724075 h 2380521"/>
              <a:gd name="connsiteX2524" fmla="*/ 3369857 w 8023328"/>
              <a:gd name="connsiteY2524" fmla="*/ 711678 h 2380521"/>
              <a:gd name="connsiteX2525" fmla="*/ 3299086 w 8023328"/>
              <a:gd name="connsiteY2525" fmla="*/ 711678 h 2380521"/>
              <a:gd name="connsiteX2526" fmla="*/ 3311485 w 8023328"/>
              <a:gd name="connsiteY2526" fmla="*/ 724075 h 2380521"/>
              <a:gd name="connsiteX2527" fmla="*/ 3299086 w 8023328"/>
              <a:gd name="connsiteY2527" fmla="*/ 737932 h 2380521"/>
              <a:gd name="connsiteX2528" fmla="*/ 3285234 w 8023328"/>
              <a:gd name="connsiteY2528" fmla="*/ 724075 h 2380521"/>
              <a:gd name="connsiteX2529" fmla="*/ 3299086 w 8023328"/>
              <a:gd name="connsiteY2529" fmla="*/ 711678 h 2380521"/>
              <a:gd name="connsiteX2530" fmla="*/ 3228255 w 8023328"/>
              <a:gd name="connsiteY2530" fmla="*/ 711678 h 2380521"/>
              <a:gd name="connsiteX2531" fmla="*/ 3240654 w 8023328"/>
              <a:gd name="connsiteY2531" fmla="*/ 724075 h 2380521"/>
              <a:gd name="connsiteX2532" fmla="*/ 3228255 w 8023328"/>
              <a:gd name="connsiteY2532" fmla="*/ 737932 h 2380521"/>
              <a:gd name="connsiteX2533" fmla="*/ 3214398 w 8023328"/>
              <a:gd name="connsiteY2533" fmla="*/ 724075 h 2380521"/>
              <a:gd name="connsiteX2534" fmla="*/ 3228255 w 8023328"/>
              <a:gd name="connsiteY2534" fmla="*/ 711678 h 2380521"/>
              <a:gd name="connsiteX2535" fmla="*/ 3152594 w 8023328"/>
              <a:gd name="connsiteY2535" fmla="*/ 711678 h 2380521"/>
              <a:gd name="connsiteX2536" fmla="*/ 3166451 w 8023328"/>
              <a:gd name="connsiteY2536" fmla="*/ 724075 h 2380521"/>
              <a:gd name="connsiteX2537" fmla="*/ 3152594 w 8023328"/>
              <a:gd name="connsiteY2537" fmla="*/ 737932 h 2380521"/>
              <a:gd name="connsiteX2538" fmla="*/ 3140198 w 8023328"/>
              <a:gd name="connsiteY2538" fmla="*/ 725534 h 2380521"/>
              <a:gd name="connsiteX2539" fmla="*/ 3152594 w 8023328"/>
              <a:gd name="connsiteY2539" fmla="*/ 711678 h 2380521"/>
              <a:gd name="connsiteX2540" fmla="*/ 3081763 w 8023328"/>
              <a:gd name="connsiteY2540" fmla="*/ 711678 h 2380521"/>
              <a:gd name="connsiteX2541" fmla="*/ 3095617 w 8023328"/>
              <a:gd name="connsiteY2541" fmla="*/ 725534 h 2380521"/>
              <a:gd name="connsiteX2542" fmla="*/ 3081763 w 8023328"/>
              <a:gd name="connsiteY2542" fmla="*/ 737932 h 2380521"/>
              <a:gd name="connsiteX2543" fmla="*/ 3069364 w 8023328"/>
              <a:gd name="connsiteY2543" fmla="*/ 725534 h 2380521"/>
              <a:gd name="connsiteX2544" fmla="*/ 3081763 w 8023328"/>
              <a:gd name="connsiteY2544" fmla="*/ 711678 h 2380521"/>
              <a:gd name="connsiteX2545" fmla="*/ 3013707 w 8023328"/>
              <a:gd name="connsiteY2545" fmla="*/ 711678 h 2380521"/>
              <a:gd name="connsiteX2546" fmla="*/ 3028128 w 8023328"/>
              <a:gd name="connsiteY2546" fmla="*/ 725534 h 2380521"/>
              <a:gd name="connsiteX2547" fmla="*/ 3013707 w 8023328"/>
              <a:gd name="connsiteY2547" fmla="*/ 737932 h 2380521"/>
              <a:gd name="connsiteX2548" fmla="*/ 2998531 w 8023328"/>
              <a:gd name="connsiteY2548" fmla="*/ 725534 h 2380521"/>
              <a:gd name="connsiteX2549" fmla="*/ 3013707 w 8023328"/>
              <a:gd name="connsiteY2549" fmla="*/ 711678 h 2380521"/>
              <a:gd name="connsiteX2550" fmla="*/ 2942485 w 8023328"/>
              <a:gd name="connsiteY2550" fmla="*/ 711678 h 2380521"/>
              <a:gd name="connsiteX2551" fmla="*/ 2957280 w 8023328"/>
              <a:gd name="connsiteY2551" fmla="*/ 725534 h 2380521"/>
              <a:gd name="connsiteX2552" fmla="*/ 2942485 w 8023328"/>
              <a:gd name="connsiteY2552" fmla="*/ 737932 h 2380521"/>
              <a:gd name="connsiteX2553" fmla="*/ 2927700 w 8023328"/>
              <a:gd name="connsiteY2553" fmla="*/ 725534 h 2380521"/>
              <a:gd name="connsiteX2554" fmla="*/ 2942485 w 8023328"/>
              <a:gd name="connsiteY2554" fmla="*/ 711678 h 2380521"/>
              <a:gd name="connsiteX2555" fmla="*/ 1440620 w 8023328"/>
              <a:gd name="connsiteY2555" fmla="*/ 711678 h 2380521"/>
              <a:gd name="connsiteX2556" fmla="*/ 1453017 w 8023328"/>
              <a:gd name="connsiteY2556" fmla="*/ 726466 h 2380521"/>
              <a:gd name="connsiteX2557" fmla="*/ 1440620 w 8023328"/>
              <a:gd name="connsiteY2557" fmla="*/ 741255 h 2380521"/>
              <a:gd name="connsiteX2558" fmla="*/ 1426765 w 8023328"/>
              <a:gd name="connsiteY2558" fmla="*/ 726466 h 2380521"/>
              <a:gd name="connsiteX2559" fmla="*/ 1440620 w 8023328"/>
              <a:gd name="connsiteY2559" fmla="*/ 711678 h 2380521"/>
              <a:gd name="connsiteX2560" fmla="*/ 1368338 w 8023328"/>
              <a:gd name="connsiteY2560" fmla="*/ 711678 h 2380521"/>
              <a:gd name="connsiteX2561" fmla="*/ 1382190 w 8023328"/>
              <a:gd name="connsiteY2561" fmla="*/ 726466 h 2380521"/>
              <a:gd name="connsiteX2562" fmla="*/ 1368338 w 8023328"/>
              <a:gd name="connsiteY2562" fmla="*/ 741255 h 2380521"/>
              <a:gd name="connsiteX2563" fmla="*/ 1355939 w 8023328"/>
              <a:gd name="connsiteY2563" fmla="*/ 726466 h 2380521"/>
              <a:gd name="connsiteX2564" fmla="*/ 1368338 w 8023328"/>
              <a:gd name="connsiteY2564" fmla="*/ 711678 h 2380521"/>
              <a:gd name="connsiteX2565" fmla="*/ 1297509 w 8023328"/>
              <a:gd name="connsiteY2565" fmla="*/ 711678 h 2380521"/>
              <a:gd name="connsiteX2566" fmla="*/ 1311366 w 8023328"/>
              <a:gd name="connsiteY2566" fmla="*/ 726466 h 2380521"/>
              <a:gd name="connsiteX2567" fmla="*/ 1297509 w 8023328"/>
              <a:gd name="connsiteY2567" fmla="*/ 741255 h 2380521"/>
              <a:gd name="connsiteX2568" fmla="*/ 1285113 w 8023328"/>
              <a:gd name="connsiteY2568" fmla="*/ 726466 h 2380521"/>
              <a:gd name="connsiteX2569" fmla="*/ 1297509 w 8023328"/>
              <a:gd name="connsiteY2569" fmla="*/ 711678 h 2380521"/>
              <a:gd name="connsiteX2570" fmla="*/ 1226678 w 8023328"/>
              <a:gd name="connsiteY2570" fmla="*/ 711678 h 2380521"/>
              <a:gd name="connsiteX2571" fmla="*/ 1240535 w 8023328"/>
              <a:gd name="connsiteY2571" fmla="*/ 726466 h 2380521"/>
              <a:gd name="connsiteX2572" fmla="*/ 1226678 w 8023328"/>
              <a:gd name="connsiteY2572" fmla="*/ 741255 h 2380521"/>
              <a:gd name="connsiteX2573" fmla="*/ 1214288 w 8023328"/>
              <a:gd name="connsiteY2573" fmla="*/ 726466 h 2380521"/>
              <a:gd name="connsiteX2574" fmla="*/ 1226678 w 8023328"/>
              <a:gd name="connsiteY2574" fmla="*/ 711678 h 2380521"/>
              <a:gd name="connsiteX2575" fmla="*/ 1154874 w 8023328"/>
              <a:gd name="connsiteY2575" fmla="*/ 711678 h 2380521"/>
              <a:gd name="connsiteX2576" fmla="*/ 1169663 w 8023328"/>
              <a:gd name="connsiteY2576" fmla="*/ 726466 h 2380521"/>
              <a:gd name="connsiteX2577" fmla="*/ 1154874 w 8023328"/>
              <a:gd name="connsiteY2577" fmla="*/ 741255 h 2380521"/>
              <a:gd name="connsiteX2578" fmla="*/ 1140086 w 8023328"/>
              <a:gd name="connsiteY2578" fmla="*/ 726466 h 2380521"/>
              <a:gd name="connsiteX2579" fmla="*/ 1154874 w 8023328"/>
              <a:gd name="connsiteY2579" fmla="*/ 711678 h 2380521"/>
              <a:gd name="connsiteX2580" fmla="*/ 1084045 w 8023328"/>
              <a:gd name="connsiteY2580" fmla="*/ 711678 h 2380521"/>
              <a:gd name="connsiteX2581" fmla="*/ 1098833 w 8023328"/>
              <a:gd name="connsiteY2581" fmla="*/ 726466 h 2380521"/>
              <a:gd name="connsiteX2582" fmla="*/ 1084045 w 8023328"/>
              <a:gd name="connsiteY2582" fmla="*/ 741255 h 2380521"/>
              <a:gd name="connsiteX2583" fmla="*/ 1069255 w 8023328"/>
              <a:gd name="connsiteY2583" fmla="*/ 726466 h 2380521"/>
              <a:gd name="connsiteX2584" fmla="*/ 1084045 w 8023328"/>
              <a:gd name="connsiteY2584" fmla="*/ 711678 h 2380521"/>
              <a:gd name="connsiteX2585" fmla="*/ 1013599 w 8023328"/>
              <a:gd name="connsiteY2585" fmla="*/ 711678 h 2380521"/>
              <a:gd name="connsiteX2586" fmla="*/ 1028021 w 8023328"/>
              <a:gd name="connsiteY2586" fmla="*/ 726466 h 2380521"/>
              <a:gd name="connsiteX2587" fmla="*/ 1013599 w 8023328"/>
              <a:gd name="connsiteY2587" fmla="*/ 741255 h 2380521"/>
              <a:gd name="connsiteX2588" fmla="*/ 998423 w 8023328"/>
              <a:gd name="connsiteY2588" fmla="*/ 726466 h 2380521"/>
              <a:gd name="connsiteX2589" fmla="*/ 1013599 w 8023328"/>
              <a:gd name="connsiteY2589" fmla="*/ 711678 h 2380521"/>
              <a:gd name="connsiteX2590" fmla="*/ 941452 w 8023328"/>
              <a:gd name="connsiteY2590" fmla="*/ 711678 h 2380521"/>
              <a:gd name="connsiteX2591" fmla="*/ 953848 w 8023328"/>
              <a:gd name="connsiteY2591" fmla="*/ 726466 h 2380521"/>
              <a:gd name="connsiteX2592" fmla="*/ 941452 w 8023328"/>
              <a:gd name="connsiteY2592" fmla="*/ 741255 h 2380521"/>
              <a:gd name="connsiteX2593" fmla="*/ 927596 w 8023328"/>
              <a:gd name="connsiteY2593" fmla="*/ 726466 h 2380521"/>
              <a:gd name="connsiteX2594" fmla="*/ 941452 w 8023328"/>
              <a:gd name="connsiteY2594" fmla="*/ 711678 h 2380521"/>
              <a:gd name="connsiteX2595" fmla="*/ 870620 w 8023328"/>
              <a:gd name="connsiteY2595" fmla="*/ 711678 h 2380521"/>
              <a:gd name="connsiteX2596" fmla="*/ 883018 w 8023328"/>
              <a:gd name="connsiteY2596" fmla="*/ 726466 h 2380521"/>
              <a:gd name="connsiteX2597" fmla="*/ 870620 w 8023328"/>
              <a:gd name="connsiteY2597" fmla="*/ 741255 h 2380521"/>
              <a:gd name="connsiteX2598" fmla="*/ 856764 w 8023328"/>
              <a:gd name="connsiteY2598" fmla="*/ 726466 h 2380521"/>
              <a:gd name="connsiteX2599" fmla="*/ 870620 w 8023328"/>
              <a:gd name="connsiteY2599" fmla="*/ 711678 h 2380521"/>
              <a:gd name="connsiteX2600" fmla="*/ 798331 w 8023328"/>
              <a:gd name="connsiteY2600" fmla="*/ 711678 h 2380521"/>
              <a:gd name="connsiteX2601" fmla="*/ 812189 w 8023328"/>
              <a:gd name="connsiteY2601" fmla="*/ 726466 h 2380521"/>
              <a:gd name="connsiteX2602" fmla="*/ 798331 w 8023328"/>
              <a:gd name="connsiteY2602" fmla="*/ 741255 h 2380521"/>
              <a:gd name="connsiteX2603" fmla="*/ 785934 w 8023328"/>
              <a:gd name="connsiteY2603" fmla="*/ 726466 h 2380521"/>
              <a:gd name="connsiteX2604" fmla="*/ 798331 w 8023328"/>
              <a:gd name="connsiteY2604" fmla="*/ 711678 h 2380521"/>
              <a:gd name="connsiteX2605" fmla="*/ 724129 w 8023328"/>
              <a:gd name="connsiteY2605" fmla="*/ 711678 h 2380521"/>
              <a:gd name="connsiteX2606" fmla="*/ 737986 w 8023328"/>
              <a:gd name="connsiteY2606" fmla="*/ 726466 h 2380521"/>
              <a:gd name="connsiteX2607" fmla="*/ 724129 w 8023328"/>
              <a:gd name="connsiteY2607" fmla="*/ 741255 h 2380521"/>
              <a:gd name="connsiteX2608" fmla="*/ 711732 w 8023328"/>
              <a:gd name="connsiteY2608" fmla="*/ 726466 h 2380521"/>
              <a:gd name="connsiteX2609" fmla="*/ 724129 w 8023328"/>
              <a:gd name="connsiteY2609" fmla="*/ 711678 h 2380521"/>
              <a:gd name="connsiteX2610" fmla="*/ 653298 w 8023328"/>
              <a:gd name="connsiteY2610" fmla="*/ 711678 h 2380521"/>
              <a:gd name="connsiteX2611" fmla="*/ 667154 w 8023328"/>
              <a:gd name="connsiteY2611" fmla="*/ 726466 h 2380521"/>
              <a:gd name="connsiteX2612" fmla="*/ 653298 w 8023328"/>
              <a:gd name="connsiteY2612" fmla="*/ 741255 h 2380521"/>
              <a:gd name="connsiteX2613" fmla="*/ 640901 w 8023328"/>
              <a:gd name="connsiteY2613" fmla="*/ 726466 h 2380521"/>
              <a:gd name="connsiteX2614" fmla="*/ 653298 w 8023328"/>
              <a:gd name="connsiteY2614" fmla="*/ 711678 h 2380521"/>
              <a:gd name="connsiteX2615" fmla="*/ 584861 w 8023328"/>
              <a:gd name="connsiteY2615" fmla="*/ 711678 h 2380521"/>
              <a:gd name="connsiteX2616" fmla="*/ 599648 w 8023328"/>
              <a:gd name="connsiteY2616" fmla="*/ 726466 h 2380521"/>
              <a:gd name="connsiteX2617" fmla="*/ 584861 w 8023328"/>
              <a:gd name="connsiteY2617" fmla="*/ 741255 h 2380521"/>
              <a:gd name="connsiteX2618" fmla="*/ 570071 w 8023328"/>
              <a:gd name="connsiteY2618" fmla="*/ 726466 h 2380521"/>
              <a:gd name="connsiteX2619" fmla="*/ 584861 w 8023328"/>
              <a:gd name="connsiteY2619" fmla="*/ 711678 h 2380521"/>
              <a:gd name="connsiteX2620" fmla="*/ 513660 w 8023328"/>
              <a:gd name="connsiteY2620" fmla="*/ 711678 h 2380521"/>
              <a:gd name="connsiteX2621" fmla="*/ 528837 w 8023328"/>
              <a:gd name="connsiteY2621" fmla="*/ 726466 h 2380521"/>
              <a:gd name="connsiteX2622" fmla="*/ 513660 w 8023328"/>
              <a:gd name="connsiteY2622" fmla="*/ 741255 h 2380521"/>
              <a:gd name="connsiteX2623" fmla="*/ 499241 w 8023328"/>
              <a:gd name="connsiteY2623" fmla="*/ 726466 h 2380521"/>
              <a:gd name="connsiteX2624" fmla="*/ 513660 w 8023328"/>
              <a:gd name="connsiteY2624" fmla="*/ 711678 h 2380521"/>
              <a:gd name="connsiteX2625" fmla="*/ 439826 w 8023328"/>
              <a:gd name="connsiteY2625" fmla="*/ 711678 h 2380521"/>
              <a:gd name="connsiteX2626" fmla="*/ 454616 w 8023328"/>
              <a:gd name="connsiteY2626" fmla="*/ 726466 h 2380521"/>
              <a:gd name="connsiteX2627" fmla="*/ 439826 w 8023328"/>
              <a:gd name="connsiteY2627" fmla="*/ 741255 h 2380521"/>
              <a:gd name="connsiteX2628" fmla="*/ 425038 w 8023328"/>
              <a:gd name="connsiteY2628" fmla="*/ 726466 h 2380521"/>
              <a:gd name="connsiteX2629" fmla="*/ 439826 w 8023328"/>
              <a:gd name="connsiteY2629" fmla="*/ 711678 h 2380521"/>
              <a:gd name="connsiteX2630" fmla="*/ 368064 w 8023328"/>
              <a:gd name="connsiteY2630" fmla="*/ 711678 h 2380521"/>
              <a:gd name="connsiteX2631" fmla="*/ 380462 w 8023328"/>
              <a:gd name="connsiteY2631" fmla="*/ 726466 h 2380521"/>
              <a:gd name="connsiteX2632" fmla="*/ 368064 w 8023328"/>
              <a:gd name="connsiteY2632" fmla="*/ 741255 h 2380521"/>
              <a:gd name="connsiteX2633" fmla="*/ 354207 w 8023328"/>
              <a:gd name="connsiteY2633" fmla="*/ 726466 h 2380521"/>
              <a:gd name="connsiteX2634" fmla="*/ 368064 w 8023328"/>
              <a:gd name="connsiteY2634" fmla="*/ 711678 h 2380521"/>
              <a:gd name="connsiteX2635" fmla="*/ 297232 w 8023328"/>
              <a:gd name="connsiteY2635" fmla="*/ 711678 h 2380521"/>
              <a:gd name="connsiteX2636" fmla="*/ 309630 w 8023328"/>
              <a:gd name="connsiteY2636" fmla="*/ 726466 h 2380521"/>
              <a:gd name="connsiteX2637" fmla="*/ 297232 w 8023328"/>
              <a:gd name="connsiteY2637" fmla="*/ 741255 h 2380521"/>
              <a:gd name="connsiteX2638" fmla="*/ 283376 w 8023328"/>
              <a:gd name="connsiteY2638" fmla="*/ 726466 h 2380521"/>
              <a:gd name="connsiteX2639" fmla="*/ 297232 w 8023328"/>
              <a:gd name="connsiteY2639" fmla="*/ 711678 h 2380521"/>
              <a:gd name="connsiteX2640" fmla="*/ 226403 w 8023328"/>
              <a:gd name="connsiteY2640" fmla="*/ 711678 h 2380521"/>
              <a:gd name="connsiteX2641" fmla="*/ 238801 w 8023328"/>
              <a:gd name="connsiteY2641" fmla="*/ 726466 h 2380521"/>
              <a:gd name="connsiteX2642" fmla="*/ 226403 w 8023328"/>
              <a:gd name="connsiteY2642" fmla="*/ 741255 h 2380521"/>
              <a:gd name="connsiteX2643" fmla="*/ 212548 w 8023328"/>
              <a:gd name="connsiteY2643" fmla="*/ 726466 h 2380521"/>
              <a:gd name="connsiteX2644" fmla="*/ 226403 w 8023328"/>
              <a:gd name="connsiteY2644" fmla="*/ 711678 h 2380521"/>
              <a:gd name="connsiteX2645" fmla="*/ 154106 w 8023328"/>
              <a:gd name="connsiteY2645" fmla="*/ 711678 h 2380521"/>
              <a:gd name="connsiteX2646" fmla="*/ 167962 w 8023328"/>
              <a:gd name="connsiteY2646" fmla="*/ 726466 h 2380521"/>
              <a:gd name="connsiteX2647" fmla="*/ 154106 w 8023328"/>
              <a:gd name="connsiteY2647" fmla="*/ 741255 h 2380521"/>
              <a:gd name="connsiteX2648" fmla="*/ 141708 w 8023328"/>
              <a:gd name="connsiteY2648" fmla="*/ 726466 h 2380521"/>
              <a:gd name="connsiteX2649" fmla="*/ 154106 w 8023328"/>
              <a:gd name="connsiteY2649" fmla="*/ 711678 h 2380521"/>
              <a:gd name="connsiteX2650" fmla="*/ 4227498 w 8023328"/>
              <a:gd name="connsiteY2650" fmla="*/ 640846 h 2380521"/>
              <a:gd name="connsiteX2651" fmla="*/ 4242286 w 8023328"/>
              <a:gd name="connsiteY2651" fmla="*/ 653243 h 2380521"/>
              <a:gd name="connsiteX2652" fmla="*/ 4227498 w 8023328"/>
              <a:gd name="connsiteY2652" fmla="*/ 667100 h 2380521"/>
              <a:gd name="connsiteX2653" fmla="*/ 4212710 w 8023328"/>
              <a:gd name="connsiteY2653" fmla="*/ 653243 h 2380521"/>
              <a:gd name="connsiteX2654" fmla="*/ 4227498 w 8023328"/>
              <a:gd name="connsiteY2654" fmla="*/ 640846 h 2380521"/>
              <a:gd name="connsiteX2655" fmla="*/ 4153295 w 8023328"/>
              <a:gd name="connsiteY2655" fmla="*/ 640846 h 2380521"/>
              <a:gd name="connsiteX2656" fmla="*/ 4168083 w 8023328"/>
              <a:gd name="connsiteY2656" fmla="*/ 653243 h 2380521"/>
              <a:gd name="connsiteX2657" fmla="*/ 4153295 w 8023328"/>
              <a:gd name="connsiteY2657" fmla="*/ 667100 h 2380521"/>
              <a:gd name="connsiteX2658" fmla="*/ 4138507 w 8023328"/>
              <a:gd name="connsiteY2658" fmla="*/ 653243 h 2380521"/>
              <a:gd name="connsiteX2659" fmla="*/ 4153295 w 8023328"/>
              <a:gd name="connsiteY2659" fmla="*/ 640846 h 2380521"/>
              <a:gd name="connsiteX2660" fmla="*/ 4082465 w 8023328"/>
              <a:gd name="connsiteY2660" fmla="*/ 640846 h 2380521"/>
              <a:gd name="connsiteX2661" fmla="*/ 4097254 w 8023328"/>
              <a:gd name="connsiteY2661" fmla="*/ 653243 h 2380521"/>
              <a:gd name="connsiteX2662" fmla="*/ 4082465 w 8023328"/>
              <a:gd name="connsiteY2662" fmla="*/ 667100 h 2380521"/>
              <a:gd name="connsiteX2663" fmla="*/ 4067676 w 8023328"/>
              <a:gd name="connsiteY2663" fmla="*/ 653243 h 2380521"/>
              <a:gd name="connsiteX2664" fmla="*/ 4082465 w 8023328"/>
              <a:gd name="connsiteY2664" fmla="*/ 640846 h 2380521"/>
              <a:gd name="connsiteX2665" fmla="*/ 4010703 w 8023328"/>
              <a:gd name="connsiteY2665" fmla="*/ 640846 h 2380521"/>
              <a:gd name="connsiteX2666" fmla="*/ 4023100 w 8023328"/>
              <a:gd name="connsiteY2666" fmla="*/ 653243 h 2380521"/>
              <a:gd name="connsiteX2667" fmla="*/ 4010703 w 8023328"/>
              <a:gd name="connsiteY2667" fmla="*/ 667100 h 2380521"/>
              <a:gd name="connsiteX2668" fmla="*/ 3996847 w 8023328"/>
              <a:gd name="connsiteY2668" fmla="*/ 653243 h 2380521"/>
              <a:gd name="connsiteX2669" fmla="*/ 4010703 w 8023328"/>
              <a:gd name="connsiteY2669" fmla="*/ 640846 h 2380521"/>
              <a:gd name="connsiteX2670" fmla="*/ 3939871 w 8023328"/>
              <a:gd name="connsiteY2670" fmla="*/ 640846 h 2380521"/>
              <a:gd name="connsiteX2671" fmla="*/ 3952268 w 8023328"/>
              <a:gd name="connsiteY2671" fmla="*/ 653243 h 2380521"/>
              <a:gd name="connsiteX2672" fmla="*/ 3939871 w 8023328"/>
              <a:gd name="connsiteY2672" fmla="*/ 667100 h 2380521"/>
              <a:gd name="connsiteX2673" fmla="*/ 3926015 w 8023328"/>
              <a:gd name="connsiteY2673" fmla="*/ 653243 h 2380521"/>
              <a:gd name="connsiteX2674" fmla="*/ 3939871 w 8023328"/>
              <a:gd name="connsiteY2674" fmla="*/ 640846 h 2380521"/>
              <a:gd name="connsiteX2675" fmla="*/ 3869042 w 8023328"/>
              <a:gd name="connsiteY2675" fmla="*/ 640846 h 2380521"/>
              <a:gd name="connsiteX2676" fmla="*/ 3881439 w 8023328"/>
              <a:gd name="connsiteY2676" fmla="*/ 653243 h 2380521"/>
              <a:gd name="connsiteX2677" fmla="*/ 3869042 w 8023328"/>
              <a:gd name="connsiteY2677" fmla="*/ 667100 h 2380521"/>
              <a:gd name="connsiteX2678" fmla="*/ 3855186 w 8023328"/>
              <a:gd name="connsiteY2678" fmla="*/ 653243 h 2380521"/>
              <a:gd name="connsiteX2679" fmla="*/ 3869042 w 8023328"/>
              <a:gd name="connsiteY2679" fmla="*/ 640846 h 2380521"/>
              <a:gd name="connsiteX2680" fmla="*/ 3796752 w 8023328"/>
              <a:gd name="connsiteY2680" fmla="*/ 640846 h 2380521"/>
              <a:gd name="connsiteX2681" fmla="*/ 3810608 w 8023328"/>
              <a:gd name="connsiteY2681" fmla="*/ 653243 h 2380521"/>
              <a:gd name="connsiteX2682" fmla="*/ 3796752 w 8023328"/>
              <a:gd name="connsiteY2682" fmla="*/ 667100 h 2380521"/>
              <a:gd name="connsiteX2683" fmla="*/ 3784355 w 8023328"/>
              <a:gd name="connsiteY2683" fmla="*/ 653243 h 2380521"/>
              <a:gd name="connsiteX2684" fmla="*/ 3796752 w 8023328"/>
              <a:gd name="connsiteY2684" fmla="*/ 640846 h 2380521"/>
              <a:gd name="connsiteX2685" fmla="*/ 3725922 w 8023328"/>
              <a:gd name="connsiteY2685" fmla="*/ 640846 h 2380521"/>
              <a:gd name="connsiteX2686" fmla="*/ 3739778 w 8023328"/>
              <a:gd name="connsiteY2686" fmla="*/ 653243 h 2380521"/>
              <a:gd name="connsiteX2687" fmla="*/ 3725922 w 8023328"/>
              <a:gd name="connsiteY2687" fmla="*/ 667100 h 2380521"/>
              <a:gd name="connsiteX2688" fmla="*/ 3713525 w 8023328"/>
              <a:gd name="connsiteY2688" fmla="*/ 653243 h 2380521"/>
              <a:gd name="connsiteX2689" fmla="*/ 3725922 w 8023328"/>
              <a:gd name="connsiteY2689" fmla="*/ 640846 h 2380521"/>
              <a:gd name="connsiteX2690" fmla="*/ 3655091 w 8023328"/>
              <a:gd name="connsiteY2690" fmla="*/ 640846 h 2380521"/>
              <a:gd name="connsiteX2691" fmla="*/ 3668947 w 8023328"/>
              <a:gd name="connsiteY2691" fmla="*/ 653243 h 2380521"/>
              <a:gd name="connsiteX2692" fmla="*/ 3655091 w 8023328"/>
              <a:gd name="connsiteY2692" fmla="*/ 667100 h 2380521"/>
              <a:gd name="connsiteX2693" fmla="*/ 3642694 w 8023328"/>
              <a:gd name="connsiteY2693" fmla="*/ 653243 h 2380521"/>
              <a:gd name="connsiteX2694" fmla="*/ 3655091 w 8023328"/>
              <a:gd name="connsiteY2694" fmla="*/ 640846 h 2380521"/>
              <a:gd name="connsiteX2695" fmla="*/ 3583280 w 8023328"/>
              <a:gd name="connsiteY2695" fmla="*/ 640846 h 2380521"/>
              <a:gd name="connsiteX2696" fmla="*/ 3598069 w 8023328"/>
              <a:gd name="connsiteY2696" fmla="*/ 653243 h 2380521"/>
              <a:gd name="connsiteX2697" fmla="*/ 3583280 w 8023328"/>
              <a:gd name="connsiteY2697" fmla="*/ 667100 h 2380521"/>
              <a:gd name="connsiteX2698" fmla="*/ 3568491 w 8023328"/>
              <a:gd name="connsiteY2698" fmla="*/ 653243 h 2380521"/>
              <a:gd name="connsiteX2699" fmla="*/ 3583280 w 8023328"/>
              <a:gd name="connsiteY2699" fmla="*/ 640846 h 2380521"/>
              <a:gd name="connsiteX2700" fmla="*/ 3512449 w 8023328"/>
              <a:gd name="connsiteY2700" fmla="*/ 640846 h 2380521"/>
              <a:gd name="connsiteX2701" fmla="*/ 3527237 w 8023328"/>
              <a:gd name="connsiteY2701" fmla="*/ 653243 h 2380521"/>
              <a:gd name="connsiteX2702" fmla="*/ 3512449 w 8023328"/>
              <a:gd name="connsiteY2702" fmla="*/ 667100 h 2380521"/>
              <a:gd name="connsiteX2703" fmla="*/ 3497661 w 8023328"/>
              <a:gd name="connsiteY2703" fmla="*/ 653243 h 2380521"/>
              <a:gd name="connsiteX2704" fmla="*/ 3512449 w 8023328"/>
              <a:gd name="connsiteY2704" fmla="*/ 640846 h 2380521"/>
              <a:gd name="connsiteX2705" fmla="*/ 3441619 w 8023328"/>
              <a:gd name="connsiteY2705" fmla="*/ 640846 h 2380521"/>
              <a:gd name="connsiteX2706" fmla="*/ 3456408 w 8023328"/>
              <a:gd name="connsiteY2706" fmla="*/ 653243 h 2380521"/>
              <a:gd name="connsiteX2707" fmla="*/ 3441619 w 8023328"/>
              <a:gd name="connsiteY2707" fmla="*/ 667100 h 2380521"/>
              <a:gd name="connsiteX2708" fmla="*/ 3426830 w 8023328"/>
              <a:gd name="connsiteY2708" fmla="*/ 653243 h 2380521"/>
              <a:gd name="connsiteX2709" fmla="*/ 3441619 w 8023328"/>
              <a:gd name="connsiteY2709" fmla="*/ 640846 h 2380521"/>
              <a:gd name="connsiteX2710" fmla="*/ 3369857 w 8023328"/>
              <a:gd name="connsiteY2710" fmla="*/ 640846 h 2380521"/>
              <a:gd name="connsiteX2711" fmla="*/ 3382254 w 8023328"/>
              <a:gd name="connsiteY2711" fmla="*/ 653243 h 2380521"/>
              <a:gd name="connsiteX2712" fmla="*/ 3369857 w 8023328"/>
              <a:gd name="connsiteY2712" fmla="*/ 667100 h 2380521"/>
              <a:gd name="connsiteX2713" fmla="*/ 3356001 w 8023328"/>
              <a:gd name="connsiteY2713" fmla="*/ 653243 h 2380521"/>
              <a:gd name="connsiteX2714" fmla="*/ 3369857 w 8023328"/>
              <a:gd name="connsiteY2714" fmla="*/ 640846 h 2380521"/>
              <a:gd name="connsiteX2715" fmla="*/ 3299091 w 8023328"/>
              <a:gd name="connsiteY2715" fmla="*/ 640846 h 2380521"/>
              <a:gd name="connsiteX2716" fmla="*/ 3311488 w 8023328"/>
              <a:gd name="connsiteY2716" fmla="*/ 653243 h 2380521"/>
              <a:gd name="connsiteX2717" fmla="*/ 3299091 w 8023328"/>
              <a:gd name="connsiteY2717" fmla="*/ 667100 h 2380521"/>
              <a:gd name="connsiteX2718" fmla="*/ 3285237 w 8023328"/>
              <a:gd name="connsiteY2718" fmla="*/ 653243 h 2380521"/>
              <a:gd name="connsiteX2719" fmla="*/ 3299091 w 8023328"/>
              <a:gd name="connsiteY2719" fmla="*/ 640846 h 2380521"/>
              <a:gd name="connsiteX2720" fmla="*/ 3228258 w 8023328"/>
              <a:gd name="connsiteY2720" fmla="*/ 640846 h 2380521"/>
              <a:gd name="connsiteX2721" fmla="*/ 3240658 w 8023328"/>
              <a:gd name="connsiteY2721" fmla="*/ 653243 h 2380521"/>
              <a:gd name="connsiteX2722" fmla="*/ 3228258 w 8023328"/>
              <a:gd name="connsiteY2722" fmla="*/ 667100 h 2380521"/>
              <a:gd name="connsiteX2723" fmla="*/ 3214403 w 8023328"/>
              <a:gd name="connsiteY2723" fmla="*/ 653243 h 2380521"/>
              <a:gd name="connsiteX2724" fmla="*/ 3228258 w 8023328"/>
              <a:gd name="connsiteY2724" fmla="*/ 640846 h 2380521"/>
              <a:gd name="connsiteX2725" fmla="*/ 3152597 w 8023328"/>
              <a:gd name="connsiteY2725" fmla="*/ 640846 h 2380521"/>
              <a:gd name="connsiteX2726" fmla="*/ 3166454 w 8023328"/>
              <a:gd name="connsiteY2726" fmla="*/ 653243 h 2380521"/>
              <a:gd name="connsiteX2727" fmla="*/ 3152597 w 8023328"/>
              <a:gd name="connsiteY2727" fmla="*/ 667100 h 2380521"/>
              <a:gd name="connsiteX2728" fmla="*/ 3140200 w 8023328"/>
              <a:gd name="connsiteY2728" fmla="*/ 653243 h 2380521"/>
              <a:gd name="connsiteX2729" fmla="*/ 3152597 w 8023328"/>
              <a:gd name="connsiteY2729" fmla="*/ 640846 h 2380521"/>
              <a:gd name="connsiteX2730" fmla="*/ 3081767 w 8023328"/>
              <a:gd name="connsiteY2730" fmla="*/ 640846 h 2380521"/>
              <a:gd name="connsiteX2731" fmla="*/ 3095620 w 8023328"/>
              <a:gd name="connsiteY2731" fmla="*/ 653243 h 2380521"/>
              <a:gd name="connsiteX2732" fmla="*/ 3081767 w 8023328"/>
              <a:gd name="connsiteY2732" fmla="*/ 667100 h 2380521"/>
              <a:gd name="connsiteX2733" fmla="*/ 3069366 w 8023328"/>
              <a:gd name="connsiteY2733" fmla="*/ 653243 h 2380521"/>
              <a:gd name="connsiteX2734" fmla="*/ 3081767 w 8023328"/>
              <a:gd name="connsiteY2734" fmla="*/ 640846 h 2380521"/>
              <a:gd name="connsiteX2735" fmla="*/ 3013710 w 8023328"/>
              <a:gd name="connsiteY2735" fmla="*/ 640846 h 2380521"/>
              <a:gd name="connsiteX2736" fmla="*/ 3028129 w 8023328"/>
              <a:gd name="connsiteY2736" fmla="*/ 653243 h 2380521"/>
              <a:gd name="connsiteX2737" fmla="*/ 3013710 w 8023328"/>
              <a:gd name="connsiteY2737" fmla="*/ 667100 h 2380521"/>
              <a:gd name="connsiteX2738" fmla="*/ 2998534 w 8023328"/>
              <a:gd name="connsiteY2738" fmla="*/ 653243 h 2380521"/>
              <a:gd name="connsiteX2739" fmla="*/ 3013710 w 8023328"/>
              <a:gd name="connsiteY2739" fmla="*/ 640846 h 2380521"/>
              <a:gd name="connsiteX2740" fmla="*/ 2942488 w 8023328"/>
              <a:gd name="connsiteY2740" fmla="*/ 640846 h 2380521"/>
              <a:gd name="connsiteX2741" fmla="*/ 2957280 w 8023328"/>
              <a:gd name="connsiteY2741" fmla="*/ 653243 h 2380521"/>
              <a:gd name="connsiteX2742" fmla="*/ 2942488 w 8023328"/>
              <a:gd name="connsiteY2742" fmla="*/ 667100 h 2380521"/>
              <a:gd name="connsiteX2743" fmla="*/ 2927703 w 8023328"/>
              <a:gd name="connsiteY2743" fmla="*/ 653243 h 2380521"/>
              <a:gd name="connsiteX2744" fmla="*/ 2942488 w 8023328"/>
              <a:gd name="connsiteY2744" fmla="*/ 640846 h 2380521"/>
              <a:gd name="connsiteX2745" fmla="*/ 2868288 w 8023328"/>
              <a:gd name="connsiteY2745" fmla="*/ 640846 h 2380521"/>
              <a:gd name="connsiteX2746" fmla="*/ 2883082 w 8023328"/>
              <a:gd name="connsiteY2746" fmla="*/ 653243 h 2380521"/>
              <a:gd name="connsiteX2747" fmla="*/ 2868288 w 8023328"/>
              <a:gd name="connsiteY2747" fmla="*/ 667100 h 2380521"/>
              <a:gd name="connsiteX2748" fmla="*/ 2853498 w 8023328"/>
              <a:gd name="connsiteY2748" fmla="*/ 653243 h 2380521"/>
              <a:gd name="connsiteX2749" fmla="*/ 2868288 w 8023328"/>
              <a:gd name="connsiteY2749" fmla="*/ 640846 h 2380521"/>
              <a:gd name="connsiteX2750" fmla="*/ 2796532 w 8023328"/>
              <a:gd name="connsiteY2750" fmla="*/ 640846 h 2380521"/>
              <a:gd name="connsiteX2751" fmla="*/ 2808926 w 8023328"/>
              <a:gd name="connsiteY2751" fmla="*/ 653243 h 2380521"/>
              <a:gd name="connsiteX2752" fmla="*/ 2796532 w 8023328"/>
              <a:gd name="connsiteY2752" fmla="*/ 667100 h 2380521"/>
              <a:gd name="connsiteX2753" fmla="*/ 2782673 w 8023328"/>
              <a:gd name="connsiteY2753" fmla="*/ 653243 h 2380521"/>
              <a:gd name="connsiteX2754" fmla="*/ 2796532 w 8023328"/>
              <a:gd name="connsiteY2754" fmla="*/ 640846 h 2380521"/>
              <a:gd name="connsiteX2755" fmla="*/ 2725692 w 8023328"/>
              <a:gd name="connsiteY2755" fmla="*/ 640846 h 2380521"/>
              <a:gd name="connsiteX2756" fmla="*/ 2738097 w 8023328"/>
              <a:gd name="connsiteY2756" fmla="*/ 653243 h 2380521"/>
              <a:gd name="connsiteX2757" fmla="*/ 2725692 w 8023328"/>
              <a:gd name="connsiteY2757" fmla="*/ 667100 h 2380521"/>
              <a:gd name="connsiteX2758" fmla="*/ 2711843 w 8023328"/>
              <a:gd name="connsiteY2758" fmla="*/ 653243 h 2380521"/>
              <a:gd name="connsiteX2759" fmla="*/ 2725692 w 8023328"/>
              <a:gd name="connsiteY2759" fmla="*/ 640846 h 2380521"/>
              <a:gd name="connsiteX2760" fmla="*/ 2654867 w 8023328"/>
              <a:gd name="connsiteY2760" fmla="*/ 640846 h 2380521"/>
              <a:gd name="connsiteX2761" fmla="*/ 2667266 w 8023328"/>
              <a:gd name="connsiteY2761" fmla="*/ 653243 h 2380521"/>
              <a:gd name="connsiteX2762" fmla="*/ 2654867 w 8023328"/>
              <a:gd name="connsiteY2762" fmla="*/ 667100 h 2380521"/>
              <a:gd name="connsiteX2763" fmla="*/ 2641013 w 8023328"/>
              <a:gd name="connsiteY2763" fmla="*/ 653243 h 2380521"/>
              <a:gd name="connsiteX2764" fmla="*/ 2654867 w 8023328"/>
              <a:gd name="connsiteY2764" fmla="*/ 640846 h 2380521"/>
              <a:gd name="connsiteX2765" fmla="*/ 2582577 w 8023328"/>
              <a:gd name="connsiteY2765" fmla="*/ 640846 h 2380521"/>
              <a:gd name="connsiteX2766" fmla="*/ 2596432 w 8023328"/>
              <a:gd name="connsiteY2766" fmla="*/ 654702 h 2380521"/>
              <a:gd name="connsiteX2767" fmla="*/ 2582577 w 8023328"/>
              <a:gd name="connsiteY2767" fmla="*/ 667100 h 2380521"/>
              <a:gd name="connsiteX2768" fmla="*/ 2570181 w 8023328"/>
              <a:gd name="connsiteY2768" fmla="*/ 654702 h 2380521"/>
              <a:gd name="connsiteX2769" fmla="*/ 2582577 w 8023328"/>
              <a:gd name="connsiteY2769" fmla="*/ 640846 h 2380521"/>
              <a:gd name="connsiteX2770" fmla="*/ 1728254 w 8023328"/>
              <a:gd name="connsiteY2770" fmla="*/ 640846 h 2380521"/>
              <a:gd name="connsiteX2771" fmla="*/ 1743044 w 8023328"/>
              <a:gd name="connsiteY2771" fmla="*/ 654702 h 2380521"/>
              <a:gd name="connsiteX2772" fmla="*/ 1728254 w 8023328"/>
              <a:gd name="connsiteY2772" fmla="*/ 667100 h 2380521"/>
              <a:gd name="connsiteX2773" fmla="*/ 1713464 w 8023328"/>
              <a:gd name="connsiteY2773" fmla="*/ 654702 h 2380521"/>
              <a:gd name="connsiteX2774" fmla="*/ 1728254 w 8023328"/>
              <a:gd name="connsiteY2774" fmla="*/ 640846 h 2380521"/>
              <a:gd name="connsiteX2775" fmla="*/ 1657423 w 8023328"/>
              <a:gd name="connsiteY2775" fmla="*/ 640846 h 2380521"/>
              <a:gd name="connsiteX2776" fmla="*/ 1672215 w 8023328"/>
              <a:gd name="connsiteY2776" fmla="*/ 654702 h 2380521"/>
              <a:gd name="connsiteX2777" fmla="*/ 1657423 w 8023328"/>
              <a:gd name="connsiteY2777" fmla="*/ 667100 h 2380521"/>
              <a:gd name="connsiteX2778" fmla="*/ 1642644 w 8023328"/>
              <a:gd name="connsiteY2778" fmla="*/ 654702 h 2380521"/>
              <a:gd name="connsiteX2779" fmla="*/ 1657423 w 8023328"/>
              <a:gd name="connsiteY2779" fmla="*/ 640846 h 2380521"/>
              <a:gd name="connsiteX2780" fmla="*/ 1582290 w 8023328"/>
              <a:gd name="connsiteY2780" fmla="*/ 640846 h 2380521"/>
              <a:gd name="connsiteX2781" fmla="*/ 1594694 w 8023328"/>
              <a:gd name="connsiteY2781" fmla="*/ 654702 h 2380521"/>
              <a:gd name="connsiteX2782" fmla="*/ 1582290 w 8023328"/>
              <a:gd name="connsiteY2782" fmla="*/ 667100 h 2380521"/>
              <a:gd name="connsiteX2783" fmla="*/ 1568435 w 8023328"/>
              <a:gd name="connsiteY2783" fmla="*/ 654702 h 2380521"/>
              <a:gd name="connsiteX2784" fmla="*/ 1582290 w 8023328"/>
              <a:gd name="connsiteY2784" fmla="*/ 640846 h 2380521"/>
              <a:gd name="connsiteX2785" fmla="*/ 1512190 w 8023328"/>
              <a:gd name="connsiteY2785" fmla="*/ 640846 h 2380521"/>
              <a:gd name="connsiteX2786" fmla="*/ 1523859 w 8023328"/>
              <a:gd name="connsiteY2786" fmla="*/ 654702 h 2380521"/>
              <a:gd name="connsiteX2787" fmla="*/ 1512190 w 8023328"/>
              <a:gd name="connsiteY2787" fmla="*/ 667100 h 2380521"/>
              <a:gd name="connsiteX2788" fmla="*/ 1497604 w 8023328"/>
              <a:gd name="connsiteY2788" fmla="*/ 654702 h 2380521"/>
              <a:gd name="connsiteX2789" fmla="*/ 1512190 w 8023328"/>
              <a:gd name="connsiteY2789" fmla="*/ 640846 h 2380521"/>
              <a:gd name="connsiteX2790" fmla="*/ 1440623 w 8023328"/>
              <a:gd name="connsiteY2790" fmla="*/ 640846 h 2380521"/>
              <a:gd name="connsiteX2791" fmla="*/ 1453017 w 8023328"/>
              <a:gd name="connsiteY2791" fmla="*/ 654702 h 2380521"/>
              <a:gd name="connsiteX2792" fmla="*/ 1440623 w 8023328"/>
              <a:gd name="connsiteY2792" fmla="*/ 667100 h 2380521"/>
              <a:gd name="connsiteX2793" fmla="*/ 1426767 w 8023328"/>
              <a:gd name="connsiteY2793" fmla="*/ 654702 h 2380521"/>
              <a:gd name="connsiteX2794" fmla="*/ 1440623 w 8023328"/>
              <a:gd name="connsiteY2794" fmla="*/ 640846 h 2380521"/>
              <a:gd name="connsiteX2795" fmla="*/ 1368339 w 8023328"/>
              <a:gd name="connsiteY2795" fmla="*/ 640846 h 2380521"/>
              <a:gd name="connsiteX2796" fmla="*/ 1382194 w 8023328"/>
              <a:gd name="connsiteY2796" fmla="*/ 654702 h 2380521"/>
              <a:gd name="connsiteX2797" fmla="*/ 1368339 w 8023328"/>
              <a:gd name="connsiteY2797" fmla="*/ 667100 h 2380521"/>
              <a:gd name="connsiteX2798" fmla="*/ 1355943 w 8023328"/>
              <a:gd name="connsiteY2798" fmla="*/ 654702 h 2380521"/>
              <a:gd name="connsiteX2799" fmla="*/ 1368339 w 8023328"/>
              <a:gd name="connsiteY2799" fmla="*/ 640846 h 2380521"/>
              <a:gd name="connsiteX2800" fmla="*/ 1297512 w 8023328"/>
              <a:gd name="connsiteY2800" fmla="*/ 640846 h 2380521"/>
              <a:gd name="connsiteX2801" fmla="*/ 1311369 w 8023328"/>
              <a:gd name="connsiteY2801" fmla="*/ 654702 h 2380521"/>
              <a:gd name="connsiteX2802" fmla="*/ 1297512 w 8023328"/>
              <a:gd name="connsiteY2802" fmla="*/ 667100 h 2380521"/>
              <a:gd name="connsiteX2803" fmla="*/ 1285116 w 8023328"/>
              <a:gd name="connsiteY2803" fmla="*/ 654702 h 2380521"/>
              <a:gd name="connsiteX2804" fmla="*/ 1297512 w 8023328"/>
              <a:gd name="connsiteY2804" fmla="*/ 640846 h 2380521"/>
              <a:gd name="connsiteX2805" fmla="*/ 1226680 w 8023328"/>
              <a:gd name="connsiteY2805" fmla="*/ 640846 h 2380521"/>
              <a:gd name="connsiteX2806" fmla="*/ 1240537 w 8023328"/>
              <a:gd name="connsiteY2806" fmla="*/ 654702 h 2380521"/>
              <a:gd name="connsiteX2807" fmla="*/ 1226680 w 8023328"/>
              <a:gd name="connsiteY2807" fmla="*/ 667100 h 2380521"/>
              <a:gd name="connsiteX2808" fmla="*/ 1214291 w 8023328"/>
              <a:gd name="connsiteY2808" fmla="*/ 654702 h 2380521"/>
              <a:gd name="connsiteX2809" fmla="*/ 1226680 w 8023328"/>
              <a:gd name="connsiteY2809" fmla="*/ 640846 h 2380521"/>
              <a:gd name="connsiteX2810" fmla="*/ 1154878 w 8023328"/>
              <a:gd name="connsiteY2810" fmla="*/ 640846 h 2380521"/>
              <a:gd name="connsiteX2811" fmla="*/ 1169666 w 8023328"/>
              <a:gd name="connsiteY2811" fmla="*/ 654702 h 2380521"/>
              <a:gd name="connsiteX2812" fmla="*/ 1154878 w 8023328"/>
              <a:gd name="connsiteY2812" fmla="*/ 667100 h 2380521"/>
              <a:gd name="connsiteX2813" fmla="*/ 1140088 w 8023328"/>
              <a:gd name="connsiteY2813" fmla="*/ 654702 h 2380521"/>
              <a:gd name="connsiteX2814" fmla="*/ 1154878 w 8023328"/>
              <a:gd name="connsiteY2814" fmla="*/ 640846 h 2380521"/>
              <a:gd name="connsiteX2815" fmla="*/ 1084051 w 8023328"/>
              <a:gd name="connsiteY2815" fmla="*/ 640846 h 2380521"/>
              <a:gd name="connsiteX2816" fmla="*/ 1098838 w 8023328"/>
              <a:gd name="connsiteY2816" fmla="*/ 654702 h 2380521"/>
              <a:gd name="connsiteX2817" fmla="*/ 1084051 w 8023328"/>
              <a:gd name="connsiteY2817" fmla="*/ 667100 h 2380521"/>
              <a:gd name="connsiteX2818" fmla="*/ 1069261 w 8023328"/>
              <a:gd name="connsiteY2818" fmla="*/ 654702 h 2380521"/>
              <a:gd name="connsiteX2819" fmla="*/ 1084051 w 8023328"/>
              <a:gd name="connsiteY2819" fmla="*/ 640846 h 2380521"/>
              <a:gd name="connsiteX2820" fmla="*/ 1013010 w 8023328"/>
              <a:gd name="connsiteY2820" fmla="*/ 640846 h 2380521"/>
              <a:gd name="connsiteX2821" fmla="*/ 1024682 w 8023328"/>
              <a:gd name="connsiteY2821" fmla="*/ 654702 h 2380521"/>
              <a:gd name="connsiteX2822" fmla="*/ 1013010 w 8023328"/>
              <a:gd name="connsiteY2822" fmla="*/ 667100 h 2380521"/>
              <a:gd name="connsiteX2823" fmla="*/ 998429 w 8023328"/>
              <a:gd name="connsiteY2823" fmla="*/ 654702 h 2380521"/>
              <a:gd name="connsiteX2824" fmla="*/ 1013010 w 8023328"/>
              <a:gd name="connsiteY2824" fmla="*/ 640846 h 2380521"/>
              <a:gd name="connsiteX2825" fmla="*/ 941457 w 8023328"/>
              <a:gd name="connsiteY2825" fmla="*/ 640846 h 2380521"/>
              <a:gd name="connsiteX2826" fmla="*/ 953852 w 8023328"/>
              <a:gd name="connsiteY2826" fmla="*/ 654702 h 2380521"/>
              <a:gd name="connsiteX2827" fmla="*/ 941457 w 8023328"/>
              <a:gd name="connsiteY2827" fmla="*/ 667100 h 2380521"/>
              <a:gd name="connsiteX2828" fmla="*/ 927599 w 8023328"/>
              <a:gd name="connsiteY2828" fmla="*/ 654702 h 2380521"/>
              <a:gd name="connsiteX2829" fmla="*/ 941457 w 8023328"/>
              <a:gd name="connsiteY2829" fmla="*/ 640846 h 2380521"/>
              <a:gd name="connsiteX2830" fmla="*/ 870622 w 8023328"/>
              <a:gd name="connsiteY2830" fmla="*/ 640846 h 2380521"/>
              <a:gd name="connsiteX2831" fmla="*/ 883024 w 8023328"/>
              <a:gd name="connsiteY2831" fmla="*/ 654702 h 2380521"/>
              <a:gd name="connsiteX2832" fmla="*/ 870622 w 8023328"/>
              <a:gd name="connsiteY2832" fmla="*/ 667100 h 2380521"/>
              <a:gd name="connsiteX2833" fmla="*/ 856770 w 8023328"/>
              <a:gd name="connsiteY2833" fmla="*/ 654702 h 2380521"/>
              <a:gd name="connsiteX2834" fmla="*/ 870622 w 8023328"/>
              <a:gd name="connsiteY2834" fmla="*/ 640846 h 2380521"/>
              <a:gd name="connsiteX2835" fmla="*/ 798337 w 8023328"/>
              <a:gd name="connsiteY2835" fmla="*/ 640846 h 2380521"/>
              <a:gd name="connsiteX2836" fmla="*/ 812191 w 8023328"/>
              <a:gd name="connsiteY2836" fmla="*/ 655635 h 2380521"/>
              <a:gd name="connsiteX2837" fmla="*/ 798337 w 8023328"/>
              <a:gd name="connsiteY2837" fmla="*/ 670424 h 2380521"/>
              <a:gd name="connsiteX2838" fmla="*/ 785937 w 8023328"/>
              <a:gd name="connsiteY2838" fmla="*/ 655635 h 2380521"/>
              <a:gd name="connsiteX2839" fmla="*/ 798337 w 8023328"/>
              <a:gd name="connsiteY2839" fmla="*/ 640846 h 2380521"/>
              <a:gd name="connsiteX2840" fmla="*/ 724134 w 8023328"/>
              <a:gd name="connsiteY2840" fmla="*/ 640846 h 2380521"/>
              <a:gd name="connsiteX2841" fmla="*/ 737989 w 8023328"/>
              <a:gd name="connsiteY2841" fmla="*/ 655635 h 2380521"/>
              <a:gd name="connsiteX2842" fmla="*/ 724134 w 8023328"/>
              <a:gd name="connsiteY2842" fmla="*/ 670424 h 2380521"/>
              <a:gd name="connsiteX2843" fmla="*/ 711735 w 8023328"/>
              <a:gd name="connsiteY2843" fmla="*/ 655635 h 2380521"/>
              <a:gd name="connsiteX2844" fmla="*/ 724134 w 8023328"/>
              <a:gd name="connsiteY2844" fmla="*/ 640846 h 2380521"/>
              <a:gd name="connsiteX2845" fmla="*/ 653301 w 8023328"/>
              <a:gd name="connsiteY2845" fmla="*/ 640846 h 2380521"/>
              <a:gd name="connsiteX2846" fmla="*/ 667160 w 8023328"/>
              <a:gd name="connsiteY2846" fmla="*/ 655635 h 2380521"/>
              <a:gd name="connsiteX2847" fmla="*/ 653301 w 8023328"/>
              <a:gd name="connsiteY2847" fmla="*/ 670424 h 2380521"/>
              <a:gd name="connsiteX2848" fmla="*/ 640907 w 8023328"/>
              <a:gd name="connsiteY2848" fmla="*/ 655635 h 2380521"/>
              <a:gd name="connsiteX2849" fmla="*/ 653301 w 8023328"/>
              <a:gd name="connsiteY2849" fmla="*/ 640846 h 2380521"/>
              <a:gd name="connsiteX2850" fmla="*/ 584864 w 8023328"/>
              <a:gd name="connsiteY2850" fmla="*/ 640846 h 2380521"/>
              <a:gd name="connsiteX2851" fmla="*/ 599651 w 8023328"/>
              <a:gd name="connsiteY2851" fmla="*/ 655635 h 2380521"/>
              <a:gd name="connsiteX2852" fmla="*/ 584864 w 8023328"/>
              <a:gd name="connsiteY2852" fmla="*/ 670424 h 2380521"/>
              <a:gd name="connsiteX2853" fmla="*/ 570075 w 8023328"/>
              <a:gd name="connsiteY2853" fmla="*/ 655635 h 2380521"/>
              <a:gd name="connsiteX2854" fmla="*/ 584864 w 8023328"/>
              <a:gd name="connsiteY2854" fmla="*/ 640846 h 2380521"/>
              <a:gd name="connsiteX2855" fmla="*/ 513663 w 8023328"/>
              <a:gd name="connsiteY2855" fmla="*/ 640846 h 2380521"/>
              <a:gd name="connsiteX2856" fmla="*/ 528843 w 8023328"/>
              <a:gd name="connsiteY2856" fmla="*/ 655635 h 2380521"/>
              <a:gd name="connsiteX2857" fmla="*/ 513663 w 8023328"/>
              <a:gd name="connsiteY2857" fmla="*/ 670424 h 2380521"/>
              <a:gd name="connsiteX2858" fmla="*/ 499246 w 8023328"/>
              <a:gd name="connsiteY2858" fmla="*/ 655635 h 2380521"/>
              <a:gd name="connsiteX2859" fmla="*/ 513663 w 8023328"/>
              <a:gd name="connsiteY2859" fmla="*/ 640846 h 2380521"/>
              <a:gd name="connsiteX2860" fmla="*/ 439832 w 8023328"/>
              <a:gd name="connsiteY2860" fmla="*/ 640846 h 2380521"/>
              <a:gd name="connsiteX2861" fmla="*/ 454622 w 8023328"/>
              <a:gd name="connsiteY2861" fmla="*/ 655635 h 2380521"/>
              <a:gd name="connsiteX2862" fmla="*/ 439832 w 8023328"/>
              <a:gd name="connsiteY2862" fmla="*/ 670424 h 2380521"/>
              <a:gd name="connsiteX2863" fmla="*/ 425044 w 8023328"/>
              <a:gd name="connsiteY2863" fmla="*/ 655635 h 2380521"/>
              <a:gd name="connsiteX2864" fmla="*/ 439832 w 8023328"/>
              <a:gd name="connsiteY2864" fmla="*/ 640846 h 2380521"/>
              <a:gd name="connsiteX2865" fmla="*/ 368070 w 8023328"/>
              <a:gd name="connsiteY2865" fmla="*/ 640846 h 2380521"/>
              <a:gd name="connsiteX2866" fmla="*/ 380465 w 8023328"/>
              <a:gd name="connsiteY2866" fmla="*/ 655635 h 2380521"/>
              <a:gd name="connsiteX2867" fmla="*/ 368070 w 8023328"/>
              <a:gd name="connsiteY2867" fmla="*/ 670424 h 2380521"/>
              <a:gd name="connsiteX2868" fmla="*/ 354211 w 8023328"/>
              <a:gd name="connsiteY2868" fmla="*/ 655635 h 2380521"/>
              <a:gd name="connsiteX2869" fmla="*/ 368070 w 8023328"/>
              <a:gd name="connsiteY2869" fmla="*/ 640846 h 2380521"/>
              <a:gd name="connsiteX2870" fmla="*/ 297235 w 8023328"/>
              <a:gd name="connsiteY2870" fmla="*/ 640846 h 2380521"/>
              <a:gd name="connsiteX2871" fmla="*/ 309631 w 8023328"/>
              <a:gd name="connsiteY2871" fmla="*/ 655635 h 2380521"/>
              <a:gd name="connsiteX2872" fmla="*/ 297235 w 8023328"/>
              <a:gd name="connsiteY2872" fmla="*/ 670424 h 2380521"/>
              <a:gd name="connsiteX2873" fmla="*/ 283379 w 8023328"/>
              <a:gd name="connsiteY2873" fmla="*/ 655635 h 2380521"/>
              <a:gd name="connsiteX2874" fmla="*/ 297235 w 8023328"/>
              <a:gd name="connsiteY2874" fmla="*/ 640846 h 2380521"/>
              <a:gd name="connsiteX2875" fmla="*/ 4082465 w 8023328"/>
              <a:gd name="connsiteY2875" fmla="*/ 570017 h 2380521"/>
              <a:gd name="connsiteX2876" fmla="*/ 4097254 w 8023328"/>
              <a:gd name="connsiteY2876" fmla="*/ 584805 h 2380521"/>
              <a:gd name="connsiteX2877" fmla="*/ 4082465 w 8023328"/>
              <a:gd name="connsiteY2877" fmla="*/ 599594 h 2380521"/>
              <a:gd name="connsiteX2878" fmla="*/ 4067676 w 8023328"/>
              <a:gd name="connsiteY2878" fmla="*/ 584805 h 2380521"/>
              <a:gd name="connsiteX2879" fmla="*/ 4082465 w 8023328"/>
              <a:gd name="connsiteY2879" fmla="*/ 570017 h 2380521"/>
              <a:gd name="connsiteX2880" fmla="*/ 4010703 w 8023328"/>
              <a:gd name="connsiteY2880" fmla="*/ 570017 h 2380521"/>
              <a:gd name="connsiteX2881" fmla="*/ 4023100 w 8023328"/>
              <a:gd name="connsiteY2881" fmla="*/ 584805 h 2380521"/>
              <a:gd name="connsiteX2882" fmla="*/ 4010703 w 8023328"/>
              <a:gd name="connsiteY2882" fmla="*/ 599594 h 2380521"/>
              <a:gd name="connsiteX2883" fmla="*/ 3996847 w 8023328"/>
              <a:gd name="connsiteY2883" fmla="*/ 584805 h 2380521"/>
              <a:gd name="connsiteX2884" fmla="*/ 4010703 w 8023328"/>
              <a:gd name="connsiteY2884" fmla="*/ 570017 h 2380521"/>
              <a:gd name="connsiteX2885" fmla="*/ 3939871 w 8023328"/>
              <a:gd name="connsiteY2885" fmla="*/ 570017 h 2380521"/>
              <a:gd name="connsiteX2886" fmla="*/ 3952268 w 8023328"/>
              <a:gd name="connsiteY2886" fmla="*/ 584805 h 2380521"/>
              <a:gd name="connsiteX2887" fmla="*/ 3939871 w 8023328"/>
              <a:gd name="connsiteY2887" fmla="*/ 599594 h 2380521"/>
              <a:gd name="connsiteX2888" fmla="*/ 3926015 w 8023328"/>
              <a:gd name="connsiteY2888" fmla="*/ 584805 h 2380521"/>
              <a:gd name="connsiteX2889" fmla="*/ 3939871 w 8023328"/>
              <a:gd name="connsiteY2889" fmla="*/ 570017 h 2380521"/>
              <a:gd name="connsiteX2890" fmla="*/ 3869042 w 8023328"/>
              <a:gd name="connsiteY2890" fmla="*/ 570017 h 2380521"/>
              <a:gd name="connsiteX2891" fmla="*/ 3881439 w 8023328"/>
              <a:gd name="connsiteY2891" fmla="*/ 584805 h 2380521"/>
              <a:gd name="connsiteX2892" fmla="*/ 3869042 w 8023328"/>
              <a:gd name="connsiteY2892" fmla="*/ 599594 h 2380521"/>
              <a:gd name="connsiteX2893" fmla="*/ 3855186 w 8023328"/>
              <a:gd name="connsiteY2893" fmla="*/ 584805 h 2380521"/>
              <a:gd name="connsiteX2894" fmla="*/ 3869042 w 8023328"/>
              <a:gd name="connsiteY2894" fmla="*/ 570017 h 2380521"/>
              <a:gd name="connsiteX2895" fmla="*/ 3796752 w 8023328"/>
              <a:gd name="connsiteY2895" fmla="*/ 570017 h 2380521"/>
              <a:gd name="connsiteX2896" fmla="*/ 3810608 w 8023328"/>
              <a:gd name="connsiteY2896" fmla="*/ 584805 h 2380521"/>
              <a:gd name="connsiteX2897" fmla="*/ 3796752 w 8023328"/>
              <a:gd name="connsiteY2897" fmla="*/ 599594 h 2380521"/>
              <a:gd name="connsiteX2898" fmla="*/ 3784355 w 8023328"/>
              <a:gd name="connsiteY2898" fmla="*/ 584805 h 2380521"/>
              <a:gd name="connsiteX2899" fmla="*/ 3796752 w 8023328"/>
              <a:gd name="connsiteY2899" fmla="*/ 570017 h 2380521"/>
              <a:gd name="connsiteX2900" fmla="*/ 3725922 w 8023328"/>
              <a:gd name="connsiteY2900" fmla="*/ 570017 h 2380521"/>
              <a:gd name="connsiteX2901" fmla="*/ 3739778 w 8023328"/>
              <a:gd name="connsiteY2901" fmla="*/ 584805 h 2380521"/>
              <a:gd name="connsiteX2902" fmla="*/ 3725922 w 8023328"/>
              <a:gd name="connsiteY2902" fmla="*/ 599594 h 2380521"/>
              <a:gd name="connsiteX2903" fmla="*/ 3713525 w 8023328"/>
              <a:gd name="connsiteY2903" fmla="*/ 584805 h 2380521"/>
              <a:gd name="connsiteX2904" fmla="*/ 3725922 w 8023328"/>
              <a:gd name="connsiteY2904" fmla="*/ 570017 h 2380521"/>
              <a:gd name="connsiteX2905" fmla="*/ 3655091 w 8023328"/>
              <a:gd name="connsiteY2905" fmla="*/ 570017 h 2380521"/>
              <a:gd name="connsiteX2906" fmla="*/ 3668947 w 8023328"/>
              <a:gd name="connsiteY2906" fmla="*/ 582414 h 2380521"/>
              <a:gd name="connsiteX2907" fmla="*/ 3655091 w 8023328"/>
              <a:gd name="connsiteY2907" fmla="*/ 596271 h 2380521"/>
              <a:gd name="connsiteX2908" fmla="*/ 3642694 w 8023328"/>
              <a:gd name="connsiteY2908" fmla="*/ 582414 h 2380521"/>
              <a:gd name="connsiteX2909" fmla="*/ 3655091 w 8023328"/>
              <a:gd name="connsiteY2909" fmla="*/ 570017 h 2380521"/>
              <a:gd name="connsiteX2910" fmla="*/ 3583280 w 8023328"/>
              <a:gd name="connsiteY2910" fmla="*/ 570017 h 2380521"/>
              <a:gd name="connsiteX2911" fmla="*/ 3598069 w 8023328"/>
              <a:gd name="connsiteY2911" fmla="*/ 582414 h 2380521"/>
              <a:gd name="connsiteX2912" fmla="*/ 3583280 w 8023328"/>
              <a:gd name="connsiteY2912" fmla="*/ 596271 h 2380521"/>
              <a:gd name="connsiteX2913" fmla="*/ 3568491 w 8023328"/>
              <a:gd name="connsiteY2913" fmla="*/ 582414 h 2380521"/>
              <a:gd name="connsiteX2914" fmla="*/ 3583280 w 8023328"/>
              <a:gd name="connsiteY2914" fmla="*/ 570017 h 2380521"/>
              <a:gd name="connsiteX2915" fmla="*/ 3512449 w 8023328"/>
              <a:gd name="connsiteY2915" fmla="*/ 570017 h 2380521"/>
              <a:gd name="connsiteX2916" fmla="*/ 3527237 w 8023328"/>
              <a:gd name="connsiteY2916" fmla="*/ 582414 h 2380521"/>
              <a:gd name="connsiteX2917" fmla="*/ 3512449 w 8023328"/>
              <a:gd name="connsiteY2917" fmla="*/ 596271 h 2380521"/>
              <a:gd name="connsiteX2918" fmla="*/ 3497661 w 8023328"/>
              <a:gd name="connsiteY2918" fmla="*/ 582414 h 2380521"/>
              <a:gd name="connsiteX2919" fmla="*/ 3512449 w 8023328"/>
              <a:gd name="connsiteY2919" fmla="*/ 570017 h 2380521"/>
              <a:gd name="connsiteX2920" fmla="*/ 3441619 w 8023328"/>
              <a:gd name="connsiteY2920" fmla="*/ 570017 h 2380521"/>
              <a:gd name="connsiteX2921" fmla="*/ 3456408 w 8023328"/>
              <a:gd name="connsiteY2921" fmla="*/ 582414 h 2380521"/>
              <a:gd name="connsiteX2922" fmla="*/ 3441619 w 8023328"/>
              <a:gd name="connsiteY2922" fmla="*/ 596271 h 2380521"/>
              <a:gd name="connsiteX2923" fmla="*/ 3426830 w 8023328"/>
              <a:gd name="connsiteY2923" fmla="*/ 582414 h 2380521"/>
              <a:gd name="connsiteX2924" fmla="*/ 3441619 w 8023328"/>
              <a:gd name="connsiteY2924" fmla="*/ 570017 h 2380521"/>
              <a:gd name="connsiteX2925" fmla="*/ 3369857 w 8023328"/>
              <a:gd name="connsiteY2925" fmla="*/ 570017 h 2380521"/>
              <a:gd name="connsiteX2926" fmla="*/ 3382254 w 8023328"/>
              <a:gd name="connsiteY2926" fmla="*/ 582414 h 2380521"/>
              <a:gd name="connsiteX2927" fmla="*/ 3369857 w 8023328"/>
              <a:gd name="connsiteY2927" fmla="*/ 596271 h 2380521"/>
              <a:gd name="connsiteX2928" fmla="*/ 3356001 w 8023328"/>
              <a:gd name="connsiteY2928" fmla="*/ 582414 h 2380521"/>
              <a:gd name="connsiteX2929" fmla="*/ 3369857 w 8023328"/>
              <a:gd name="connsiteY2929" fmla="*/ 570017 h 2380521"/>
              <a:gd name="connsiteX2930" fmla="*/ 3299091 w 8023328"/>
              <a:gd name="connsiteY2930" fmla="*/ 570017 h 2380521"/>
              <a:gd name="connsiteX2931" fmla="*/ 3311491 w 8023328"/>
              <a:gd name="connsiteY2931" fmla="*/ 582414 h 2380521"/>
              <a:gd name="connsiteX2932" fmla="*/ 3299091 w 8023328"/>
              <a:gd name="connsiteY2932" fmla="*/ 596271 h 2380521"/>
              <a:gd name="connsiteX2933" fmla="*/ 3285240 w 8023328"/>
              <a:gd name="connsiteY2933" fmla="*/ 582414 h 2380521"/>
              <a:gd name="connsiteX2934" fmla="*/ 3299091 w 8023328"/>
              <a:gd name="connsiteY2934" fmla="*/ 570017 h 2380521"/>
              <a:gd name="connsiteX2935" fmla="*/ 3226803 w 8023328"/>
              <a:gd name="connsiteY2935" fmla="*/ 570017 h 2380521"/>
              <a:gd name="connsiteX2936" fmla="*/ 3240660 w 8023328"/>
              <a:gd name="connsiteY2936" fmla="*/ 582414 h 2380521"/>
              <a:gd name="connsiteX2937" fmla="*/ 3226803 w 8023328"/>
              <a:gd name="connsiteY2937" fmla="*/ 596271 h 2380521"/>
              <a:gd name="connsiteX2938" fmla="*/ 3214406 w 8023328"/>
              <a:gd name="connsiteY2938" fmla="*/ 582414 h 2380521"/>
              <a:gd name="connsiteX2939" fmla="*/ 3226803 w 8023328"/>
              <a:gd name="connsiteY2939" fmla="*/ 570017 h 2380521"/>
              <a:gd name="connsiteX2940" fmla="*/ 3152600 w 8023328"/>
              <a:gd name="connsiteY2940" fmla="*/ 570017 h 2380521"/>
              <a:gd name="connsiteX2941" fmla="*/ 3166454 w 8023328"/>
              <a:gd name="connsiteY2941" fmla="*/ 582414 h 2380521"/>
              <a:gd name="connsiteX2942" fmla="*/ 3152600 w 8023328"/>
              <a:gd name="connsiteY2942" fmla="*/ 596271 h 2380521"/>
              <a:gd name="connsiteX2943" fmla="*/ 3140203 w 8023328"/>
              <a:gd name="connsiteY2943" fmla="*/ 582414 h 2380521"/>
              <a:gd name="connsiteX2944" fmla="*/ 3152600 w 8023328"/>
              <a:gd name="connsiteY2944" fmla="*/ 570017 h 2380521"/>
              <a:gd name="connsiteX2945" fmla="*/ 3081770 w 8023328"/>
              <a:gd name="connsiteY2945" fmla="*/ 570017 h 2380521"/>
              <a:gd name="connsiteX2946" fmla="*/ 3095622 w 8023328"/>
              <a:gd name="connsiteY2946" fmla="*/ 582414 h 2380521"/>
              <a:gd name="connsiteX2947" fmla="*/ 3081770 w 8023328"/>
              <a:gd name="connsiteY2947" fmla="*/ 596271 h 2380521"/>
              <a:gd name="connsiteX2948" fmla="*/ 3069369 w 8023328"/>
              <a:gd name="connsiteY2948" fmla="*/ 582414 h 2380521"/>
              <a:gd name="connsiteX2949" fmla="*/ 3081770 w 8023328"/>
              <a:gd name="connsiteY2949" fmla="*/ 570017 h 2380521"/>
              <a:gd name="connsiteX2950" fmla="*/ 3013712 w 8023328"/>
              <a:gd name="connsiteY2950" fmla="*/ 570017 h 2380521"/>
              <a:gd name="connsiteX2951" fmla="*/ 3028132 w 8023328"/>
              <a:gd name="connsiteY2951" fmla="*/ 582414 h 2380521"/>
              <a:gd name="connsiteX2952" fmla="*/ 3013712 w 8023328"/>
              <a:gd name="connsiteY2952" fmla="*/ 596271 h 2380521"/>
              <a:gd name="connsiteX2953" fmla="*/ 2998537 w 8023328"/>
              <a:gd name="connsiteY2953" fmla="*/ 582414 h 2380521"/>
              <a:gd name="connsiteX2954" fmla="*/ 3013712 w 8023328"/>
              <a:gd name="connsiteY2954" fmla="*/ 570017 h 2380521"/>
              <a:gd name="connsiteX2955" fmla="*/ 2942491 w 8023328"/>
              <a:gd name="connsiteY2955" fmla="*/ 570017 h 2380521"/>
              <a:gd name="connsiteX2956" fmla="*/ 2957285 w 8023328"/>
              <a:gd name="connsiteY2956" fmla="*/ 582414 h 2380521"/>
              <a:gd name="connsiteX2957" fmla="*/ 2942491 w 8023328"/>
              <a:gd name="connsiteY2957" fmla="*/ 596271 h 2380521"/>
              <a:gd name="connsiteX2958" fmla="*/ 2927705 w 8023328"/>
              <a:gd name="connsiteY2958" fmla="*/ 582414 h 2380521"/>
              <a:gd name="connsiteX2959" fmla="*/ 2942491 w 8023328"/>
              <a:gd name="connsiteY2959" fmla="*/ 570017 h 2380521"/>
              <a:gd name="connsiteX2960" fmla="*/ 2868288 w 8023328"/>
              <a:gd name="connsiteY2960" fmla="*/ 570017 h 2380521"/>
              <a:gd name="connsiteX2961" fmla="*/ 2883082 w 8023328"/>
              <a:gd name="connsiteY2961" fmla="*/ 582414 h 2380521"/>
              <a:gd name="connsiteX2962" fmla="*/ 2868288 w 8023328"/>
              <a:gd name="connsiteY2962" fmla="*/ 596271 h 2380521"/>
              <a:gd name="connsiteX2963" fmla="*/ 2853502 w 8023328"/>
              <a:gd name="connsiteY2963" fmla="*/ 582414 h 2380521"/>
              <a:gd name="connsiteX2964" fmla="*/ 2868288 w 8023328"/>
              <a:gd name="connsiteY2964" fmla="*/ 570017 h 2380521"/>
              <a:gd name="connsiteX2965" fmla="*/ 2796532 w 8023328"/>
              <a:gd name="connsiteY2965" fmla="*/ 570017 h 2380521"/>
              <a:gd name="connsiteX2966" fmla="*/ 2808931 w 8023328"/>
              <a:gd name="connsiteY2966" fmla="*/ 582414 h 2380521"/>
              <a:gd name="connsiteX2967" fmla="*/ 2796532 w 8023328"/>
              <a:gd name="connsiteY2967" fmla="*/ 596271 h 2380521"/>
              <a:gd name="connsiteX2968" fmla="*/ 2782675 w 8023328"/>
              <a:gd name="connsiteY2968" fmla="*/ 582414 h 2380521"/>
              <a:gd name="connsiteX2969" fmla="*/ 2796532 w 8023328"/>
              <a:gd name="connsiteY2969" fmla="*/ 570017 h 2380521"/>
              <a:gd name="connsiteX2970" fmla="*/ 2725695 w 8023328"/>
              <a:gd name="connsiteY2970" fmla="*/ 570017 h 2380521"/>
              <a:gd name="connsiteX2971" fmla="*/ 2738097 w 8023328"/>
              <a:gd name="connsiteY2971" fmla="*/ 582414 h 2380521"/>
              <a:gd name="connsiteX2972" fmla="*/ 2725695 w 8023328"/>
              <a:gd name="connsiteY2972" fmla="*/ 596271 h 2380521"/>
              <a:gd name="connsiteX2973" fmla="*/ 2711843 w 8023328"/>
              <a:gd name="connsiteY2973" fmla="*/ 582414 h 2380521"/>
              <a:gd name="connsiteX2974" fmla="*/ 2725695 w 8023328"/>
              <a:gd name="connsiteY2974" fmla="*/ 570017 h 2380521"/>
              <a:gd name="connsiteX2975" fmla="*/ 2654867 w 8023328"/>
              <a:gd name="connsiteY2975" fmla="*/ 570017 h 2380521"/>
              <a:gd name="connsiteX2976" fmla="*/ 2667266 w 8023328"/>
              <a:gd name="connsiteY2976" fmla="*/ 582414 h 2380521"/>
              <a:gd name="connsiteX2977" fmla="*/ 2654867 w 8023328"/>
              <a:gd name="connsiteY2977" fmla="*/ 596271 h 2380521"/>
              <a:gd name="connsiteX2978" fmla="*/ 2641013 w 8023328"/>
              <a:gd name="connsiteY2978" fmla="*/ 582414 h 2380521"/>
              <a:gd name="connsiteX2979" fmla="*/ 2654867 w 8023328"/>
              <a:gd name="connsiteY2979" fmla="*/ 570017 h 2380521"/>
              <a:gd name="connsiteX2980" fmla="*/ 2582580 w 8023328"/>
              <a:gd name="connsiteY2980" fmla="*/ 570017 h 2380521"/>
              <a:gd name="connsiteX2981" fmla="*/ 2596435 w 8023328"/>
              <a:gd name="connsiteY2981" fmla="*/ 582414 h 2380521"/>
              <a:gd name="connsiteX2982" fmla="*/ 2582580 w 8023328"/>
              <a:gd name="connsiteY2982" fmla="*/ 596271 h 2380521"/>
              <a:gd name="connsiteX2983" fmla="*/ 2570184 w 8023328"/>
              <a:gd name="connsiteY2983" fmla="*/ 582414 h 2380521"/>
              <a:gd name="connsiteX2984" fmla="*/ 2582580 w 8023328"/>
              <a:gd name="connsiteY2984" fmla="*/ 570017 h 2380521"/>
              <a:gd name="connsiteX2985" fmla="*/ 2511026 w 8023328"/>
              <a:gd name="connsiteY2985" fmla="*/ 570017 h 2380521"/>
              <a:gd name="connsiteX2986" fmla="*/ 2525610 w 8023328"/>
              <a:gd name="connsiteY2986" fmla="*/ 582414 h 2380521"/>
              <a:gd name="connsiteX2987" fmla="*/ 2511026 w 8023328"/>
              <a:gd name="connsiteY2987" fmla="*/ 596271 h 2380521"/>
              <a:gd name="connsiteX2988" fmla="*/ 2499358 w 8023328"/>
              <a:gd name="connsiteY2988" fmla="*/ 582414 h 2380521"/>
              <a:gd name="connsiteX2989" fmla="*/ 2511026 w 8023328"/>
              <a:gd name="connsiteY2989" fmla="*/ 570017 h 2380521"/>
              <a:gd name="connsiteX2990" fmla="*/ 2440921 w 8023328"/>
              <a:gd name="connsiteY2990" fmla="*/ 570017 h 2380521"/>
              <a:gd name="connsiteX2991" fmla="*/ 2454778 w 8023328"/>
              <a:gd name="connsiteY2991" fmla="*/ 582414 h 2380521"/>
              <a:gd name="connsiteX2992" fmla="*/ 2440921 w 8023328"/>
              <a:gd name="connsiteY2992" fmla="*/ 596271 h 2380521"/>
              <a:gd name="connsiteX2993" fmla="*/ 2428525 w 8023328"/>
              <a:gd name="connsiteY2993" fmla="*/ 582414 h 2380521"/>
              <a:gd name="connsiteX2994" fmla="*/ 2440921 w 8023328"/>
              <a:gd name="connsiteY2994" fmla="*/ 570017 h 2380521"/>
              <a:gd name="connsiteX2995" fmla="*/ 2369108 w 8023328"/>
              <a:gd name="connsiteY2995" fmla="*/ 570017 h 2380521"/>
              <a:gd name="connsiteX2996" fmla="*/ 2383896 w 8023328"/>
              <a:gd name="connsiteY2996" fmla="*/ 582414 h 2380521"/>
              <a:gd name="connsiteX2997" fmla="*/ 2369108 w 8023328"/>
              <a:gd name="connsiteY2997" fmla="*/ 596271 h 2380521"/>
              <a:gd name="connsiteX2998" fmla="*/ 2354319 w 8023328"/>
              <a:gd name="connsiteY2998" fmla="*/ 582414 h 2380521"/>
              <a:gd name="connsiteX2999" fmla="*/ 2369108 w 8023328"/>
              <a:gd name="connsiteY2999" fmla="*/ 570017 h 2380521"/>
              <a:gd name="connsiteX3000" fmla="*/ 2298275 w 8023328"/>
              <a:gd name="connsiteY3000" fmla="*/ 570017 h 2380521"/>
              <a:gd name="connsiteX3001" fmla="*/ 2313064 w 8023328"/>
              <a:gd name="connsiteY3001" fmla="*/ 582414 h 2380521"/>
              <a:gd name="connsiteX3002" fmla="*/ 2298275 w 8023328"/>
              <a:gd name="connsiteY3002" fmla="*/ 596271 h 2380521"/>
              <a:gd name="connsiteX3003" fmla="*/ 2283487 w 8023328"/>
              <a:gd name="connsiteY3003" fmla="*/ 582414 h 2380521"/>
              <a:gd name="connsiteX3004" fmla="*/ 2298275 w 8023328"/>
              <a:gd name="connsiteY3004" fmla="*/ 570017 h 2380521"/>
              <a:gd name="connsiteX3005" fmla="*/ 2226512 w 8023328"/>
              <a:gd name="connsiteY3005" fmla="*/ 570017 h 2380521"/>
              <a:gd name="connsiteX3006" fmla="*/ 2238911 w 8023328"/>
              <a:gd name="connsiteY3006" fmla="*/ 582414 h 2380521"/>
              <a:gd name="connsiteX3007" fmla="*/ 2226512 w 8023328"/>
              <a:gd name="connsiteY3007" fmla="*/ 596271 h 2380521"/>
              <a:gd name="connsiteX3008" fmla="*/ 2212655 w 8023328"/>
              <a:gd name="connsiteY3008" fmla="*/ 582414 h 2380521"/>
              <a:gd name="connsiteX3009" fmla="*/ 2226512 w 8023328"/>
              <a:gd name="connsiteY3009" fmla="*/ 570017 h 2380521"/>
              <a:gd name="connsiteX3010" fmla="*/ 2155680 w 8023328"/>
              <a:gd name="connsiteY3010" fmla="*/ 570017 h 2380521"/>
              <a:gd name="connsiteX3011" fmla="*/ 2168079 w 8023328"/>
              <a:gd name="connsiteY3011" fmla="*/ 582414 h 2380521"/>
              <a:gd name="connsiteX3012" fmla="*/ 2155680 w 8023328"/>
              <a:gd name="connsiteY3012" fmla="*/ 596271 h 2380521"/>
              <a:gd name="connsiteX3013" fmla="*/ 2141823 w 8023328"/>
              <a:gd name="connsiteY3013" fmla="*/ 582414 h 2380521"/>
              <a:gd name="connsiteX3014" fmla="*/ 2155680 w 8023328"/>
              <a:gd name="connsiteY3014" fmla="*/ 570017 h 2380521"/>
              <a:gd name="connsiteX3015" fmla="*/ 2084846 w 8023328"/>
              <a:gd name="connsiteY3015" fmla="*/ 570017 h 2380521"/>
              <a:gd name="connsiteX3016" fmla="*/ 2097246 w 8023328"/>
              <a:gd name="connsiteY3016" fmla="*/ 582414 h 2380521"/>
              <a:gd name="connsiteX3017" fmla="*/ 2084846 w 8023328"/>
              <a:gd name="connsiteY3017" fmla="*/ 596271 h 2380521"/>
              <a:gd name="connsiteX3018" fmla="*/ 2070989 w 8023328"/>
              <a:gd name="connsiteY3018" fmla="*/ 582414 h 2380521"/>
              <a:gd name="connsiteX3019" fmla="*/ 2084846 w 8023328"/>
              <a:gd name="connsiteY3019" fmla="*/ 570017 h 2380521"/>
              <a:gd name="connsiteX3020" fmla="*/ 2011831 w 8023328"/>
              <a:gd name="connsiteY3020" fmla="*/ 570017 h 2380521"/>
              <a:gd name="connsiteX3021" fmla="*/ 2026416 w 8023328"/>
              <a:gd name="connsiteY3021" fmla="*/ 582414 h 2380521"/>
              <a:gd name="connsiteX3022" fmla="*/ 2011831 w 8023328"/>
              <a:gd name="connsiteY3022" fmla="*/ 596271 h 2380521"/>
              <a:gd name="connsiteX3023" fmla="*/ 2000163 w 8023328"/>
              <a:gd name="connsiteY3023" fmla="*/ 582414 h 2380521"/>
              <a:gd name="connsiteX3024" fmla="*/ 2011831 w 8023328"/>
              <a:gd name="connsiteY3024" fmla="*/ 570017 h 2380521"/>
              <a:gd name="connsiteX3025" fmla="*/ 1938359 w 8023328"/>
              <a:gd name="connsiteY3025" fmla="*/ 570017 h 2380521"/>
              <a:gd name="connsiteX3026" fmla="*/ 1952216 w 8023328"/>
              <a:gd name="connsiteY3026" fmla="*/ 583873 h 2380521"/>
              <a:gd name="connsiteX3027" fmla="*/ 1938359 w 8023328"/>
              <a:gd name="connsiteY3027" fmla="*/ 596271 h 2380521"/>
              <a:gd name="connsiteX3028" fmla="*/ 1925962 w 8023328"/>
              <a:gd name="connsiteY3028" fmla="*/ 583873 h 2380521"/>
              <a:gd name="connsiteX3029" fmla="*/ 1938359 w 8023328"/>
              <a:gd name="connsiteY3029" fmla="*/ 570017 h 2380521"/>
              <a:gd name="connsiteX3030" fmla="*/ 1867522 w 8023328"/>
              <a:gd name="connsiteY3030" fmla="*/ 570017 h 2380521"/>
              <a:gd name="connsiteX3031" fmla="*/ 1881382 w 8023328"/>
              <a:gd name="connsiteY3031" fmla="*/ 583873 h 2380521"/>
              <a:gd name="connsiteX3032" fmla="*/ 1867522 w 8023328"/>
              <a:gd name="connsiteY3032" fmla="*/ 596271 h 2380521"/>
              <a:gd name="connsiteX3033" fmla="*/ 1855124 w 8023328"/>
              <a:gd name="connsiteY3033" fmla="*/ 583873 h 2380521"/>
              <a:gd name="connsiteX3034" fmla="*/ 1867522 w 8023328"/>
              <a:gd name="connsiteY3034" fmla="*/ 570017 h 2380521"/>
              <a:gd name="connsiteX3035" fmla="*/ 1799082 w 8023328"/>
              <a:gd name="connsiteY3035" fmla="*/ 570017 h 2380521"/>
              <a:gd name="connsiteX3036" fmla="*/ 1813871 w 8023328"/>
              <a:gd name="connsiteY3036" fmla="*/ 583873 h 2380521"/>
              <a:gd name="connsiteX3037" fmla="*/ 1799082 w 8023328"/>
              <a:gd name="connsiteY3037" fmla="*/ 596271 h 2380521"/>
              <a:gd name="connsiteX3038" fmla="*/ 1784295 w 8023328"/>
              <a:gd name="connsiteY3038" fmla="*/ 583873 h 2380521"/>
              <a:gd name="connsiteX3039" fmla="*/ 1799082 w 8023328"/>
              <a:gd name="connsiteY3039" fmla="*/ 570017 h 2380521"/>
              <a:gd name="connsiteX3040" fmla="*/ 1728257 w 8023328"/>
              <a:gd name="connsiteY3040" fmla="*/ 570017 h 2380521"/>
              <a:gd name="connsiteX3041" fmla="*/ 1743046 w 8023328"/>
              <a:gd name="connsiteY3041" fmla="*/ 583873 h 2380521"/>
              <a:gd name="connsiteX3042" fmla="*/ 1728257 w 8023328"/>
              <a:gd name="connsiteY3042" fmla="*/ 596271 h 2380521"/>
              <a:gd name="connsiteX3043" fmla="*/ 1713467 w 8023328"/>
              <a:gd name="connsiteY3043" fmla="*/ 583873 h 2380521"/>
              <a:gd name="connsiteX3044" fmla="*/ 1728257 w 8023328"/>
              <a:gd name="connsiteY3044" fmla="*/ 570017 h 2380521"/>
              <a:gd name="connsiteX3045" fmla="*/ 1657426 w 8023328"/>
              <a:gd name="connsiteY3045" fmla="*/ 570017 h 2380521"/>
              <a:gd name="connsiteX3046" fmla="*/ 1672218 w 8023328"/>
              <a:gd name="connsiteY3046" fmla="*/ 583873 h 2380521"/>
              <a:gd name="connsiteX3047" fmla="*/ 1657426 w 8023328"/>
              <a:gd name="connsiteY3047" fmla="*/ 596271 h 2380521"/>
              <a:gd name="connsiteX3048" fmla="*/ 1642647 w 8023328"/>
              <a:gd name="connsiteY3048" fmla="*/ 583873 h 2380521"/>
              <a:gd name="connsiteX3049" fmla="*/ 1657426 w 8023328"/>
              <a:gd name="connsiteY3049" fmla="*/ 570017 h 2380521"/>
              <a:gd name="connsiteX3050" fmla="*/ 1582294 w 8023328"/>
              <a:gd name="connsiteY3050" fmla="*/ 570017 h 2380521"/>
              <a:gd name="connsiteX3051" fmla="*/ 1594694 w 8023328"/>
              <a:gd name="connsiteY3051" fmla="*/ 583873 h 2380521"/>
              <a:gd name="connsiteX3052" fmla="*/ 1582294 w 8023328"/>
              <a:gd name="connsiteY3052" fmla="*/ 596271 h 2380521"/>
              <a:gd name="connsiteX3053" fmla="*/ 1568438 w 8023328"/>
              <a:gd name="connsiteY3053" fmla="*/ 583873 h 2380521"/>
              <a:gd name="connsiteX3054" fmla="*/ 1582294 w 8023328"/>
              <a:gd name="connsiteY3054" fmla="*/ 570017 h 2380521"/>
              <a:gd name="connsiteX3055" fmla="*/ 1512190 w 8023328"/>
              <a:gd name="connsiteY3055" fmla="*/ 570017 h 2380521"/>
              <a:gd name="connsiteX3056" fmla="*/ 1523859 w 8023328"/>
              <a:gd name="connsiteY3056" fmla="*/ 583873 h 2380521"/>
              <a:gd name="connsiteX3057" fmla="*/ 1512190 w 8023328"/>
              <a:gd name="connsiteY3057" fmla="*/ 596271 h 2380521"/>
              <a:gd name="connsiteX3058" fmla="*/ 1497607 w 8023328"/>
              <a:gd name="connsiteY3058" fmla="*/ 583873 h 2380521"/>
              <a:gd name="connsiteX3059" fmla="*/ 1512190 w 8023328"/>
              <a:gd name="connsiteY3059" fmla="*/ 570017 h 2380521"/>
              <a:gd name="connsiteX3060" fmla="*/ 1440623 w 8023328"/>
              <a:gd name="connsiteY3060" fmla="*/ 570017 h 2380521"/>
              <a:gd name="connsiteX3061" fmla="*/ 1453020 w 8023328"/>
              <a:gd name="connsiteY3061" fmla="*/ 583873 h 2380521"/>
              <a:gd name="connsiteX3062" fmla="*/ 1440623 w 8023328"/>
              <a:gd name="connsiteY3062" fmla="*/ 596271 h 2380521"/>
              <a:gd name="connsiteX3063" fmla="*/ 1426771 w 8023328"/>
              <a:gd name="connsiteY3063" fmla="*/ 583873 h 2380521"/>
              <a:gd name="connsiteX3064" fmla="*/ 1440623 w 8023328"/>
              <a:gd name="connsiteY3064" fmla="*/ 570017 h 2380521"/>
              <a:gd name="connsiteX3065" fmla="*/ 1368341 w 8023328"/>
              <a:gd name="connsiteY3065" fmla="*/ 570017 h 2380521"/>
              <a:gd name="connsiteX3066" fmla="*/ 1382194 w 8023328"/>
              <a:gd name="connsiteY3066" fmla="*/ 583873 h 2380521"/>
              <a:gd name="connsiteX3067" fmla="*/ 1368341 w 8023328"/>
              <a:gd name="connsiteY3067" fmla="*/ 596271 h 2380521"/>
              <a:gd name="connsiteX3068" fmla="*/ 1355945 w 8023328"/>
              <a:gd name="connsiteY3068" fmla="*/ 583873 h 2380521"/>
              <a:gd name="connsiteX3069" fmla="*/ 1368341 w 8023328"/>
              <a:gd name="connsiteY3069" fmla="*/ 570017 h 2380521"/>
              <a:gd name="connsiteX3070" fmla="*/ 1297515 w 8023328"/>
              <a:gd name="connsiteY3070" fmla="*/ 570017 h 2380521"/>
              <a:gd name="connsiteX3071" fmla="*/ 1311369 w 8023328"/>
              <a:gd name="connsiteY3071" fmla="*/ 583873 h 2380521"/>
              <a:gd name="connsiteX3072" fmla="*/ 1297515 w 8023328"/>
              <a:gd name="connsiteY3072" fmla="*/ 596271 h 2380521"/>
              <a:gd name="connsiteX3073" fmla="*/ 1285116 w 8023328"/>
              <a:gd name="connsiteY3073" fmla="*/ 583873 h 2380521"/>
              <a:gd name="connsiteX3074" fmla="*/ 1297515 w 8023328"/>
              <a:gd name="connsiteY3074" fmla="*/ 570017 h 2380521"/>
              <a:gd name="connsiteX3075" fmla="*/ 1226680 w 8023328"/>
              <a:gd name="connsiteY3075" fmla="*/ 570017 h 2380521"/>
              <a:gd name="connsiteX3076" fmla="*/ 1240537 w 8023328"/>
              <a:gd name="connsiteY3076" fmla="*/ 583873 h 2380521"/>
              <a:gd name="connsiteX3077" fmla="*/ 1226680 w 8023328"/>
              <a:gd name="connsiteY3077" fmla="*/ 596271 h 2380521"/>
              <a:gd name="connsiteX3078" fmla="*/ 1214296 w 8023328"/>
              <a:gd name="connsiteY3078" fmla="*/ 583873 h 2380521"/>
              <a:gd name="connsiteX3079" fmla="*/ 1226680 w 8023328"/>
              <a:gd name="connsiteY3079" fmla="*/ 570017 h 2380521"/>
              <a:gd name="connsiteX3080" fmla="*/ 1154879 w 8023328"/>
              <a:gd name="connsiteY3080" fmla="*/ 570017 h 2380521"/>
              <a:gd name="connsiteX3081" fmla="*/ 1169669 w 8023328"/>
              <a:gd name="connsiteY3081" fmla="*/ 583873 h 2380521"/>
              <a:gd name="connsiteX3082" fmla="*/ 1154879 w 8023328"/>
              <a:gd name="connsiteY3082" fmla="*/ 596271 h 2380521"/>
              <a:gd name="connsiteX3083" fmla="*/ 1140090 w 8023328"/>
              <a:gd name="connsiteY3083" fmla="*/ 583873 h 2380521"/>
              <a:gd name="connsiteX3084" fmla="*/ 1154879 w 8023328"/>
              <a:gd name="connsiteY3084" fmla="*/ 570017 h 2380521"/>
              <a:gd name="connsiteX3085" fmla="*/ 1084053 w 8023328"/>
              <a:gd name="connsiteY3085" fmla="*/ 570017 h 2380521"/>
              <a:gd name="connsiteX3086" fmla="*/ 1098840 w 8023328"/>
              <a:gd name="connsiteY3086" fmla="*/ 583873 h 2380521"/>
              <a:gd name="connsiteX3087" fmla="*/ 1084053 w 8023328"/>
              <a:gd name="connsiteY3087" fmla="*/ 596271 h 2380521"/>
              <a:gd name="connsiteX3088" fmla="*/ 1069263 w 8023328"/>
              <a:gd name="connsiteY3088" fmla="*/ 583873 h 2380521"/>
              <a:gd name="connsiteX3089" fmla="*/ 1084053 w 8023328"/>
              <a:gd name="connsiteY3089" fmla="*/ 570017 h 2380521"/>
              <a:gd name="connsiteX3090" fmla="*/ 1013010 w 8023328"/>
              <a:gd name="connsiteY3090" fmla="*/ 570017 h 2380521"/>
              <a:gd name="connsiteX3091" fmla="*/ 1024682 w 8023328"/>
              <a:gd name="connsiteY3091" fmla="*/ 583873 h 2380521"/>
              <a:gd name="connsiteX3092" fmla="*/ 1013010 w 8023328"/>
              <a:gd name="connsiteY3092" fmla="*/ 596271 h 2380521"/>
              <a:gd name="connsiteX3093" fmla="*/ 998433 w 8023328"/>
              <a:gd name="connsiteY3093" fmla="*/ 583873 h 2380521"/>
              <a:gd name="connsiteX3094" fmla="*/ 1013010 w 8023328"/>
              <a:gd name="connsiteY3094" fmla="*/ 570017 h 2380521"/>
              <a:gd name="connsiteX3095" fmla="*/ 941458 w 8023328"/>
              <a:gd name="connsiteY3095" fmla="*/ 570017 h 2380521"/>
              <a:gd name="connsiteX3096" fmla="*/ 953857 w 8023328"/>
              <a:gd name="connsiteY3096" fmla="*/ 583873 h 2380521"/>
              <a:gd name="connsiteX3097" fmla="*/ 941458 w 8023328"/>
              <a:gd name="connsiteY3097" fmla="*/ 596271 h 2380521"/>
              <a:gd name="connsiteX3098" fmla="*/ 927601 w 8023328"/>
              <a:gd name="connsiteY3098" fmla="*/ 583873 h 2380521"/>
              <a:gd name="connsiteX3099" fmla="*/ 941458 w 8023328"/>
              <a:gd name="connsiteY3099" fmla="*/ 570017 h 2380521"/>
              <a:gd name="connsiteX3100" fmla="*/ 870626 w 8023328"/>
              <a:gd name="connsiteY3100" fmla="*/ 570017 h 2380521"/>
              <a:gd name="connsiteX3101" fmla="*/ 883027 w 8023328"/>
              <a:gd name="connsiteY3101" fmla="*/ 583873 h 2380521"/>
              <a:gd name="connsiteX3102" fmla="*/ 870626 w 8023328"/>
              <a:gd name="connsiteY3102" fmla="*/ 596271 h 2380521"/>
              <a:gd name="connsiteX3103" fmla="*/ 856772 w 8023328"/>
              <a:gd name="connsiteY3103" fmla="*/ 583873 h 2380521"/>
              <a:gd name="connsiteX3104" fmla="*/ 870626 w 8023328"/>
              <a:gd name="connsiteY3104" fmla="*/ 570017 h 2380521"/>
              <a:gd name="connsiteX3105" fmla="*/ 798340 w 8023328"/>
              <a:gd name="connsiteY3105" fmla="*/ 570017 h 2380521"/>
              <a:gd name="connsiteX3106" fmla="*/ 812193 w 8023328"/>
              <a:gd name="connsiteY3106" fmla="*/ 583873 h 2380521"/>
              <a:gd name="connsiteX3107" fmla="*/ 798340 w 8023328"/>
              <a:gd name="connsiteY3107" fmla="*/ 596271 h 2380521"/>
              <a:gd name="connsiteX3108" fmla="*/ 785941 w 8023328"/>
              <a:gd name="connsiteY3108" fmla="*/ 583873 h 2380521"/>
              <a:gd name="connsiteX3109" fmla="*/ 798340 w 8023328"/>
              <a:gd name="connsiteY3109" fmla="*/ 570017 h 2380521"/>
              <a:gd name="connsiteX3110" fmla="*/ 724135 w 8023328"/>
              <a:gd name="connsiteY3110" fmla="*/ 570017 h 2380521"/>
              <a:gd name="connsiteX3111" fmla="*/ 737991 w 8023328"/>
              <a:gd name="connsiteY3111" fmla="*/ 583873 h 2380521"/>
              <a:gd name="connsiteX3112" fmla="*/ 724135 w 8023328"/>
              <a:gd name="connsiteY3112" fmla="*/ 596271 h 2380521"/>
              <a:gd name="connsiteX3113" fmla="*/ 711737 w 8023328"/>
              <a:gd name="connsiteY3113" fmla="*/ 583873 h 2380521"/>
              <a:gd name="connsiteX3114" fmla="*/ 724135 w 8023328"/>
              <a:gd name="connsiteY3114" fmla="*/ 570017 h 2380521"/>
              <a:gd name="connsiteX3115" fmla="*/ 653306 w 8023328"/>
              <a:gd name="connsiteY3115" fmla="*/ 570017 h 2380521"/>
              <a:gd name="connsiteX3116" fmla="*/ 667161 w 8023328"/>
              <a:gd name="connsiteY3116" fmla="*/ 583873 h 2380521"/>
              <a:gd name="connsiteX3117" fmla="*/ 653306 w 8023328"/>
              <a:gd name="connsiteY3117" fmla="*/ 596271 h 2380521"/>
              <a:gd name="connsiteX3118" fmla="*/ 640910 w 8023328"/>
              <a:gd name="connsiteY3118" fmla="*/ 583873 h 2380521"/>
              <a:gd name="connsiteX3119" fmla="*/ 653306 w 8023328"/>
              <a:gd name="connsiteY3119" fmla="*/ 570017 h 2380521"/>
              <a:gd name="connsiteX3120" fmla="*/ 584865 w 8023328"/>
              <a:gd name="connsiteY3120" fmla="*/ 570017 h 2380521"/>
              <a:gd name="connsiteX3121" fmla="*/ 599654 w 8023328"/>
              <a:gd name="connsiteY3121" fmla="*/ 583873 h 2380521"/>
              <a:gd name="connsiteX3122" fmla="*/ 584865 w 8023328"/>
              <a:gd name="connsiteY3122" fmla="*/ 596271 h 2380521"/>
              <a:gd name="connsiteX3123" fmla="*/ 570076 w 8023328"/>
              <a:gd name="connsiteY3123" fmla="*/ 583873 h 2380521"/>
              <a:gd name="connsiteX3124" fmla="*/ 584865 w 8023328"/>
              <a:gd name="connsiteY3124" fmla="*/ 570017 h 2380521"/>
              <a:gd name="connsiteX3125" fmla="*/ 513668 w 8023328"/>
              <a:gd name="connsiteY3125" fmla="*/ 570017 h 2380521"/>
              <a:gd name="connsiteX3126" fmla="*/ 528846 w 8023328"/>
              <a:gd name="connsiteY3126" fmla="*/ 583873 h 2380521"/>
              <a:gd name="connsiteX3127" fmla="*/ 513668 w 8023328"/>
              <a:gd name="connsiteY3127" fmla="*/ 596271 h 2380521"/>
              <a:gd name="connsiteX3128" fmla="*/ 499248 w 8023328"/>
              <a:gd name="connsiteY3128" fmla="*/ 583873 h 2380521"/>
              <a:gd name="connsiteX3129" fmla="*/ 513668 w 8023328"/>
              <a:gd name="connsiteY3129" fmla="*/ 570017 h 2380521"/>
              <a:gd name="connsiteX3130" fmla="*/ 439833 w 8023328"/>
              <a:gd name="connsiteY3130" fmla="*/ 570017 h 2380521"/>
              <a:gd name="connsiteX3131" fmla="*/ 454623 w 8023328"/>
              <a:gd name="connsiteY3131" fmla="*/ 583873 h 2380521"/>
              <a:gd name="connsiteX3132" fmla="*/ 439833 w 8023328"/>
              <a:gd name="connsiteY3132" fmla="*/ 596271 h 2380521"/>
              <a:gd name="connsiteX3133" fmla="*/ 425044 w 8023328"/>
              <a:gd name="connsiteY3133" fmla="*/ 583873 h 2380521"/>
              <a:gd name="connsiteX3134" fmla="*/ 439833 w 8023328"/>
              <a:gd name="connsiteY3134" fmla="*/ 570017 h 2380521"/>
              <a:gd name="connsiteX3135" fmla="*/ 368072 w 8023328"/>
              <a:gd name="connsiteY3135" fmla="*/ 570017 h 2380521"/>
              <a:gd name="connsiteX3136" fmla="*/ 380467 w 8023328"/>
              <a:gd name="connsiteY3136" fmla="*/ 583873 h 2380521"/>
              <a:gd name="connsiteX3137" fmla="*/ 368072 w 8023328"/>
              <a:gd name="connsiteY3137" fmla="*/ 596271 h 2380521"/>
              <a:gd name="connsiteX3138" fmla="*/ 354211 w 8023328"/>
              <a:gd name="connsiteY3138" fmla="*/ 583873 h 2380521"/>
              <a:gd name="connsiteX3139" fmla="*/ 368072 w 8023328"/>
              <a:gd name="connsiteY3139" fmla="*/ 570017 h 2380521"/>
              <a:gd name="connsiteX3140" fmla="*/ 3081772 w 8023328"/>
              <a:gd name="connsiteY3140" fmla="*/ 499186 h 2380521"/>
              <a:gd name="connsiteX3141" fmla="*/ 3095622 w 8023328"/>
              <a:gd name="connsiteY3141" fmla="*/ 511583 h 2380521"/>
              <a:gd name="connsiteX3142" fmla="*/ 3081772 w 8023328"/>
              <a:gd name="connsiteY3142" fmla="*/ 525440 h 2380521"/>
              <a:gd name="connsiteX3143" fmla="*/ 3069372 w 8023328"/>
              <a:gd name="connsiteY3143" fmla="*/ 511583 h 2380521"/>
              <a:gd name="connsiteX3144" fmla="*/ 3081772 w 8023328"/>
              <a:gd name="connsiteY3144" fmla="*/ 499186 h 2380521"/>
              <a:gd name="connsiteX3145" fmla="*/ 3013712 w 8023328"/>
              <a:gd name="connsiteY3145" fmla="*/ 499186 h 2380521"/>
              <a:gd name="connsiteX3146" fmla="*/ 3028135 w 8023328"/>
              <a:gd name="connsiteY3146" fmla="*/ 511583 h 2380521"/>
              <a:gd name="connsiteX3147" fmla="*/ 3013712 w 8023328"/>
              <a:gd name="connsiteY3147" fmla="*/ 525440 h 2380521"/>
              <a:gd name="connsiteX3148" fmla="*/ 2998539 w 8023328"/>
              <a:gd name="connsiteY3148" fmla="*/ 511583 h 2380521"/>
              <a:gd name="connsiteX3149" fmla="*/ 3013712 w 8023328"/>
              <a:gd name="connsiteY3149" fmla="*/ 499186 h 2380521"/>
              <a:gd name="connsiteX3150" fmla="*/ 2942491 w 8023328"/>
              <a:gd name="connsiteY3150" fmla="*/ 499186 h 2380521"/>
              <a:gd name="connsiteX3151" fmla="*/ 2957285 w 8023328"/>
              <a:gd name="connsiteY3151" fmla="*/ 511583 h 2380521"/>
              <a:gd name="connsiteX3152" fmla="*/ 2942491 w 8023328"/>
              <a:gd name="connsiteY3152" fmla="*/ 525440 h 2380521"/>
              <a:gd name="connsiteX3153" fmla="*/ 2927705 w 8023328"/>
              <a:gd name="connsiteY3153" fmla="*/ 511583 h 2380521"/>
              <a:gd name="connsiteX3154" fmla="*/ 2942491 w 8023328"/>
              <a:gd name="connsiteY3154" fmla="*/ 499186 h 2380521"/>
              <a:gd name="connsiteX3155" fmla="*/ 2868291 w 8023328"/>
              <a:gd name="connsiteY3155" fmla="*/ 499186 h 2380521"/>
              <a:gd name="connsiteX3156" fmla="*/ 2883082 w 8023328"/>
              <a:gd name="connsiteY3156" fmla="*/ 511583 h 2380521"/>
              <a:gd name="connsiteX3157" fmla="*/ 2868291 w 8023328"/>
              <a:gd name="connsiteY3157" fmla="*/ 525440 h 2380521"/>
              <a:gd name="connsiteX3158" fmla="*/ 2853502 w 8023328"/>
              <a:gd name="connsiteY3158" fmla="*/ 511583 h 2380521"/>
              <a:gd name="connsiteX3159" fmla="*/ 2868291 w 8023328"/>
              <a:gd name="connsiteY3159" fmla="*/ 499186 h 2380521"/>
              <a:gd name="connsiteX3160" fmla="*/ 2796533 w 8023328"/>
              <a:gd name="connsiteY3160" fmla="*/ 499186 h 2380521"/>
              <a:gd name="connsiteX3161" fmla="*/ 2808931 w 8023328"/>
              <a:gd name="connsiteY3161" fmla="*/ 511583 h 2380521"/>
              <a:gd name="connsiteX3162" fmla="*/ 2796533 w 8023328"/>
              <a:gd name="connsiteY3162" fmla="*/ 525440 h 2380521"/>
              <a:gd name="connsiteX3163" fmla="*/ 2782678 w 8023328"/>
              <a:gd name="connsiteY3163" fmla="*/ 511583 h 2380521"/>
              <a:gd name="connsiteX3164" fmla="*/ 2796533 w 8023328"/>
              <a:gd name="connsiteY3164" fmla="*/ 499186 h 2380521"/>
              <a:gd name="connsiteX3165" fmla="*/ 2725695 w 8023328"/>
              <a:gd name="connsiteY3165" fmla="*/ 499186 h 2380521"/>
              <a:gd name="connsiteX3166" fmla="*/ 2738097 w 8023328"/>
              <a:gd name="connsiteY3166" fmla="*/ 511583 h 2380521"/>
              <a:gd name="connsiteX3167" fmla="*/ 2725695 w 8023328"/>
              <a:gd name="connsiteY3167" fmla="*/ 525440 h 2380521"/>
              <a:gd name="connsiteX3168" fmla="*/ 2711846 w 8023328"/>
              <a:gd name="connsiteY3168" fmla="*/ 511583 h 2380521"/>
              <a:gd name="connsiteX3169" fmla="*/ 2725695 w 8023328"/>
              <a:gd name="connsiteY3169" fmla="*/ 499186 h 2380521"/>
              <a:gd name="connsiteX3170" fmla="*/ 2654870 w 8023328"/>
              <a:gd name="connsiteY3170" fmla="*/ 499186 h 2380521"/>
              <a:gd name="connsiteX3171" fmla="*/ 2667266 w 8023328"/>
              <a:gd name="connsiteY3171" fmla="*/ 511583 h 2380521"/>
              <a:gd name="connsiteX3172" fmla="*/ 2654870 w 8023328"/>
              <a:gd name="connsiteY3172" fmla="*/ 525440 h 2380521"/>
              <a:gd name="connsiteX3173" fmla="*/ 2641013 w 8023328"/>
              <a:gd name="connsiteY3173" fmla="*/ 511583 h 2380521"/>
              <a:gd name="connsiteX3174" fmla="*/ 2654870 w 8023328"/>
              <a:gd name="connsiteY3174" fmla="*/ 499186 h 2380521"/>
              <a:gd name="connsiteX3175" fmla="*/ 2582580 w 8023328"/>
              <a:gd name="connsiteY3175" fmla="*/ 499186 h 2380521"/>
              <a:gd name="connsiteX3176" fmla="*/ 2596435 w 8023328"/>
              <a:gd name="connsiteY3176" fmla="*/ 511583 h 2380521"/>
              <a:gd name="connsiteX3177" fmla="*/ 2582580 w 8023328"/>
              <a:gd name="connsiteY3177" fmla="*/ 525440 h 2380521"/>
              <a:gd name="connsiteX3178" fmla="*/ 2570184 w 8023328"/>
              <a:gd name="connsiteY3178" fmla="*/ 511583 h 2380521"/>
              <a:gd name="connsiteX3179" fmla="*/ 2582580 w 8023328"/>
              <a:gd name="connsiteY3179" fmla="*/ 499186 h 2380521"/>
              <a:gd name="connsiteX3180" fmla="*/ 2511026 w 8023328"/>
              <a:gd name="connsiteY3180" fmla="*/ 499186 h 2380521"/>
              <a:gd name="connsiteX3181" fmla="*/ 2525610 w 8023328"/>
              <a:gd name="connsiteY3181" fmla="*/ 511583 h 2380521"/>
              <a:gd name="connsiteX3182" fmla="*/ 2511026 w 8023328"/>
              <a:gd name="connsiteY3182" fmla="*/ 525440 h 2380521"/>
              <a:gd name="connsiteX3183" fmla="*/ 2499361 w 8023328"/>
              <a:gd name="connsiteY3183" fmla="*/ 511583 h 2380521"/>
              <a:gd name="connsiteX3184" fmla="*/ 2511026 w 8023328"/>
              <a:gd name="connsiteY3184" fmla="*/ 499186 h 2380521"/>
              <a:gd name="connsiteX3185" fmla="*/ 2440924 w 8023328"/>
              <a:gd name="connsiteY3185" fmla="*/ 499186 h 2380521"/>
              <a:gd name="connsiteX3186" fmla="*/ 2454781 w 8023328"/>
              <a:gd name="connsiteY3186" fmla="*/ 511583 h 2380521"/>
              <a:gd name="connsiteX3187" fmla="*/ 2440924 w 8023328"/>
              <a:gd name="connsiteY3187" fmla="*/ 525440 h 2380521"/>
              <a:gd name="connsiteX3188" fmla="*/ 2428527 w 8023328"/>
              <a:gd name="connsiteY3188" fmla="*/ 511583 h 2380521"/>
              <a:gd name="connsiteX3189" fmla="*/ 2440924 w 8023328"/>
              <a:gd name="connsiteY3189" fmla="*/ 499186 h 2380521"/>
              <a:gd name="connsiteX3190" fmla="*/ 2369108 w 8023328"/>
              <a:gd name="connsiteY3190" fmla="*/ 499186 h 2380521"/>
              <a:gd name="connsiteX3191" fmla="*/ 2383898 w 8023328"/>
              <a:gd name="connsiteY3191" fmla="*/ 511583 h 2380521"/>
              <a:gd name="connsiteX3192" fmla="*/ 2369108 w 8023328"/>
              <a:gd name="connsiteY3192" fmla="*/ 525440 h 2380521"/>
              <a:gd name="connsiteX3193" fmla="*/ 2354319 w 8023328"/>
              <a:gd name="connsiteY3193" fmla="*/ 511583 h 2380521"/>
              <a:gd name="connsiteX3194" fmla="*/ 2369108 w 8023328"/>
              <a:gd name="connsiteY3194" fmla="*/ 499186 h 2380521"/>
              <a:gd name="connsiteX3195" fmla="*/ 2298278 w 8023328"/>
              <a:gd name="connsiteY3195" fmla="*/ 499186 h 2380521"/>
              <a:gd name="connsiteX3196" fmla="*/ 2313066 w 8023328"/>
              <a:gd name="connsiteY3196" fmla="*/ 511583 h 2380521"/>
              <a:gd name="connsiteX3197" fmla="*/ 2298278 w 8023328"/>
              <a:gd name="connsiteY3197" fmla="*/ 525440 h 2380521"/>
              <a:gd name="connsiteX3198" fmla="*/ 2283488 w 8023328"/>
              <a:gd name="connsiteY3198" fmla="*/ 511583 h 2380521"/>
              <a:gd name="connsiteX3199" fmla="*/ 2298278 w 8023328"/>
              <a:gd name="connsiteY3199" fmla="*/ 499186 h 2380521"/>
              <a:gd name="connsiteX3200" fmla="*/ 2226514 w 8023328"/>
              <a:gd name="connsiteY3200" fmla="*/ 499186 h 2380521"/>
              <a:gd name="connsiteX3201" fmla="*/ 2238914 w 8023328"/>
              <a:gd name="connsiteY3201" fmla="*/ 511583 h 2380521"/>
              <a:gd name="connsiteX3202" fmla="*/ 2226514 w 8023328"/>
              <a:gd name="connsiteY3202" fmla="*/ 525440 h 2380521"/>
              <a:gd name="connsiteX3203" fmla="*/ 2212655 w 8023328"/>
              <a:gd name="connsiteY3203" fmla="*/ 511583 h 2380521"/>
              <a:gd name="connsiteX3204" fmla="*/ 2226514 w 8023328"/>
              <a:gd name="connsiteY3204" fmla="*/ 499186 h 2380521"/>
              <a:gd name="connsiteX3205" fmla="*/ 2155680 w 8023328"/>
              <a:gd name="connsiteY3205" fmla="*/ 499186 h 2380521"/>
              <a:gd name="connsiteX3206" fmla="*/ 2168079 w 8023328"/>
              <a:gd name="connsiteY3206" fmla="*/ 511583 h 2380521"/>
              <a:gd name="connsiteX3207" fmla="*/ 2155680 w 8023328"/>
              <a:gd name="connsiteY3207" fmla="*/ 525440 h 2380521"/>
              <a:gd name="connsiteX3208" fmla="*/ 2141823 w 8023328"/>
              <a:gd name="connsiteY3208" fmla="*/ 511583 h 2380521"/>
              <a:gd name="connsiteX3209" fmla="*/ 2155680 w 8023328"/>
              <a:gd name="connsiteY3209" fmla="*/ 499186 h 2380521"/>
              <a:gd name="connsiteX3210" fmla="*/ 2084846 w 8023328"/>
              <a:gd name="connsiteY3210" fmla="*/ 499186 h 2380521"/>
              <a:gd name="connsiteX3211" fmla="*/ 2097246 w 8023328"/>
              <a:gd name="connsiteY3211" fmla="*/ 511583 h 2380521"/>
              <a:gd name="connsiteX3212" fmla="*/ 2084846 w 8023328"/>
              <a:gd name="connsiteY3212" fmla="*/ 525440 h 2380521"/>
              <a:gd name="connsiteX3213" fmla="*/ 2070991 w 8023328"/>
              <a:gd name="connsiteY3213" fmla="*/ 511583 h 2380521"/>
              <a:gd name="connsiteX3214" fmla="*/ 2084846 w 8023328"/>
              <a:gd name="connsiteY3214" fmla="*/ 499186 h 2380521"/>
              <a:gd name="connsiteX3215" fmla="*/ 2011831 w 8023328"/>
              <a:gd name="connsiteY3215" fmla="*/ 499186 h 2380521"/>
              <a:gd name="connsiteX3216" fmla="*/ 2026416 w 8023328"/>
              <a:gd name="connsiteY3216" fmla="*/ 511583 h 2380521"/>
              <a:gd name="connsiteX3217" fmla="*/ 2011831 w 8023328"/>
              <a:gd name="connsiteY3217" fmla="*/ 525440 h 2380521"/>
              <a:gd name="connsiteX3218" fmla="*/ 2000165 w 8023328"/>
              <a:gd name="connsiteY3218" fmla="*/ 511583 h 2380521"/>
              <a:gd name="connsiteX3219" fmla="*/ 2011831 w 8023328"/>
              <a:gd name="connsiteY3219" fmla="*/ 499186 h 2380521"/>
              <a:gd name="connsiteX3220" fmla="*/ 1938362 w 8023328"/>
              <a:gd name="connsiteY3220" fmla="*/ 499186 h 2380521"/>
              <a:gd name="connsiteX3221" fmla="*/ 1952216 w 8023328"/>
              <a:gd name="connsiteY3221" fmla="*/ 511583 h 2380521"/>
              <a:gd name="connsiteX3222" fmla="*/ 1938362 w 8023328"/>
              <a:gd name="connsiteY3222" fmla="*/ 525440 h 2380521"/>
              <a:gd name="connsiteX3223" fmla="*/ 1925965 w 8023328"/>
              <a:gd name="connsiteY3223" fmla="*/ 511583 h 2380521"/>
              <a:gd name="connsiteX3224" fmla="*/ 1938362 w 8023328"/>
              <a:gd name="connsiteY3224" fmla="*/ 499186 h 2380521"/>
              <a:gd name="connsiteX3225" fmla="*/ 1867525 w 8023328"/>
              <a:gd name="connsiteY3225" fmla="*/ 499186 h 2380521"/>
              <a:gd name="connsiteX3226" fmla="*/ 1881384 w 8023328"/>
              <a:gd name="connsiteY3226" fmla="*/ 511583 h 2380521"/>
              <a:gd name="connsiteX3227" fmla="*/ 1867525 w 8023328"/>
              <a:gd name="connsiteY3227" fmla="*/ 525440 h 2380521"/>
              <a:gd name="connsiteX3228" fmla="*/ 1855126 w 8023328"/>
              <a:gd name="connsiteY3228" fmla="*/ 511583 h 2380521"/>
              <a:gd name="connsiteX3229" fmla="*/ 1867525 w 8023328"/>
              <a:gd name="connsiteY3229" fmla="*/ 499186 h 2380521"/>
              <a:gd name="connsiteX3230" fmla="*/ 1799085 w 8023328"/>
              <a:gd name="connsiteY3230" fmla="*/ 499186 h 2380521"/>
              <a:gd name="connsiteX3231" fmla="*/ 1813871 w 8023328"/>
              <a:gd name="connsiteY3231" fmla="*/ 511583 h 2380521"/>
              <a:gd name="connsiteX3232" fmla="*/ 1799085 w 8023328"/>
              <a:gd name="connsiteY3232" fmla="*/ 525440 h 2380521"/>
              <a:gd name="connsiteX3233" fmla="*/ 1784295 w 8023328"/>
              <a:gd name="connsiteY3233" fmla="*/ 511583 h 2380521"/>
              <a:gd name="connsiteX3234" fmla="*/ 1799085 w 8023328"/>
              <a:gd name="connsiteY3234" fmla="*/ 499186 h 2380521"/>
              <a:gd name="connsiteX3235" fmla="*/ 1728257 w 8023328"/>
              <a:gd name="connsiteY3235" fmla="*/ 499186 h 2380521"/>
              <a:gd name="connsiteX3236" fmla="*/ 1743046 w 8023328"/>
              <a:gd name="connsiteY3236" fmla="*/ 511583 h 2380521"/>
              <a:gd name="connsiteX3237" fmla="*/ 1728257 w 8023328"/>
              <a:gd name="connsiteY3237" fmla="*/ 525440 h 2380521"/>
              <a:gd name="connsiteX3238" fmla="*/ 1713469 w 8023328"/>
              <a:gd name="connsiteY3238" fmla="*/ 511583 h 2380521"/>
              <a:gd name="connsiteX3239" fmla="*/ 1728257 w 8023328"/>
              <a:gd name="connsiteY3239" fmla="*/ 499186 h 2380521"/>
              <a:gd name="connsiteX3240" fmla="*/ 1657426 w 8023328"/>
              <a:gd name="connsiteY3240" fmla="*/ 499186 h 2380521"/>
              <a:gd name="connsiteX3241" fmla="*/ 1672218 w 8023328"/>
              <a:gd name="connsiteY3241" fmla="*/ 511583 h 2380521"/>
              <a:gd name="connsiteX3242" fmla="*/ 1657426 w 8023328"/>
              <a:gd name="connsiteY3242" fmla="*/ 525440 h 2380521"/>
              <a:gd name="connsiteX3243" fmla="*/ 1642647 w 8023328"/>
              <a:gd name="connsiteY3243" fmla="*/ 511583 h 2380521"/>
              <a:gd name="connsiteX3244" fmla="*/ 1657426 w 8023328"/>
              <a:gd name="connsiteY3244" fmla="*/ 499186 h 2380521"/>
              <a:gd name="connsiteX3245" fmla="*/ 1582294 w 8023328"/>
              <a:gd name="connsiteY3245" fmla="*/ 499186 h 2380521"/>
              <a:gd name="connsiteX3246" fmla="*/ 1594694 w 8023328"/>
              <a:gd name="connsiteY3246" fmla="*/ 511583 h 2380521"/>
              <a:gd name="connsiteX3247" fmla="*/ 1582294 w 8023328"/>
              <a:gd name="connsiteY3247" fmla="*/ 525440 h 2380521"/>
              <a:gd name="connsiteX3248" fmla="*/ 1568438 w 8023328"/>
              <a:gd name="connsiteY3248" fmla="*/ 511583 h 2380521"/>
              <a:gd name="connsiteX3249" fmla="*/ 1582294 w 8023328"/>
              <a:gd name="connsiteY3249" fmla="*/ 499186 h 2380521"/>
              <a:gd name="connsiteX3250" fmla="*/ 1512192 w 8023328"/>
              <a:gd name="connsiteY3250" fmla="*/ 499186 h 2380521"/>
              <a:gd name="connsiteX3251" fmla="*/ 1523862 w 8023328"/>
              <a:gd name="connsiteY3251" fmla="*/ 511583 h 2380521"/>
              <a:gd name="connsiteX3252" fmla="*/ 1512192 w 8023328"/>
              <a:gd name="connsiteY3252" fmla="*/ 525440 h 2380521"/>
              <a:gd name="connsiteX3253" fmla="*/ 1497607 w 8023328"/>
              <a:gd name="connsiteY3253" fmla="*/ 511583 h 2380521"/>
              <a:gd name="connsiteX3254" fmla="*/ 1512192 w 8023328"/>
              <a:gd name="connsiteY3254" fmla="*/ 499186 h 2380521"/>
              <a:gd name="connsiteX3255" fmla="*/ 1440623 w 8023328"/>
              <a:gd name="connsiteY3255" fmla="*/ 499186 h 2380521"/>
              <a:gd name="connsiteX3256" fmla="*/ 1453023 w 8023328"/>
              <a:gd name="connsiteY3256" fmla="*/ 511583 h 2380521"/>
              <a:gd name="connsiteX3257" fmla="*/ 1440623 w 8023328"/>
              <a:gd name="connsiteY3257" fmla="*/ 525440 h 2380521"/>
              <a:gd name="connsiteX3258" fmla="*/ 1426771 w 8023328"/>
              <a:gd name="connsiteY3258" fmla="*/ 511583 h 2380521"/>
              <a:gd name="connsiteX3259" fmla="*/ 1440623 w 8023328"/>
              <a:gd name="connsiteY3259" fmla="*/ 499186 h 2380521"/>
              <a:gd name="connsiteX3260" fmla="*/ 1368341 w 8023328"/>
              <a:gd name="connsiteY3260" fmla="*/ 499186 h 2380521"/>
              <a:gd name="connsiteX3261" fmla="*/ 1382196 w 8023328"/>
              <a:gd name="connsiteY3261" fmla="*/ 511583 h 2380521"/>
              <a:gd name="connsiteX3262" fmla="*/ 1368341 w 8023328"/>
              <a:gd name="connsiteY3262" fmla="*/ 525440 h 2380521"/>
              <a:gd name="connsiteX3263" fmla="*/ 1355948 w 8023328"/>
              <a:gd name="connsiteY3263" fmla="*/ 511583 h 2380521"/>
              <a:gd name="connsiteX3264" fmla="*/ 1368341 w 8023328"/>
              <a:gd name="connsiteY3264" fmla="*/ 499186 h 2380521"/>
              <a:gd name="connsiteX3265" fmla="*/ 1297515 w 8023328"/>
              <a:gd name="connsiteY3265" fmla="*/ 499186 h 2380521"/>
              <a:gd name="connsiteX3266" fmla="*/ 1311369 w 8023328"/>
              <a:gd name="connsiteY3266" fmla="*/ 513042 h 2380521"/>
              <a:gd name="connsiteX3267" fmla="*/ 1297515 w 8023328"/>
              <a:gd name="connsiteY3267" fmla="*/ 525440 h 2380521"/>
              <a:gd name="connsiteX3268" fmla="*/ 1285118 w 8023328"/>
              <a:gd name="connsiteY3268" fmla="*/ 513042 h 2380521"/>
              <a:gd name="connsiteX3269" fmla="*/ 1297515 w 8023328"/>
              <a:gd name="connsiteY3269" fmla="*/ 499186 h 2380521"/>
              <a:gd name="connsiteX3270" fmla="*/ 1225700 w 8023328"/>
              <a:gd name="connsiteY3270" fmla="*/ 499186 h 2380521"/>
              <a:gd name="connsiteX3271" fmla="*/ 1240491 w 8023328"/>
              <a:gd name="connsiteY3271" fmla="*/ 513042 h 2380521"/>
              <a:gd name="connsiteX3272" fmla="*/ 1225700 w 8023328"/>
              <a:gd name="connsiteY3272" fmla="*/ 525440 h 2380521"/>
              <a:gd name="connsiteX3273" fmla="*/ 1210925 w 8023328"/>
              <a:gd name="connsiteY3273" fmla="*/ 513042 h 2380521"/>
              <a:gd name="connsiteX3274" fmla="*/ 1225700 w 8023328"/>
              <a:gd name="connsiteY3274" fmla="*/ 499186 h 2380521"/>
              <a:gd name="connsiteX3275" fmla="*/ 1154881 w 8023328"/>
              <a:gd name="connsiteY3275" fmla="*/ 499186 h 2380521"/>
              <a:gd name="connsiteX3276" fmla="*/ 1169669 w 8023328"/>
              <a:gd name="connsiteY3276" fmla="*/ 513042 h 2380521"/>
              <a:gd name="connsiteX3277" fmla="*/ 1154881 w 8023328"/>
              <a:gd name="connsiteY3277" fmla="*/ 525440 h 2380521"/>
              <a:gd name="connsiteX3278" fmla="*/ 1140095 w 8023328"/>
              <a:gd name="connsiteY3278" fmla="*/ 513042 h 2380521"/>
              <a:gd name="connsiteX3279" fmla="*/ 1154881 w 8023328"/>
              <a:gd name="connsiteY3279" fmla="*/ 499186 h 2380521"/>
              <a:gd name="connsiteX3280" fmla="*/ 1084053 w 8023328"/>
              <a:gd name="connsiteY3280" fmla="*/ 499186 h 2380521"/>
              <a:gd name="connsiteX3281" fmla="*/ 1098842 w 8023328"/>
              <a:gd name="connsiteY3281" fmla="*/ 513042 h 2380521"/>
              <a:gd name="connsiteX3282" fmla="*/ 1084053 w 8023328"/>
              <a:gd name="connsiteY3282" fmla="*/ 525440 h 2380521"/>
              <a:gd name="connsiteX3283" fmla="*/ 1069267 w 8023328"/>
              <a:gd name="connsiteY3283" fmla="*/ 513042 h 2380521"/>
              <a:gd name="connsiteX3284" fmla="*/ 1084053 w 8023328"/>
              <a:gd name="connsiteY3284" fmla="*/ 499186 h 2380521"/>
              <a:gd name="connsiteX3285" fmla="*/ 1013012 w 8023328"/>
              <a:gd name="connsiteY3285" fmla="*/ 499186 h 2380521"/>
              <a:gd name="connsiteX3286" fmla="*/ 1024685 w 8023328"/>
              <a:gd name="connsiteY3286" fmla="*/ 513042 h 2380521"/>
              <a:gd name="connsiteX3287" fmla="*/ 1013012 w 8023328"/>
              <a:gd name="connsiteY3287" fmla="*/ 525440 h 2380521"/>
              <a:gd name="connsiteX3288" fmla="*/ 998433 w 8023328"/>
              <a:gd name="connsiteY3288" fmla="*/ 513042 h 2380521"/>
              <a:gd name="connsiteX3289" fmla="*/ 1013012 w 8023328"/>
              <a:gd name="connsiteY3289" fmla="*/ 499186 h 2380521"/>
              <a:gd name="connsiteX3290" fmla="*/ 941461 w 8023328"/>
              <a:gd name="connsiteY3290" fmla="*/ 499186 h 2380521"/>
              <a:gd name="connsiteX3291" fmla="*/ 953861 w 8023328"/>
              <a:gd name="connsiteY3291" fmla="*/ 513042 h 2380521"/>
              <a:gd name="connsiteX3292" fmla="*/ 941461 w 8023328"/>
              <a:gd name="connsiteY3292" fmla="*/ 525440 h 2380521"/>
              <a:gd name="connsiteX3293" fmla="*/ 927607 w 8023328"/>
              <a:gd name="connsiteY3293" fmla="*/ 513042 h 2380521"/>
              <a:gd name="connsiteX3294" fmla="*/ 941461 w 8023328"/>
              <a:gd name="connsiteY3294" fmla="*/ 499186 h 2380521"/>
              <a:gd name="connsiteX3295" fmla="*/ 870626 w 8023328"/>
              <a:gd name="connsiteY3295" fmla="*/ 499186 h 2380521"/>
              <a:gd name="connsiteX3296" fmla="*/ 883027 w 8023328"/>
              <a:gd name="connsiteY3296" fmla="*/ 513042 h 2380521"/>
              <a:gd name="connsiteX3297" fmla="*/ 870626 w 8023328"/>
              <a:gd name="connsiteY3297" fmla="*/ 525440 h 2380521"/>
              <a:gd name="connsiteX3298" fmla="*/ 856774 w 8023328"/>
              <a:gd name="connsiteY3298" fmla="*/ 513042 h 2380521"/>
              <a:gd name="connsiteX3299" fmla="*/ 870626 w 8023328"/>
              <a:gd name="connsiteY3299" fmla="*/ 499186 h 2380521"/>
              <a:gd name="connsiteX3300" fmla="*/ 798340 w 8023328"/>
              <a:gd name="connsiteY3300" fmla="*/ 499186 h 2380521"/>
              <a:gd name="connsiteX3301" fmla="*/ 812196 w 8023328"/>
              <a:gd name="connsiteY3301" fmla="*/ 513042 h 2380521"/>
              <a:gd name="connsiteX3302" fmla="*/ 798340 w 8023328"/>
              <a:gd name="connsiteY3302" fmla="*/ 525440 h 2380521"/>
              <a:gd name="connsiteX3303" fmla="*/ 785941 w 8023328"/>
              <a:gd name="connsiteY3303" fmla="*/ 513042 h 2380521"/>
              <a:gd name="connsiteX3304" fmla="*/ 798340 w 8023328"/>
              <a:gd name="connsiteY3304" fmla="*/ 499186 h 2380521"/>
              <a:gd name="connsiteX3305" fmla="*/ 724135 w 8023328"/>
              <a:gd name="connsiteY3305" fmla="*/ 499186 h 2380521"/>
              <a:gd name="connsiteX3306" fmla="*/ 737991 w 8023328"/>
              <a:gd name="connsiteY3306" fmla="*/ 513042 h 2380521"/>
              <a:gd name="connsiteX3307" fmla="*/ 724135 w 8023328"/>
              <a:gd name="connsiteY3307" fmla="*/ 525440 h 2380521"/>
              <a:gd name="connsiteX3308" fmla="*/ 711744 w 8023328"/>
              <a:gd name="connsiteY3308" fmla="*/ 513042 h 2380521"/>
              <a:gd name="connsiteX3309" fmla="*/ 724135 w 8023328"/>
              <a:gd name="connsiteY3309" fmla="*/ 499186 h 2380521"/>
              <a:gd name="connsiteX3310" fmla="*/ 653306 w 8023328"/>
              <a:gd name="connsiteY3310" fmla="*/ 499186 h 2380521"/>
              <a:gd name="connsiteX3311" fmla="*/ 667164 w 8023328"/>
              <a:gd name="connsiteY3311" fmla="*/ 513042 h 2380521"/>
              <a:gd name="connsiteX3312" fmla="*/ 653306 w 8023328"/>
              <a:gd name="connsiteY3312" fmla="*/ 525440 h 2380521"/>
              <a:gd name="connsiteX3313" fmla="*/ 640910 w 8023328"/>
              <a:gd name="connsiteY3313" fmla="*/ 513042 h 2380521"/>
              <a:gd name="connsiteX3314" fmla="*/ 653306 w 8023328"/>
              <a:gd name="connsiteY3314" fmla="*/ 499186 h 2380521"/>
              <a:gd name="connsiteX3315" fmla="*/ 584869 w 8023328"/>
              <a:gd name="connsiteY3315" fmla="*/ 499186 h 2380521"/>
              <a:gd name="connsiteX3316" fmla="*/ 599654 w 8023328"/>
              <a:gd name="connsiteY3316" fmla="*/ 513042 h 2380521"/>
              <a:gd name="connsiteX3317" fmla="*/ 584869 w 8023328"/>
              <a:gd name="connsiteY3317" fmla="*/ 525440 h 2380521"/>
              <a:gd name="connsiteX3318" fmla="*/ 570076 w 8023328"/>
              <a:gd name="connsiteY3318" fmla="*/ 513042 h 2380521"/>
              <a:gd name="connsiteX3319" fmla="*/ 584869 w 8023328"/>
              <a:gd name="connsiteY3319" fmla="*/ 499186 h 2380521"/>
              <a:gd name="connsiteX3320" fmla="*/ 513670 w 8023328"/>
              <a:gd name="connsiteY3320" fmla="*/ 499186 h 2380521"/>
              <a:gd name="connsiteX3321" fmla="*/ 528846 w 8023328"/>
              <a:gd name="connsiteY3321" fmla="*/ 513042 h 2380521"/>
              <a:gd name="connsiteX3322" fmla="*/ 513670 w 8023328"/>
              <a:gd name="connsiteY3322" fmla="*/ 525440 h 2380521"/>
              <a:gd name="connsiteX3323" fmla="*/ 499248 w 8023328"/>
              <a:gd name="connsiteY3323" fmla="*/ 513042 h 2380521"/>
              <a:gd name="connsiteX3324" fmla="*/ 513670 w 8023328"/>
              <a:gd name="connsiteY3324" fmla="*/ 499186 h 2380521"/>
              <a:gd name="connsiteX3325" fmla="*/ 3939871 w 8023328"/>
              <a:gd name="connsiteY3325" fmla="*/ 495814 h 2380521"/>
              <a:gd name="connsiteX3326" fmla="*/ 3952268 w 8023328"/>
              <a:gd name="connsiteY3326" fmla="*/ 510602 h 2380521"/>
              <a:gd name="connsiteX3327" fmla="*/ 3939871 w 8023328"/>
              <a:gd name="connsiteY3327" fmla="*/ 525391 h 2380521"/>
              <a:gd name="connsiteX3328" fmla="*/ 3926015 w 8023328"/>
              <a:gd name="connsiteY3328" fmla="*/ 510602 h 2380521"/>
              <a:gd name="connsiteX3329" fmla="*/ 3939871 w 8023328"/>
              <a:gd name="connsiteY3329" fmla="*/ 495814 h 2380521"/>
              <a:gd name="connsiteX3330" fmla="*/ 3869042 w 8023328"/>
              <a:gd name="connsiteY3330" fmla="*/ 495814 h 2380521"/>
              <a:gd name="connsiteX3331" fmla="*/ 3881439 w 8023328"/>
              <a:gd name="connsiteY3331" fmla="*/ 510602 h 2380521"/>
              <a:gd name="connsiteX3332" fmla="*/ 3869042 w 8023328"/>
              <a:gd name="connsiteY3332" fmla="*/ 525391 h 2380521"/>
              <a:gd name="connsiteX3333" fmla="*/ 3855186 w 8023328"/>
              <a:gd name="connsiteY3333" fmla="*/ 510602 h 2380521"/>
              <a:gd name="connsiteX3334" fmla="*/ 3869042 w 8023328"/>
              <a:gd name="connsiteY3334" fmla="*/ 495814 h 2380521"/>
              <a:gd name="connsiteX3335" fmla="*/ 3796752 w 8023328"/>
              <a:gd name="connsiteY3335" fmla="*/ 495814 h 2380521"/>
              <a:gd name="connsiteX3336" fmla="*/ 3810608 w 8023328"/>
              <a:gd name="connsiteY3336" fmla="*/ 510602 h 2380521"/>
              <a:gd name="connsiteX3337" fmla="*/ 3796752 w 8023328"/>
              <a:gd name="connsiteY3337" fmla="*/ 525391 h 2380521"/>
              <a:gd name="connsiteX3338" fmla="*/ 3784355 w 8023328"/>
              <a:gd name="connsiteY3338" fmla="*/ 510602 h 2380521"/>
              <a:gd name="connsiteX3339" fmla="*/ 3796752 w 8023328"/>
              <a:gd name="connsiteY3339" fmla="*/ 495814 h 2380521"/>
              <a:gd name="connsiteX3340" fmla="*/ 3725922 w 8023328"/>
              <a:gd name="connsiteY3340" fmla="*/ 495814 h 2380521"/>
              <a:gd name="connsiteX3341" fmla="*/ 3739778 w 8023328"/>
              <a:gd name="connsiteY3341" fmla="*/ 510602 h 2380521"/>
              <a:gd name="connsiteX3342" fmla="*/ 3725922 w 8023328"/>
              <a:gd name="connsiteY3342" fmla="*/ 525391 h 2380521"/>
              <a:gd name="connsiteX3343" fmla="*/ 3713525 w 8023328"/>
              <a:gd name="connsiteY3343" fmla="*/ 510602 h 2380521"/>
              <a:gd name="connsiteX3344" fmla="*/ 3725922 w 8023328"/>
              <a:gd name="connsiteY3344" fmla="*/ 495814 h 2380521"/>
              <a:gd name="connsiteX3345" fmla="*/ 3655091 w 8023328"/>
              <a:gd name="connsiteY3345" fmla="*/ 495814 h 2380521"/>
              <a:gd name="connsiteX3346" fmla="*/ 3668947 w 8023328"/>
              <a:gd name="connsiteY3346" fmla="*/ 510602 h 2380521"/>
              <a:gd name="connsiteX3347" fmla="*/ 3655091 w 8023328"/>
              <a:gd name="connsiteY3347" fmla="*/ 525391 h 2380521"/>
              <a:gd name="connsiteX3348" fmla="*/ 3642694 w 8023328"/>
              <a:gd name="connsiteY3348" fmla="*/ 510602 h 2380521"/>
              <a:gd name="connsiteX3349" fmla="*/ 3655091 w 8023328"/>
              <a:gd name="connsiteY3349" fmla="*/ 495814 h 2380521"/>
              <a:gd name="connsiteX3350" fmla="*/ 3583280 w 8023328"/>
              <a:gd name="connsiteY3350" fmla="*/ 495814 h 2380521"/>
              <a:gd name="connsiteX3351" fmla="*/ 3598069 w 8023328"/>
              <a:gd name="connsiteY3351" fmla="*/ 510602 h 2380521"/>
              <a:gd name="connsiteX3352" fmla="*/ 3583280 w 8023328"/>
              <a:gd name="connsiteY3352" fmla="*/ 525391 h 2380521"/>
              <a:gd name="connsiteX3353" fmla="*/ 3568491 w 8023328"/>
              <a:gd name="connsiteY3353" fmla="*/ 510602 h 2380521"/>
              <a:gd name="connsiteX3354" fmla="*/ 3583280 w 8023328"/>
              <a:gd name="connsiteY3354" fmla="*/ 495814 h 2380521"/>
              <a:gd name="connsiteX3355" fmla="*/ 3512449 w 8023328"/>
              <a:gd name="connsiteY3355" fmla="*/ 495814 h 2380521"/>
              <a:gd name="connsiteX3356" fmla="*/ 3527237 w 8023328"/>
              <a:gd name="connsiteY3356" fmla="*/ 510602 h 2380521"/>
              <a:gd name="connsiteX3357" fmla="*/ 3512449 w 8023328"/>
              <a:gd name="connsiteY3357" fmla="*/ 525391 h 2380521"/>
              <a:gd name="connsiteX3358" fmla="*/ 3497661 w 8023328"/>
              <a:gd name="connsiteY3358" fmla="*/ 510602 h 2380521"/>
              <a:gd name="connsiteX3359" fmla="*/ 3512449 w 8023328"/>
              <a:gd name="connsiteY3359" fmla="*/ 495814 h 2380521"/>
              <a:gd name="connsiteX3360" fmla="*/ 3440686 w 8023328"/>
              <a:gd name="connsiteY3360" fmla="*/ 495814 h 2380521"/>
              <a:gd name="connsiteX3361" fmla="*/ 3453083 w 8023328"/>
              <a:gd name="connsiteY3361" fmla="*/ 510602 h 2380521"/>
              <a:gd name="connsiteX3362" fmla="*/ 3440686 w 8023328"/>
              <a:gd name="connsiteY3362" fmla="*/ 525391 h 2380521"/>
              <a:gd name="connsiteX3363" fmla="*/ 3426830 w 8023328"/>
              <a:gd name="connsiteY3363" fmla="*/ 510602 h 2380521"/>
              <a:gd name="connsiteX3364" fmla="*/ 3440686 w 8023328"/>
              <a:gd name="connsiteY3364" fmla="*/ 495814 h 2380521"/>
              <a:gd name="connsiteX3365" fmla="*/ 3369857 w 8023328"/>
              <a:gd name="connsiteY3365" fmla="*/ 495814 h 2380521"/>
              <a:gd name="connsiteX3366" fmla="*/ 3382254 w 8023328"/>
              <a:gd name="connsiteY3366" fmla="*/ 510602 h 2380521"/>
              <a:gd name="connsiteX3367" fmla="*/ 3369857 w 8023328"/>
              <a:gd name="connsiteY3367" fmla="*/ 525391 h 2380521"/>
              <a:gd name="connsiteX3368" fmla="*/ 3356001 w 8023328"/>
              <a:gd name="connsiteY3368" fmla="*/ 510602 h 2380521"/>
              <a:gd name="connsiteX3369" fmla="*/ 3369857 w 8023328"/>
              <a:gd name="connsiteY3369" fmla="*/ 495814 h 2380521"/>
              <a:gd name="connsiteX3370" fmla="*/ 3299094 w 8023328"/>
              <a:gd name="connsiteY3370" fmla="*/ 495814 h 2380521"/>
              <a:gd name="connsiteX3371" fmla="*/ 3311491 w 8023328"/>
              <a:gd name="connsiteY3371" fmla="*/ 510602 h 2380521"/>
              <a:gd name="connsiteX3372" fmla="*/ 3299094 w 8023328"/>
              <a:gd name="connsiteY3372" fmla="*/ 525391 h 2380521"/>
              <a:gd name="connsiteX3373" fmla="*/ 3285240 w 8023328"/>
              <a:gd name="connsiteY3373" fmla="*/ 510602 h 2380521"/>
              <a:gd name="connsiteX3374" fmla="*/ 3299094 w 8023328"/>
              <a:gd name="connsiteY3374" fmla="*/ 495814 h 2380521"/>
              <a:gd name="connsiteX3375" fmla="*/ 3226805 w 8023328"/>
              <a:gd name="connsiteY3375" fmla="*/ 495814 h 2380521"/>
              <a:gd name="connsiteX3376" fmla="*/ 3240660 w 8023328"/>
              <a:gd name="connsiteY3376" fmla="*/ 510602 h 2380521"/>
              <a:gd name="connsiteX3377" fmla="*/ 3226805 w 8023328"/>
              <a:gd name="connsiteY3377" fmla="*/ 525391 h 2380521"/>
              <a:gd name="connsiteX3378" fmla="*/ 3214406 w 8023328"/>
              <a:gd name="connsiteY3378" fmla="*/ 510602 h 2380521"/>
              <a:gd name="connsiteX3379" fmla="*/ 3226805 w 8023328"/>
              <a:gd name="connsiteY3379" fmla="*/ 495814 h 2380521"/>
              <a:gd name="connsiteX3380" fmla="*/ 3152602 w 8023328"/>
              <a:gd name="connsiteY3380" fmla="*/ 495814 h 2380521"/>
              <a:gd name="connsiteX3381" fmla="*/ 3166454 w 8023328"/>
              <a:gd name="connsiteY3381" fmla="*/ 510602 h 2380521"/>
              <a:gd name="connsiteX3382" fmla="*/ 3152602 w 8023328"/>
              <a:gd name="connsiteY3382" fmla="*/ 525391 h 2380521"/>
              <a:gd name="connsiteX3383" fmla="*/ 3140203 w 8023328"/>
              <a:gd name="connsiteY3383" fmla="*/ 510602 h 2380521"/>
              <a:gd name="connsiteX3384" fmla="*/ 3152602 w 8023328"/>
              <a:gd name="connsiteY3384" fmla="*/ 495814 h 2380521"/>
              <a:gd name="connsiteX3385" fmla="*/ 2439944 w 8023328"/>
              <a:gd name="connsiteY3385" fmla="*/ 428356 h 2380521"/>
              <a:gd name="connsiteX3386" fmla="*/ 2454729 w 8023328"/>
              <a:gd name="connsiteY3386" fmla="*/ 440753 h 2380521"/>
              <a:gd name="connsiteX3387" fmla="*/ 2439944 w 8023328"/>
              <a:gd name="connsiteY3387" fmla="*/ 454610 h 2380521"/>
              <a:gd name="connsiteX3388" fmla="*/ 2425156 w 8023328"/>
              <a:gd name="connsiteY3388" fmla="*/ 440753 h 2380521"/>
              <a:gd name="connsiteX3389" fmla="*/ 2439944 w 8023328"/>
              <a:gd name="connsiteY3389" fmla="*/ 428356 h 2380521"/>
              <a:gd name="connsiteX3390" fmla="*/ 2369110 w 8023328"/>
              <a:gd name="connsiteY3390" fmla="*/ 428356 h 2380521"/>
              <a:gd name="connsiteX3391" fmla="*/ 2383898 w 8023328"/>
              <a:gd name="connsiteY3391" fmla="*/ 440753 h 2380521"/>
              <a:gd name="connsiteX3392" fmla="*/ 2369110 w 8023328"/>
              <a:gd name="connsiteY3392" fmla="*/ 454610 h 2380521"/>
              <a:gd name="connsiteX3393" fmla="*/ 2354319 w 8023328"/>
              <a:gd name="connsiteY3393" fmla="*/ 440753 h 2380521"/>
              <a:gd name="connsiteX3394" fmla="*/ 2369110 w 8023328"/>
              <a:gd name="connsiteY3394" fmla="*/ 428356 h 2380521"/>
              <a:gd name="connsiteX3395" fmla="*/ 2298278 w 8023328"/>
              <a:gd name="connsiteY3395" fmla="*/ 428356 h 2380521"/>
              <a:gd name="connsiteX3396" fmla="*/ 2313066 w 8023328"/>
              <a:gd name="connsiteY3396" fmla="*/ 440753 h 2380521"/>
              <a:gd name="connsiteX3397" fmla="*/ 2298278 w 8023328"/>
              <a:gd name="connsiteY3397" fmla="*/ 454610 h 2380521"/>
              <a:gd name="connsiteX3398" fmla="*/ 2283490 w 8023328"/>
              <a:gd name="connsiteY3398" fmla="*/ 440753 h 2380521"/>
              <a:gd name="connsiteX3399" fmla="*/ 2298278 w 8023328"/>
              <a:gd name="connsiteY3399" fmla="*/ 428356 h 2380521"/>
              <a:gd name="connsiteX3400" fmla="*/ 2226514 w 8023328"/>
              <a:gd name="connsiteY3400" fmla="*/ 428356 h 2380521"/>
              <a:gd name="connsiteX3401" fmla="*/ 2238914 w 8023328"/>
              <a:gd name="connsiteY3401" fmla="*/ 440753 h 2380521"/>
              <a:gd name="connsiteX3402" fmla="*/ 2226514 w 8023328"/>
              <a:gd name="connsiteY3402" fmla="*/ 454610 h 2380521"/>
              <a:gd name="connsiteX3403" fmla="*/ 2212656 w 8023328"/>
              <a:gd name="connsiteY3403" fmla="*/ 440753 h 2380521"/>
              <a:gd name="connsiteX3404" fmla="*/ 2226514 w 8023328"/>
              <a:gd name="connsiteY3404" fmla="*/ 428356 h 2380521"/>
              <a:gd name="connsiteX3405" fmla="*/ 2155682 w 8023328"/>
              <a:gd name="connsiteY3405" fmla="*/ 428356 h 2380521"/>
              <a:gd name="connsiteX3406" fmla="*/ 2168079 w 8023328"/>
              <a:gd name="connsiteY3406" fmla="*/ 440753 h 2380521"/>
              <a:gd name="connsiteX3407" fmla="*/ 2155682 w 8023328"/>
              <a:gd name="connsiteY3407" fmla="*/ 454610 h 2380521"/>
              <a:gd name="connsiteX3408" fmla="*/ 2141825 w 8023328"/>
              <a:gd name="connsiteY3408" fmla="*/ 440753 h 2380521"/>
              <a:gd name="connsiteX3409" fmla="*/ 2155682 w 8023328"/>
              <a:gd name="connsiteY3409" fmla="*/ 428356 h 2380521"/>
              <a:gd name="connsiteX3410" fmla="*/ 2084846 w 8023328"/>
              <a:gd name="connsiteY3410" fmla="*/ 428356 h 2380521"/>
              <a:gd name="connsiteX3411" fmla="*/ 2097246 w 8023328"/>
              <a:gd name="connsiteY3411" fmla="*/ 440753 h 2380521"/>
              <a:gd name="connsiteX3412" fmla="*/ 2084846 w 8023328"/>
              <a:gd name="connsiteY3412" fmla="*/ 454610 h 2380521"/>
              <a:gd name="connsiteX3413" fmla="*/ 2070991 w 8023328"/>
              <a:gd name="connsiteY3413" fmla="*/ 440753 h 2380521"/>
              <a:gd name="connsiteX3414" fmla="*/ 2084846 w 8023328"/>
              <a:gd name="connsiteY3414" fmla="*/ 428356 h 2380521"/>
              <a:gd name="connsiteX3415" fmla="*/ 2011832 w 8023328"/>
              <a:gd name="connsiteY3415" fmla="*/ 428356 h 2380521"/>
              <a:gd name="connsiteX3416" fmla="*/ 2026418 w 8023328"/>
              <a:gd name="connsiteY3416" fmla="*/ 440753 h 2380521"/>
              <a:gd name="connsiteX3417" fmla="*/ 2011832 w 8023328"/>
              <a:gd name="connsiteY3417" fmla="*/ 454610 h 2380521"/>
              <a:gd name="connsiteX3418" fmla="*/ 2000165 w 8023328"/>
              <a:gd name="connsiteY3418" fmla="*/ 440753 h 2380521"/>
              <a:gd name="connsiteX3419" fmla="*/ 2011832 w 8023328"/>
              <a:gd name="connsiteY3419" fmla="*/ 428356 h 2380521"/>
              <a:gd name="connsiteX3420" fmla="*/ 1938362 w 8023328"/>
              <a:gd name="connsiteY3420" fmla="*/ 428356 h 2380521"/>
              <a:gd name="connsiteX3421" fmla="*/ 1952216 w 8023328"/>
              <a:gd name="connsiteY3421" fmla="*/ 440753 h 2380521"/>
              <a:gd name="connsiteX3422" fmla="*/ 1938362 w 8023328"/>
              <a:gd name="connsiteY3422" fmla="*/ 454610 h 2380521"/>
              <a:gd name="connsiteX3423" fmla="*/ 1925965 w 8023328"/>
              <a:gd name="connsiteY3423" fmla="*/ 440753 h 2380521"/>
              <a:gd name="connsiteX3424" fmla="*/ 1938362 w 8023328"/>
              <a:gd name="connsiteY3424" fmla="*/ 428356 h 2380521"/>
              <a:gd name="connsiteX3425" fmla="*/ 1867525 w 8023328"/>
              <a:gd name="connsiteY3425" fmla="*/ 428356 h 2380521"/>
              <a:gd name="connsiteX3426" fmla="*/ 1881384 w 8023328"/>
              <a:gd name="connsiteY3426" fmla="*/ 440753 h 2380521"/>
              <a:gd name="connsiteX3427" fmla="*/ 1867525 w 8023328"/>
              <a:gd name="connsiteY3427" fmla="*/ 454610 h 2380521"/>
              <a:gd name="connsiteX3428" fmla="*/ 1855126 w 8023328"/>
              <a:gd name="connsiteY3428" fmla="*/ 440753 h 2380521"/>
              <a:gd name="connsiteX3429" fmla="*/ 1867525 w 8023328"/>
              <a:gd name="connsiteY3429" fmla="*/ 428356 h 2380521"/>
              <a:gd name="connsiteX3430" fmla="*/ 1799085 w 8023328"/>
              <a:gd name="connsiteY3430" fmla="*/ 428356 h 2380521"/>
              <a:gd name="connsiteX3431" fmla="*/ 1813873 w 8023328"/>
              <a:gd name="connsiteY3431" fmla="*/ 440753 h 2380521"/>
              <a:gd name="connsiteX3432" fmla="*/ 1799085 w 8023328"/>
              <a:gd name="connsiteY3432" fmla="*/ 454610 h 2380521"/>
              <a:gd name="connsiteX3433" fmla="*/ 1784298 w 8023328"/>
              <a:gd name="connsiteY3433" fmla="*/ 440753 h 2380521"/>
              <a:gd name="connsiteX3434" fmla="*/ 1799085 w 8023328"/>
              <a:gd name="connsiteY3434" fmla="*/ 428356 h 2380521"/>
              <a:gd name="connsiteX3435" fmla="*/ 1728260 w 8023328"/>
              <a:gd name="connsiteY3435" fmla="*/ 428356 h 2380521"/>
              <a:gd name="connsiteX3436" fmla="*/ 1743046 w 8023328"/>
              <a:gd name="connsiteY3436" fmla="*/ 440753 h 2380521"/>
              <a:gd name="connsiteX3437" fmla="*/ 1728260 w 8023328"/>
              <a:gd name="connsiteY3437" fmla="*/ 454610 h 2380521"/>
              <a:gd name="connsiteX3438" fmla="*/ 1713469 w 8023328"/>
              <a:gd name="connsiteY3438" fmla="*/ 440753 h 2380521"/>
              <a:gd name="connsiteX3439" fmla="*/ 1728260 w 8023328"/>
              <a:gd name="connsiteY3439" fmla="*/ 428356 h 2380521"/>
              <a:gd name="connsiteX3440" fmla="*/ 1657426 w 8023328"/>
              <a:gd name="connsiteY3440" fmla="*/ 428356 h 2380521"/>
              <a:gd name="connsiteX3441" fmla="*/ 1672218 w 8023328"/>
              <a:gd name="connsiteY3441" fmla="*/ 440753 h 2380521"/>
              <a:gd name="connsiteX3442" fmla="*/ 1657426 w 8023328"/>
              <a:gd name="connsiteY3442" fmla="*/ 454610 h 2380521"/>
              <a:gd name="connsiteX3443" fmla="*/ 1642647 w 8023328"/>
              <a:gd name="connsiteY3443" fmla="*/ 440753 h 2380521"/>
              <a:gd name="connsiteX3444" fmla="*/ 1657426 w 8023328"/>
              <a:gd name="connsiteY3444" fmla="*/ 428356 h 2380521"/>
              <a:gd name="connsiteX3445" fmla="*/ 1582294 w 8023328"/>
              <a:gd name="connsiteY3445" fmla="*/ 428356 h 2380521"/>
              <a:gd name="connsiteX3446" fmla="*/ 1594697 w 8023328"/>
              <a:gd name="connsiteY3446" fmla="*/ 440753 h 2380521"/>
              <a:gd name="connsiteX3447" fmla="*/ 1582294 w 8023328"/>
              <a:gd name="connsiteY3447" fmla="*/ 454610 h 2380521"/>
              <a:gd name="connsiteX3448" fmla="*/ 1568438 w 8023328"/>
              <a:gd name="connsiteY3448" fmla="*/ 440753 h 2380521"/>
              <a:gd name="connsiteX3449" fmla="*/ 1582294 w 8023328"/>
              <a:gd name="connsiteY3449" fmla="*/ 428356 h 2380521"/>
              <a:gd name="connsiteX3450" fmla="*/ 1512195 w 8023328"/>
              <a:gd name="connsiteY3450" fmla="*/ 428356 h 2380521"/>
              <a:gd name="connsiteX3451" fmla="*/ 1523862 w 8023328"/>
              <a:gd name="connsiteY3451" fmla="*/ 440753 h 2380521"/>
              <a:gd name="connsiteX3452" fmla="*/ 1512195 w 8023328"/>
              <a:gd name="connsiteY3452" fmla="*/ 454610 h 2380521"/>
              <a:gd name="connsiteX3453" fmla="*/ 1497610 w 8023328"/>
              <a:gd name="connsiteY3453" fmla="*/ 440753 h 2380521"/>
              <a:gd name="connsiteX3454" fmla="*/ 1512195 w 8023328"/>
              <a:gd name="connsiteY3454" fmla="*/ 428356 h 2380521"/>
              <a:gd name="connsiteX3455" fmla="*/ 1439171 w 8023328"/>
              <a:gd name="connsiteY3455" fmla="*/ 428356 h 2380521"/>
              <a:gd name="connsiteX3456" fmla="*/ 1453023 w 8023328"/>
              <a:gd name="connsiteY3456" fmla="*/ 440753 h 2380521"/>
              <a:gd name="connsiteX3457" fmla="*/ 1439171 w 8023328"/>
              <a:gd name="connsiteY3457" fmla="*/ 454610 h 2380521"/>
              <a:gd name="connsiteX3458" fmla="*/ 1426771 w 8023328"/>
              <a:gd name="connsiteY3458" fmla="*/ 440753 h 2380521"/>
              <a:gd name="connsiteX3459" fmla="*/ 1439171 w 8023328"/>
              <a:gd name="connsiteY3459" fmla="*/ 428356 h 2380521"/>
              <a:gd name="connsiteX3460" fmla="*/ 1368344 w 8023328"/>
              <a:gd name="connsiteY3460" fmla="*/ 428356 h 2380521"/>
              <a:gd name="connsiteX3461" fmla="*/ 1382196 w 8023328"/>
              <a:gd name="connsiteY3461" fmla="*/ 440753 h 2380521"/>
              <a:gd name="connsiteX3462" fmla="*/ 1368344 w 8023328"/>
              <a:gd name="connsiteY3462" fmla="*/ 454610 h 2380521"/>
              <a:gd name="connsiteX3463" fmla="*/ 1355948 w 8023328"/>
              <a:gd name="connsiteY3463" fmla="*/ 440753 h 2380521"/>
              <a:gd name="connsiteX3464" fmla="*/ 1368344 w 8023328"/>
              <a:gd name="connsiteY3464" fmla="*/ 428356 h 2380521"/>
              <a:gd name="connsiteX3465" fmla="*/ 1297515 w 8023328"/>
              <a:gd name="connsiteY3465" fmla="*/ 428356 h 2380521"/>
              <a:gd name="connsiteX3466" fmla="*/ 1311372 w 8023328"/>
              <a:gd name="connsiteY3466" fmla="*/ 440753 h 2380521"/>
              <a:gd name="connsiteX3467" fmla="*/ 1297515 w 8023328"/>
              <a:gd name="connsiteY3467" fmla="*/ 454610 h 2380521"/>
              <a:gd name="connsiteX3468" fmla="*/ 1285118 w 8023328"/>
              <a:gd name="connsiteY3468" fmla="*/ 440753 h 2380521"/>
              <a:gd name="connsiteX3469" fmla="*/ 1297515 w 8023328"/>
              <a:gd name="connsiteY3469" fmla="*/ 428356 h 2380521"/>
              <a:gd name="connsiteX3470" fmla="*/ 1225703 w 8023328"/>
              <a:gd name="connsiteY3470" fmla="*/ 428356 h 2380521"/>
              <a:gd name="connsiteX3471" fmla="*/ 1240491 w 8023328"/>
              <a:gd name="connsiteY3471" fmla="*/ 440753 h 2380521"/>
              <a:gd name="connsiteX3472" fmla="*/ 1225703 w 8023328"/>
              <a:gd name="connsiteY3472" fmla="*/ 454610 h 2380521"/>
              <a:gd name="connsiteX3473" fmla="*/ 1210925 w 8023328"/>
              <a:gd name="connsiteY3473" fmla="*/ 440753 h 2380521"/>
              <a:gd name="connsiteX3474" fmla="*/ 1225703 w 8023328"/>
              <a:gd name="connsiteY3474" fmla="*/ 428356 h 2380521"/>
              <a:gd name="connsiteX3475" fmla="*/ 1154886 w 8023328"/>
              <a:gd name="connsiteY3475" fmla="*/ 428356 h 2380521"/>
              <a:gd name="connsiteX3476" fmla="*/ 1169676 w 8023328"/>
              <a:gd name="connsiteY3476" fmla="*/ 440753 h 2380521"/>
              <a:gd name="connsiteX3477" fmla="*/ 1154886 w 8023328"/>
              <a:gd name="connsiteY3477" fmla="*/ 454610 h 2380521"/>
              <a:gd name="connsiteX3478" fmla="*/ 1140096 w 8023328"/>
              <a:gd name="connsiteY3478" fmla="*/ 440753 h 2380521"/>
              <a:gd name="connsiteX3479" fmla="*/ 1154886 w 8023328"/>
              <a:gd name="connsiteY3479" fmla="*/ 428356 h 2380521"/>
              <a:gd name="connsiteX3480" fmla="*/ 1084056 w 8023328"/>
              <a:gd name="connsiteY3480" fmla="*/ 428356 h 2380521"/>
              <a:gd name="connsiteX3481" fmla="*/ 1098844 w 8023328"/>
              <a:gd name="connsiteY3481" fmla="*/ 440753 h 2380521"/>
              <a:gd name="connsiteX3482" fmla="*/ 1084056 w 8023328"/>
              <a:gd name="connsiteY3482" fmla="*/ 454610 h 2380521"/>
              <a:gd name="connsiteX3483" fmla="*/ 1069267 w 8023328"/>
              <a:gd name="connsiteY3483" fmla="*/ 440753 h 2380521"/>
              <a:gd name="connsiteX3484" fmla="*/ 1084056 w 8023328"/>
              <a:gd name="connsiteY3484" fmla="*/ 428356 h 2380521"/>
              <a:gd name="connsiteX3485" fmla="*/ 1013015 w 8023328"/>
              <a:gd name="connsiteY3485" fmla="*/ 428356 h 2380521"/>
              <a:gd name="connsiteX3486" fmla="*/ 1024685 w 8023328"/>
              <a:gd name="connsiteY3486" fmla="*/ 440753 h 2380521"/>
              <a:gd name="connsiteX3487" fmla="*/ 1013015 w 8023328"/>
              <a:gd name="connsiteY3487" fmla="*/ 454610 h 2380521"/>
              <a:gd name="connsiteX3488" fmla="*/ 998434 w 8023328"/>
              <a:gd name="connsiteY3488" fmla="*/ 440753 h 2380521"/>
              <a:gd name="connsiteX3489" fmla="*/ 1013015 w 8023328"/>
              <a:gd name="connsiteY3489" fmla="*/ 428356 h 2380521"/>
              <a:gd name="connsiteX3490" fmla="*/ 941465 w 8023328"/>
              <a:gd name="connsiteY3490" fmla="*/ 428356 h 2380521"/>
              <a:gd name="connsiteX3491" fmla="*/ 953864 w 8023328"/>
              <a:gd name="connsiteY3491" fmla="*/ 440753 h 2380521"/>
              <a:gd name="connsiteX3492" fmla="*/ 941465 w 8023328"/>
              <a:gd name="connsiteY3492" fmla="*/ 454610 h 2380521"/>
              <a:gd name="connsiteX3493" fmla="*/ 927611 w 8023328"/>
              <a:gd name="connsiteY3493" fmla="*/ 440753 h 2380521"/>
              <a:gd name="connsiteX3494" fmla="*/ 941465 w 8023328"/>
              <a:gd name="connsiteY3494" fmla="*/ 428356 h 2380521"/>
              <a:gd name="connsiteX3495" fmla="*/ 870633 w 8023328"/>
              <a:gd name="connsiteY3495" fmla="*/ 428356 h 2380521"/>
              <a:gd name="connsiteX3496" fmla="*/ 883030 w 8023328"/>
              <a:gd name="connsiteY3496" fmla="*/ 440753 h 2380521"/>
              <a:gd name="connsiteX3497" fmla="*/ 870633 w 8023328"/>
              <a:gd name="connsiteY3497" fmla="*/ 454610 h 2380521"/>
              <a:gd name="connsiteX3498" fmla="*/ 856774 w 8023328"/>
              <a:gd name="connsiteY3498" fmla="*/ 440753 h 2380521"/>
              <a:gd name="connsiteX3499" fmla="*/ 870633 w 8023328"/>
              <a:gd name="connsiteY3499" fmla="*/ 428356 h 2380521"/>
              <a:gd name="connsiteX3500" fmla="*/ 798344 w 8023328"/>
              <a:gd name="connsiteY3500" fmla="*/ 428356 h 2380521"/>
              <a:gd name="connsiteX3501" fmla="*/ 812196 w 8023328"/>
              <a:gd name="connsiteY3501" fmla="*/ 440753 h 2380521"/>
              <a:gd name="connsiteX3502" fmla="*/ 798344 w 8023328"/>
              <a:gd name="connsiteY3502" fmla="*/ 454610 h 2380521"/>
              <a:gd name="connsiteX3503" fmla="*/ 785947 w 8023328"/>
              <a:gd name="connsiteY3503" fmla="*/ 440753 h 2380521"/>
              <a:gd name="connsiteX3504" fmla="*/ 798344 w 8023328"/>
              <a:gd name="connsiteY3504" fmla="*/ 428356 h 2380521"/>
              <a:gd name="connsiteX3505" fmla="*/ 724138 w 8023328"/>
              <a:gd name="connsiteY3505" fmla="*/ 428356 h 2380521"/>
              <a:gd name="connsiteX3506" fmla="*/ 738002 w 8023328"/>
              <a:gd name="connsiteY3506" fmla="*/ 442212 h 2380521"/>
              <a:gd name="connsiteX3507" fmla="*/ 724138 w 8023328"/>
              <a:gd name="connsiteY3507" fmla="*/ 454610 h 2380521"/>
              <a:gd name="connsiteX3508" fmla="*/ 711747 w 8023328"/>
              <a:gd name="connsiteY3508" fmla="*/ 442212 h 2380521"/>
              <a:gd name="connsiteX3509" fmla="*/ 724138 w 8023328"/>
              <a:gd name="connsiteY3509" fmla="*/ 428356 h 2380521"/>
              <a:gd name="connsiteX3510" fmla="*/ 653312 w 8023328"/>
              <a:gd name="connsiteY3510" fmla="*/ 428356 h 2380521"/>
              <a:gd name="connsiteX3511" fmla="*/ 667165 w 8023328"/>
              <a:gd name="connsiteY3511" fmla="*/ 442212 h 2380521"/>
              <a:gd name="connsiteX3512" fmla="*/ 653312 w 8023328"/>
              <a:gd name="connsiteY3512" fmla="*/ 454610 h 2380521"/>
              <a:gd name="connsiteX3513" fmla="*/ 640912 w 8023328"/>
              <a:gd name="connsiteY3513" fmla="*/ 442212 h 2380521"/>
              <a:gd name="connsiteX3514" fmla="*/ 653312 w 8023328"/>
              <a:gd name="connsiteY3514" fmla="*/ 428356 h 2380521"/>
              <a:gd name="connsiteX3515" fmla="*/ 3796752 w 8023328"/>
              <a:gd name="connsiteY3515" fmla="*/ 424982 h 2380521"/>
              <a:gd name="connsiteX3516" fmla="*/ 3810608 w 8023328"/>
              <a:gd name="connsiteY3516" fmla="*/ 439771 h 2380521"/>
              <a:gd name="connsiteX3517" fmla="*/ 3796752 w 8023328"/>
              <a:gd name="connsiteY3517" fmla="*/ 454560 h 2380521"/>
              <a:gd name="connsiteX3518" fmla="*/ 3784355 w 8023328"/>
              <a:gd name="connsiteY3518" fmla="*/ 439771 h 2380521"/>
              <a:gd name="connsiteX3519" fmla="*/ 3796752 w 8023328"/>
              <a:gd name="connsiteY3519" fmla="*/ 424982 h 2380521"/>
              <a:gd name="connsiteX3520" fmla="*/ 3725922 w 8023328"/>
              <a:gd name="connsiteY3520" fmla="*/ 424982 h 2380521"/>
              <a:gd name="connsiteX3521" fmla="*/ 3739778 w 8023328"/>
              <a:gd name="connsiteY3521" fmla="*/ 439771 h 2380521"/>
              <a:gd name="connsiteX3522" fmla="*/ 3725922 w 8023328"/>
              <a:gd name="connsiteY3522" fmla="*/ 454560 h 2380521"/>
              <a:gd name="connsiteX3523" fmla="*/ 3713525 w 8023328"/>
              <a:gd name="connsiteY3523" fmla="*/ 439771 h 2380521"/>
              <a:gd name="connsiteX3524" fmla="*/ 3725922 w 8023328"/>
              <a:gd name="connsiteY3524" fmla="*/ 424982 h 2380521"/>
              <a:gd name="connsiteX3525" fmla="*/ 3655091 w 8023328"/>
              <a:gd name="connsiteY3525" fmla="*/ 424982 h 2380521"/>
              <a:gd name="connsiteX3526" fmla="*/ 3668947 w 8023328"/>
              <a:gd name="connsiteY3526" fmla="*/ 439771 h 2380521"/>
              <a:gd name="connsiteX3527" fmla="*/ 3655091 w 8023328"/>
              <a:gd name="connsiteY3527" fmla="*/ 454560 h 2380521"/>
              <a:gd name="connsiteX3528" fmla="*/ 3642694 w 8023328"/>
              <a:gd name="connsiteY3528" fmla="*/ 439771 h 2380521"/>
              <a:gd name="connsiteX3529" fmla="*/ 3655091 w 8023328"/>
              <a:gd name="connsiteY3529" fmla="*/ 424982 h 2380521"/>
              <a:gd name="connsiteX3530" fmla="*/ 3583280 w 8023328"/>
              <a:gd name="connsiteY3530" fmla="*/ 424982 h 2380521"/>
              <a:gd name="connsiteX3531" fmla="*/ 3598069 w 8023328"/>
              <a:gd name="connsiteY3531" fmla="*/ 439771 h 2380521"/>
              <a:gd name="connsiteX3532" fmla="*/ 3583280 w 8023328"/>
              <a:gd name="connsiteY3532" fmla="*/ 454560 h 2380521"/>
              <a:gd name="connsiteX3533" fmla="*/ 3568491 w 8023328"/>
              <a:gd name="connsiteY3533" fmla="*/ 439771 h 2380521"/>
              <a:gd name="connsiteX3534" fmla="*/ 3583280 w 8023328"/>
              <a:gd name="connsiteY3534" fmla="*/ 424982 h 2380521"/>
              <a:gd name="connsiteX3535" fmla="*/ 3512449 w 8023328"/>
              <a:gd name="connsiteY3535" fmla="*/ 424982 h 2380521"/>
              <a:gd name="connsiteX3536" fmla="*/ 3527237 w 8023328"/>
              <a:gd name="connsiteY3536" fmla="*/ 439771 h 2380521"/>
              <a:gd name="connsiteX3537" fmla="*/ 3512449 w 8023328"/>
              <a:gd name="connsiteY3537" fmla="*/ 454560 h 2380521"/>
              <a:gd name="connsiteX3538" fmla="*/ 3497661 w 8023328"/>
              <a:gd name="connsiteY3538" fmla="*/ 439771 h 2380521"/>
              <a:gd name="connsiteX3539" fmla="*/ 3512449 w 8023328"/>
              <a:gd name="connsiteY3539" fmla="*/ 424982 h 2380521"/>
              <a:gd name="connsiteX3540" fmla="*/ 3440686 w 8023328"/>
              <a:gd name="connsiteY3540" fmla="*/ 424982 h 2380521"/>
              <a:gd name="connsiteX3541" fmla="*/ 3453083 w 8023328"/>
              <a:gd name="connsiteY3541" fmla="*/ 439771 h 2380521"/>
              <a:gd name="connsiteX3542" fmla="*/ 3440686 w 8023328"/>
              <a:gd name="connsiteY3542" fmla="*/ 454560 h 2380521"/>
              <a:gd name="connsiteX3543" fmla="*/ 3426830 w 8023328"/>
              <a:gd name="connsiteY3543" fmla="*/ 439771 h 2380521"/>
              <a:gd name="connsiteX3544" fmla="*/ 3440686 w 8023328"/>
              <a:gd name="connsiteY3544" fmla="*/ 424982 h 2380521"/>
              <a:gd name="connsiteX3545" fmla="*/ 3369857 w 8023328"/>
              <a:gd name="connsiteY3545" fmla="*/ 424982 h 2380521"/>
              <a:gd name="connsiteX3546" fmla="*/ 3382254 w 8023328"/>
              <a:gd name="connsiteY3546" fmla="*/ 439771 h 2380521"/>
              <a:gd name="connsiteX3547" fmla="*/ 3369857 w 8023328"/>
              <a:gd name="connsiteY3547" fmla="*/ 454560 h 2380521"/>
              <a:gd name="connsiteX3548" fmla="*/ 3356001 w 8023328"/>
              <a:gd name="connsiteY3548" fmla="*/ 439771 h 2380521"/>
              <a:gd name="connsiteX3549" fmla="*/ 3369857 w 8023328"/>
              <a:gd name="connsiteY3549" fmla="*/ 424982 h 2380521"/>
              <a:gd name="connsiteX3550" fmla="*/ 3299097 w 8023328"/>
              <a:gd name="connsiteY3550" fmla="*/ 424982 h 2380521"/>
              <a:gd name="connsiteX3551" fmla="*/ 3311491 w 8023328"/>
              <a:gd name="connsiteY3551" fmla="*/ 439771 h 2380521"/>
              <a:gd name="connsiteX3552" fmla="*/ 3299097 w 8023328"/>
              <a:gd name="connsiteY3552" fmla="*/ 454560 h 2380521"/>
              <a:gd name="connsiteX3553" fmla="*/ 3285240 w 8023328"/>
              <a:gd name="connsiteY3553" fmla="*/ 439771 h 2380521"/>
              <a:gd name="connsiteX3554" fmla="*/ 3299097 w 8023328"/>
              <a:gd name="connsiteY3554" fmla="*/ 424982 h 2380521"/>
              <a:gd name="connsiteX3555" fmla="*/ 3226805 w 8023328"/>
              <a:gd name="connsiteY3555" fmla="*/ 424982 h 2380521"/>
              <a:gd name="connsiteX3556" fmla="*/ 3240664 w 8023328"/>
              <a:gd name="connsiteY3556" fmla="*/ 439771 h 2380521"/>
              <a:gd name="connsiteX3557" fmla="*/ 3226805 w 8023328"/>
              <a:gd name="connsiteY3557" fmla="*/ 454560 h 2380521"/>
              <a:gd name="connsiteX3558" fmla="*/ 3214406 w 8023328"/>
              <a:gd name="connsiteY3558" fmla="*/ 439771 h 2380521"/>
              <a:gd name="connsiteX3559" fmla="*/ 3226805 w 8023328"/>
              <a:gd name="connsiteY3559" fmla="*/ 424982 h 2380521"/>
              <a:gd name="connsiteX3560" fmla="*/ 3152602 w 8023328"/>
              <a:gd name="connsiteY3560" fmla="*/ 424982 h 2380521"/>
              <a:gd name="connsiteX3561" fmla="*/ 3166460 w 8023328"/>
              <a:gd name="connsiteY3561" fmla="*/ 439771 h 2380521"/>
              <a:gd name="connsiteX3562" fmla="*/ 3152602 w 8023328"/>
              <a:gd name="connsiteY3562" fmla="*/ 454560 h 2380521"/>
              <a:gd name="connsiteX3563" fmla="*/ 3140203 w 8023328"/>
              <a:gd name="connsiteY3563" fmla="*/ 439771 h 2380521"/>
              <a:gd name="connsiteX3564" fmla="*/ 3152602 w 8023328"/>
              <a:gd name="connsiteY3564" fmla="*/ 424982 h 2380521"/>
              <a:gd name="connsiteX3565" fmla="*/ 3081772 w 8023328"/>
              <a:gd name="connsiteY3565" fmla="*/ 424982 h 2380521"/>
              <a:gd name="connsiteX3566" fmla="*/ 3095624 w 8023328"/>
              <a:gd name="connsiteY3566" fmla="*/ 439771 h 2380521"/>
              <a:gd name="connsiteX3567" fmla="*/ 3081772 w 8023328"/>
              <a:gd name="connsiteY3567" fmla="*/ 454560 h 2380521"/>
              <a:gd name="connsiteX3568" fmla="*/ 3069372 w 8023328"/>
              <a:gd name="connsiteY3568" fmla="*/ 439771 h 2380521"/>
              <a:gd name="connsiteX3569" fmla="*/ 3081772 w 8023328"/>
              <a:gd name="connsiteY3569" fmla="*/ 424982 h 2380521"/>
              <a:gd name="connsiteX3570" fmla="*/ 3013715 w 8023328"/>
              <a:gd name="connsiteY3570" fmla="*/ 424982 h 2380521"/>
              <a:gd name="connsiteX3571" fmla="*/ 3028135 w 8023328"/>
              <a:gd name="connsiteY3571" fmla="*/ 439771 h 2380521"/>
              <a:gd name="connsiteX3572" fmla="*/ 3013715 w 8023328"/>
              <a:gd name="connsiteY3572" fmla="*/ 454560 h 2380521"/>
              <a:gd name="connsiteX3573" fmla="*/ 2998539 w 8023328"/>
              <a:gd name="connsiteY3573" fmla="*/ 439771 h 2380521"/>
              <a:gd name="connsiteX3574" fmla="*/ 3013715 w 8023328"/>
              <a:gd name="connsiteY3574" fmla="*/ 424982 h 2380521"/>
              <a:gd name="connsiteX3575" fmla="*/ 2942491 w 8023328"/>
              <a:gd name="connsiteY3575" fmla="*/ 424982 h 2380521"/>
              <a:gd name="connsiteX3576" fmla="*/ 2957286 w 8023328"/>
              <a:gd name="connsiteY3576" fmla="*/ 439771 h 2380521"/>
              <a:gd name="connsiteX3577" fmla="*/ 2942491 w 8023328"/>
              <a:gd name="connsiteY3577" fmla="*/ 454560 h 2380521"/>
              <a:gd name="connsiteX3578" fmla="*/ 2927708 w 8023328"/>
              <a:gd name="connsiteY3578" fmla="*/ 439771 h 2380521"/>
              <a:gd name="connsiteX3579" fmla="*/ 2942491 w 8023328"/>
              <a:gd name="connsiteY3579" fmla="*/ 424982 h 2380521"/>
              <a:gd name="connsiteX3580" fmla="*/ 2868291 w 8023328"/>
              <a:gd name="connsiteY3580" fmla="*/ 424982 h 2380521"/>
              <a:gd name="connsiteX3581" fmla="*/ 2883085 w 8023328"/>
              <a:gd name="connsiteY3581" fmla="*/ 439771 h 2380521"/>
              <a:gd name="connsiteX3582" fmla="*/ 2868291 w 8023328"/>
              <a:gd name="connsiteY3582" fmla="*/ 454560 h 2380521"/>
              <a:gd name="connsiteX3583" fmla="*/ 2853504 w 8023328"/>
              <a:gd name="connsiteY3583" fmla="*/ 439771 h 2380521"/>
              <a:gd name="connsiteX3584" fmla="*/ 2868291 w 8023328"/>
              <a:gd name="connsiteY3584" fmla="*/ 424982 h 2380521"/>
              <a:gd name="connsiteX3585" fmla="*/ 2796533 w 8023328"/>
              <a:gd name="connsiteY3585" fmla="*/ 424982 h 2380521"/>
              <a:gd name="connsiteX3586" fmla="*/ 2808932 w 8023328"/>
              <a:gd name="connsiteY3586" fmla="*/ 439771 h 2380521"/>
              <a:gd name="connsiteX3587" fmla="*/ 2796533 w 8023328"/>
              <a:gd name="connsiteY3587" fmla="*/ 454560 h 2380521"/>
              <a:gd name="connsiteX3588" fmla="*/ 2782678 w 8023328"/>
              <a:gd name="connsiteY3588" fmla="*/ 439771 h 2380521"/>
              <a:gd name="connsiteX3589" fmla="*/ 2796533 w 8023328"/>
              <a:gd name="connsiteY3589" fmla="*/ 424982 h 2380521"/>
              <a:gd name="connsiteX3590" fmla="*/ 2725695 w 8023328"/>
              <a:gd name="connsiteY3590" fmla="*/ 424982 h 2380521"/>
              <a:gd name="connsiteX3591" fmla="*/ 2738097 w 8023328"/>
              <a:gd name="connsiteY3591" fmla="*/ 439771 h 2380521"/>
              <a:gd name="connsiteX3592" fmla="*/ 2725695 w 8023328"/>
              <a:gd name="connsiteY3592" fmla="*/ 454560 h 2380521"/>
              <a:gd name="connsiteX3593" fmla="*/ 2711846 w 8023328"/>
              <a:gd name="connsiteY3593" fmla="*/ 439771 h 2380521"/>
              <a:gd name="connsiteX3594" fmla="*/ 2725695 w 8023328"/>
              <a:gd name="connsiteY3594" fmla="*/ 424982 h 2380521"/>
              <a:gd name="connsiteX3595" fmla="*/ 2654870 w 8023328"/>
              <a:gd name="connsiteY3595" fmla="*/ 424982 h 2380521"/>
              <a:gd name="connsiteX3596" fmla="*/ 2667270 w 8023328"/>
              <a:gd name="connsiteY3596" fmla="*/ 439771 h 2380521"/>
              <a:gd name="connsiteX3597" fmla="*/ 2654870 w 8023328"/>
              <a:gd name="connsiteY3597" fmla="*/ 454560 h 2380521"/>
              <a:gd name="connsiteX3598" fmla="*/ 2641018 w 8023328"/>
              <a:gd name="connsiteY3598" fmla="*/ 439771 h 2380521"/>
              <a:gd name="connsiteX3599" fmla="*/ 2654870 w 8023328"/>
              <a:gd name="connsiteY3599" fmla="*/ 424982 h 2380521"/>
              <a:gd name="connsiteX3600" fmla="*/ 2582580 w 8023328"/>
              <a:gd name="connsiteY3600" fmla="*/ 424982 h 2380521"/>
              <a:gd name="connsiteX3601" fmla="*/ 2596437 w 8023328"/>
              <a:gd name="connsiteY3601" fmla="*/ 439771 h 2380521"/>
              <a:gd name="connsiteX3602" fmla="*/ 2582580 w 8023328"/>
              <a:gd name="connsiteY3602" fmla="*/ 454560 h 2380521"/>
              <a:gd name="connsiteX3603" fmla="*/ 2570184 w 8023328"/>
              <a:gd name="connsiteY3603" fmla="*/ 439771 h 2380521"/>
              <a:gd name="connsiteX3604" fmla="*/ 2582580 w 8023328"/>
              <a:gd name="connsiteY3604" fmla="*/ 424982 h 2380521"/>
              <a:gd name="connsiteX3605" fmla="*/ 2511026 w 8023328"/>
              <a:gd name="connsiteY3605" fmla="*/ 424982 h 2380521"/>
              <a:gd name="connsiteX3606" fmla="*/ 2525610 w 8023328"/>
              <a:gd name="connsiteY3606" fmla="*/ 439771 h 2380521"/>
              <a:gd name="connsiteX3607" fmla="*/ 2511026 w 8023328"/>
              <a:gd name="connsiteY3607" fmla="*/ 454560 h 2380521"/>
              <a:gd name="connsiteX3608" fmla="*/ 2499361 w 8023328"/>
              <a:gd name="connsiteY3608" fmla="*/ 439771 h 2380521"/>
              <a:gd name="connsiteX3609" fmla="*/ 2511026 w 8023328"/>
              <a:gd name="connsiteY3609" fmla="*/ 424982 h 2380521"/>
              <a:gd name="connsiteX3610" fmla="*/ 1799085 w 8023328"/>
              <a:gd name="connsiteY3610" fmla="*/ 357525 h 2380521"/>
              <a:gd name="connsiteX3611" fmla="*/ 1813873 w 8023328"/>
              <a:gd name="connsiteY3611" fmla="*/ 369922 h 2380521"/>
              <a:gd name="connsiteX3612" fmla="*/ 1799085 w 8023328"/>
              <a:gd name="connsiteY3612" fmla="*/ 383779 h 2380521"/>
              <a:gd name="connsiteX3613" fmla="*/ 1784300 w 8023328"/>
              <a:gd name="connsiteY3613" fmla="*/ 369922 h 2380521"/>
              <a:gd name="connsiteX3614" fmla="*/ 1799085 w 8023328"/>
              <a:gd name="connsiteY3614" fmla="*/ 357525 h 2380521"/>
              <a:gd name="connsiteX3615" fmla="*/ 1728262 w 8023328"/>
              <a:gd name="connsiteY3615" fmla="*/ 357525 h 2380521"/>
              <a:gd name="connsiteX3616" fmla="*/ 1743049 w 8023328"/>
              <a:gd name="connsiteY3616" fmla="*/ 369922 h 2380521"/>
              <a:gd name="connsiteX3617" fmla="*/ 1728262 w 8023328"/>
              <a:gd name="connsiteY3617" fmla="*/ 383779 h 2380521"/>
              <a:gd name="connsiteX3618" fmla="*/ 1713470 w 8023328"/>
              <a:gd name="connsiteY3618" fmla="*/ 369922 h 2380521"/>
              <a:gd name="connsiteX3619" fmla="*/ 1728262 w 8023328"/>
              <a:gd name="connsiteY3619" fmla="*/ 357525 h 2380521"/>
              <a:gd name="connsiteX3620" fmla="*/ 1657429 w 8023328"/>
              <a:gd name="connsiteY3620" fmla="*/ 357525 h 2380521"/>
              <a:gd name="connsiteX3621" fmla="*/ 1672220 w 8023328"/>
              <a:gd name="connsiteY3621" fmla="*/ 369922 h 2380521"/>
              <a:gd name="connsiteX3622" fmla="*/ 1657429 w 8023328"/>
              <a:gd name="connsiteY3622" fmla="*/ 383779 h 2380521"/>
              <a:gd name="connsiteX3623" fmla="*/ 1642650 w 8023328"/>
              <a:gd name="connsiteY3623" fmla="*/ 369922 h 2380521"/>
              <a:gd name="connsiteX3624" fmla="*/ 1657429 w 8023328"/>
              <a:gd name="connsiteY3624" fmla="*/ 357525 h 2380521"/>
              <a:gd name="connsiteX3625" fmla="*/ 1582296 w 8023328"/>
              <a:gd name="connsiteY3625" fmla="*/ 357525 h 2380521"/>
              <a:gd name="connsiteX3626" fmla="*/ 1594704 w 8023328"/>
              <a:gd name="connsiteY3626" fmla="*/ 369922 h 2380521"/>
              <a:gd name="connsiteX3627" fmla="*/ 1582296 w 8023328"/>
              <a:gd name="connsiteY3627" fmla="*/ 383779 h 2380521"/>
              <a:gd name="connsiteX3628" fmla="*/ 1568441 w 8023328"/>
              <a:gd name="connsiteY3628" fmla="*/ 369922 h 2380521"/>
              <a:gd name="connsiteX3629" fmla="*/ 1582296 w 8023328"/>
              <a:gd name="connsiteY3629" fmla="*/ 357525 h 2380521"/>
              <a:gd name="connsiteX3630" fmla="*/ 1512195 w 8023328"/>
              <a:gd name="connsiteY3630" fmla="*/ 357525 h 2380521"/>
              <a:gd name="connsiteX3631" fmla="*/ 1523863 w 8023328"/>
              <a:gd name="connsiteY3631" fmla="*/ 369922 h 2380521"/>
              <a:gd name="connsiteX3632" fmla="*/ 1512195 w 8023328"/>
              <a:gd name="connsiteY3632" fmla="*/ 383779 h 2380521"/>
              <a:gd name="connsiteX3633" fmla="*/ 1497612 w 8023328"/>
              <a:gd name="connsiteY3633" fmla="*/ 369922 h 2380521"/>
              <a:gd name="connsiteX3634" fmla="*/ 1512195 w 8023328"/>
              <a:gd name="connsiteY3634" fmla="*/ 357525 h 2380521"/>
              <a:gd name="connsiteX3635" fmla="*/ 1439171 w 8023328"/>
              <a:gd name="connsiteY3635" fmla="*/ 357525 h 2380521"/>
              <a:gd name="connsiteX3636" fmla="*/ 1453023 w 8023328"/>
              <a:gd name="connsiteY3636" fmla="*/ 369922 h 2380521"/>
              <a:gd name="connsiteX3637" fmla="*/ 1439171 w 8023328"/>
              <a:gd name="connsiteY3637" fmla="*/ 383779 h 2380521"/>
              <a:gd name="connsiteX3638" fmla="*/ 1426774 w 8023328"/>
              <a:gd name="connsiteY3638" fmla="*/ 369922 h 2380521"/>
              <a:gd name="connsiteX3639" fmla="*/ 1439171 w 8023328"/>
              <a:gd name="connsiteY3639" fmla="*/ 357525 h 2380521"/>
              <a:gd name="connsiteX3640" fmla="*/ 1368347 w 8023328"/>
              <a:gd name="connsiteY3640" fmla="*/ 357525 h 2380521"/>
              <a:gd name="connsiteX3641" fmla="*/ 1382199 w 8023328"/>
              <a:gd name="connsiteY3641" fmla="*/ 369922 h 2380521"/>
              <a:gd name="connsiteX3642" fmla="*/ 1368347 w 8023328"/>
              <a:gd name="connsiteY3642" fmla="*/ 383779 h 2380521"/>
              <a:gd name="connsiteX3643" fmla="*/ 1355949 w 8023328"/>
              <a:gd name="connsiteY3643" fmla="*/ 369922 h 2380521"/>
              <a:gd name="connsiteX3644" fmla="*/ 1368347 w 8023328"/>
              <a:gd name="connsiteY3644" fmla="*/ 357525 h 2380521"/>
              <a:gd name="connsiteX3645" fmla="*/ 1297518 w 8023328"/>
              <a:gd name="connsiteY3645" fmla="*/ 357525 h 2380521"/>
              <a:gd name="connsiteX3646" fmla="*/ 1311374 w 8023328"/>
              <a:gd name="connsiteY3646" fmla="*/ 369922 h 2380521"/>
              <a:gd name="connsiteX3647" fmla="*/ 1297518 w 8023328"/>
              <a:gd name="connsiteY3647" fmla="*/ 383779 h 2380521"/>
              <a:gd name="connsiteX3648" fmla="*/ 1285121 w 8023328"/>
              <a:gd name="connsiteY3648" fmla="*/ 369922 h 2380521"/>
              <a:gd name="connsiteX3649" fmla="*/ 1297518 w 8023328"/>
              <a:gd name="connsiteY3649" fmla="*/ 357525 h 2380521"/>
              <a:gd name="connsiteX3650" fmla="*/ 1225703 w 8023328"/>
              <a:gd name="connsiteY3650" fmla="*/ 357525 h 2380521"/>
              <a:gd name="connsiteX3651" fmla="*/ 1240493 w 8023328"/>
              <a:gd name="connsiteY3651" fmla="*/ 369922 h 2380521"/>
              <a:gd name="connsiteX3652" fmla="*/ 1225703 w 8023328"/>
              <a:gd name="connsiteY3652" fmla="*/ 383779 h 2380521"/>
              <a:gd name="connsiteX3653" fmla="*/ 1210926 w 8023328"/>
              <a:gd name="connsiteY3653" fmla="*/ 369922 h 2380521"/>
              <a:gd name="connsiteX3654" fmla="*/ 1225703 w 8023328"/>
              <a:gd name="connsiteY3654" fmla="*/ 357525 h 2380521"/>
              <a:gd name="connsiteX3655" fmla="*/ 1154890 w 8023328"/>
              <a:gd name="connsiteY3655" fmla="*/ 357525 h 2380521"/>
              <a:gd name="connsiteX3656" fmla="*/ 1169676 w 8023328"/>
              <a:gd name="connsiteY3656" fmla="*/ 369922 h 2380521"/>
              <a:gd name="connsiteX3657" fmla="*/ 1154890 w 8023328"/>
              <a:gd name="connsiteY3657" fmla="*/ 383779 h 2380521"/>
              <a:gd name="connsiteX3658" fmla="*/ 1140096 w 8023328"/>
              <a:gd name="connsiteY3658" fmla="*/ 369922 h 2380521"/>
              <a:gd name="connsiteX3659" fmla="*/ 1154890 w 8023328"/>
              <a:gd name="connsiteY3659" fmla="*/ 357525 h 2380521"/>
              <a:gd name="connsiteX3660" fmla="*/ 1084059 w 8023328"/>
              <a:gd name="connsiteY3660" fmla="*/ 357525 h 2380521"/>
              <a:gd name="connsiteX3661" fmla="*/ 1098844 w 8023328"/>
              <a:gd name="connsiteY3661" fmla="*/ 369922 h 2380521"/>
              <a:gd name="connsiteX3662" fmla="*/ 1084059 w 8023328"/>
              <a:gd name="connsiteY3662" fmla="*/ 383779 h 2380521"/>
              <a:gd name="connsiteX3663" fmla="*/ 1069268 w 8023328"/>
              <a:gd name="connsiteY3663" fmla="*/ 369922 h 2380521"/>
              <a:gd name="connsiteX3664" fmla="*/ 1084059 w 8023328"/>
              <a:gd name="connsiteY3664" fmla="*/ 357525 h 2380521"/>
              <a:gd name="connsiteX3665" fmla="*/ 1013015 w 8023328"/>
              <a:gd name="connsiteY3665" fmla="*/ 357525 h 2380521"/>
              <a:gd name="connsiteX3666" fmla="*/ 1024685 w 8023328"/>
              <a:gd name="connsiteY3666" fmla="*/ 369922 h 2380521"/>
              <a:gd name="connsiteX3667" fmla="*/ 1013015 w 8023328"/>
              <a:gd name="connsiteY3667" fmla="*/ 383779 h 2380521"/>
              <a:gd name="connsiteX3668" fmla="*/ 998434 w 8023328"/>
              <a:gd name="connsiteY3668" fmla="*/ 369922 h 2380521"/>
              <a:gd name="connsiteX3669" fmla="*/ 1013015 w 8023328"/>
              <a:gd name="connsiteY3669" fmla="*/ 357525 h 2380521"/>
              <a:gd name="connsiteX3670" fmla="*/ 941465 w 8023328"/>
              <a:gd name="connsiteY3670" fmla="*/ 357525 h 2380521"/>
              <a:gd name="connsiteX3671" fmla="*/ 953864 w 8023328"/>
              <a:gd name="connsiteY3671" fmla="*/ 369922 h 2380521"/>
              <a:gd name="connsiteX3672" fmla="*/ 941465 w 8023328"/>
              <a:gd name="connsiteY3672" fmla="*/ 383779 h 2380521"/>
              <a:gd name="connsiteX3673" fmla="*/ 927611 w 8023328"/>
              <a:gd name="connsiteY3673" fmla="*/ 369922 h 2380521"/>
              <a:gd name="connsiteX3674" fmla="*/ 941465 w 8023328"/>
              <a:gd name="connsiteY3674" fmla="*/ 357525 h 2380521"/>
              <a:gd name="connsiteX3675" fmla="*/ 870633 w 8023328"/>
              <a:gd name="connsiteY3675" fmla="*/ 357525 h 2380521"/>
              <a:gd name="connsiteX3676" fmla="*/ 883034 w 8023328"/>
              <a:gd name="connsiteY3676" fmla="*/ 369922 h 2380521"/>
              <a:gd name="connsiteX3677" fmla="*/ 870633 w 8023328"/>
              <a:gd name="connsiteY3677" fmla="*/ 383779 h 2380521"/>
              <a:gd name="connsiteX3678" fmla="*/ 856777 w 8023328"/>
              <a:gd name="connsiteY3678" fmla="*/ 369922 h 2380521"/>
              <a:gd name="connsiteX3679" fmla="*/ 870633 w 8023328"/>
              <a:gd name="connsiteY3679" fmla="*/ 357525 h 2380521"/>
              <a:gd name="connsiteX3680" fmla="*/ 798346 w 8023328"/>
              <a:gd name="connsiteY3680" fmla="*/ 357525 h 2380521"/>
              <a:gd name="connsiteX3681" fmla="*/ 812203 w 8023328"/>
              <a:gd name="connsiteY3681" fmla="*/ 369922 h 2380521"/>
              <a:gd name="connsiteX3682" fmla="*/ 798346 w 8023328"/>
              <a:gd name="connsiteY3682" fmla="*/ 383779 h 2380521"/>
              <a:gd name="connsiteX3683" fmla="*/ 785947 w 8023328"/>
              <a:gd name="connsiteY3683" fmla="*/ 369922 h 2380521"/>
              <a:gd name="connsiteX3684" fmla="*/ 798346 w 8023328"/>
              <a:gd name="connsiteY3684" fmla="*/ 357525 h 2380521"/>
              <a:gd name="connsiteX3685" fmla="*/ 3654110 w 8023328"/>
              <a:gd name="connsiteY3685" fmla="*/ 354153 h 2380521"/>
              <a:gd name="connsiteX3686" fmla="*/ 3668898 w 8023328"/>
              <a:gd name="connsiteY3686" fmla="*/ 368738 h 2380521"/>
              <a:gd name="connsiteX3687" fmla="*/ 3654110 w 8023328"/>
              <a:gd name="connsiteY3687" fmla="*/ 380407 h 2380521"/>
              <a:gd name="connsiteX3688" fmla="*/ 3639322 w 8023328"/>
              <a:gd name="connsiteY3688" fmla="*/ 368738 h 2380521"/>
              <a:gd name="connsiteX3689" fmla="*/ 3654110 w 8023328"/>
              <a:gd name="connsiteY3689" fmla="*/ 354153 h 2380521"/>
              <a:gd name="connsiteX3690" fmla="*/ 3583280 w 8023328"/>
              <a:gd name="connsiteY3690" fmla="*/ 354153 h 2380521"/>
              <a:gd name="connsiteX3691" fmla="*/ 3598069 w 8023328"/>
              <a:gd name="connsiteY3691" fmla="*/ 368738 h 2380521"/>
              <a:gd name="connsiteX3692" fmla="*/ 3583280 w 8023328"/>
              <a:gd name="connsiteY3692" fmla="*/ 380407 h 2380521"/>
              <a:gd name="connsiteX3693" fmla="*/ 3568491 w 8023328"/>
              <a:gd name="connsiteY3693" fmla="*/ 368738 h 2380521"/>
              <a:gd name="connsiteX3694" fmla="*/ 3583280 w 8023328"/>
              <a:gd name="connsiteY3694" fmla="*/ 354153 h 2380521"/>
              <a:gd name="connsiteX3695" fmla="*/ 3512449 w 8023328"/>
              <a:gd name="connsiteY3695" fmla="*/ 354153 h 2380521"/>
              <a:gd name="connsiteX3696" fmla="*/ 3527237 w 8023328"/>
              <a:gd name="connsiteY3696" fmla="*/ 369330 h 2380521"/>
              <a:gd name="connsiteX3697" fmla="*/ 3512449 w 8023328"/>
              <a:gd name="connsiteY3697" fmla="*/ 383749 h 2380521"/>
              <a:gd name="connsiteX3698" fmla="*/ 3497661 w 8023328"/>
              <a:gd name="connsiteY3698" fmla="*/ 369330 h 2380521"/>
              <a:gd name="connsiteX3699" fmla="*/ 3512449 w 8023328"/>
              <a:gd name="connsiteY3699" fmla="*/ 354153 h 2380521"/>
              <a:gd name="connsiteX3700" fmla="*/ 3440686 w 8023328"/>
              <a:gd name="connsiteY3700" fmla="*/ 354153 h 2380521"/>
              <a:gd name="connsiteX3701" fmla="*/ 3453083 w 8023328"/>
              <a:gd name="connsiteY3701" fmla="*/ 369330 h 2380521"/>
              <a:gd name="connsiteX3702" fmla="*/ 3440686 w 8023328"/>
              <a:gd name="connsiteY3702" fmla="*/ 383749 h 2380521"/>
              <a:gd name="connsiteX3703" fmla="*/ 3426830 w 8023328"/>
              <a:gd name="connsiteY3703" fmla="*/ 369330 h 2380521"/>
              <a:gd name="connsiteX3704" fmla="*/ 3440686 w 8023328"/>
              <a:gd name="connsiteY3704" fmla="*/ 354153 h 2380521"/>
              <a:gd name="connsiteX3705" fmla="*/ 3369857 w 8023328"/>
              <a:gd name="connsiteY3705" fmla="*/ 354153 h 2380521"/>
              <a:gd name="connsiteX3706" fmla="*/ 3382254 w 8023328"/>
              <a:gd name="connsiteY3706" fmla="*/ 369330 h 2380521"/>
              <a:gd name="connsiteX3707" fmla="*/ 3369857 w 8023328"/>
              <a:gd name="connsiteY3707" fmla="*/ 383749 h 2380521"/>
              <a:gd name="connsiteX3708" fmla="*/ 3356001 w 8023328"/>
              <a:gd name="connsiteY3708" fmla="*/ 369330 h 2380521"/>
              <a:gd name="connsiteX3709" fmla="*/ 3369857 w 8023328"/>
              <a:gd name="connsiteY3709" fmla="*/ 354153 h 2380521"/>
              <a:gd name="connsiteX3710" fmla="*/ 3299097 w 8023328"/>
              <a:gd name="connsiteY3710" fmla="*/ 354153 h 2380521"/>
              <a:gd name="connsiteX3711" fmla="*/ 3311496 w 8023328"/>
              <a:gd name="connsiteY3711" fmla="*/ 369330 h 2380521"/>
              <a:gd name="connsiteX3712" fmla="*/ 3299097 w 8023328"/>
              <a:gd name="connsiteY3712" fmla="*/ 383749 h 2380521"/>
              <a:gd name="connsiteX3713" fmla="*/ 3285242 w 8023328"/>
              <a:gd name="connsiteY3713" fmla="*/ 369330 h 2380521"/>
              <a:gd name="connsiteX3714" fmla="*/ 3299097 w 8023328"/>
              <a:gd name="connsiteY3714" fmla="*/ 354153 h 2380521"/>
              <a:gd name="connsiteX3715" fmla="*/ 3226808 w 8023328"/>
              <a:gd name="connsiteY3715" fmla="*/ 354153 h 2380521"/>
              <a:gd name="connsiteX3716" fmla="*/ 3240664 w 8023328"/>
              <a:gd name="connsiteY3716" fmla="*/ 369330 h 2380521"/>
              <a:gd name="connsiteX3717" fmla="*/ 3226808 w 8023328"/>
              <a:gd name="connsiteY3717" fmla="*/ 383749 h 2380521"/>
              <a:gd name="connsiteX3718" fmla="*/ 3214410 w 8023328"/>
              <a:gd name="connsiteY3718" fmla="*/ 369330 h 2380521"/>
              <a:gd name="connsiteX3719" fmla="*/ 3226808 w 8023328"/>
              <a:gd name="connsiteY3719" fmla="*/ 354153 h 2380521"/>
              <a:gd name="connsiteX3720" fmla="*/ 3152605 w 8023328"/>
              <a:gd name="connsiteY3720" fmla="*/ 354153 h 2380521"/>
              <a:gd name="connsiteX3721" fmla="*/ 3166462 w 8023328"/>
              <a:gd name="connsiteY3721" fmla="*/ 369330 h 2380521"/>
              <a:gd name="connsiteX3722" fmla="*/ 3152605 w 8023328"/>
              <a:gd name="connsiteY3722" fmla="*/ 383749 h 2380521"/>
              <a:gd name="connsiteX3723" fmla="*/ 3140206 w 8023328"/>
              <a:gd name="connsiteY3723" fmla="*/ 369330 h 2380521"/>
              <a:gd name="connsiteX3724" fmla="*/ 3152605 w 8023328"/>
              <a:gd name="connsiteY3724" fmla="*/ 354153 h 2380521"/>
              <a:gd name="connsiteX3725" fmla="*/ 3081774 w 8023328"/>
              <a:gd name="connsiteY3725" fmla="*/ 354153 h 2380521"/>
              <a:gd name="connsiteX3726" fmla="*/ 3095627 w 8023328"/>
              <a:gd name="connsiteY3726" fmla="*/ 369330 h 2380521"/>
              <a:gd name="connsiteX3727" fmla="*/ 3081774 w 8023328"/>
              <a:gd name="connsiteY3727" fmla="*/ 383749 h 2380521"/>
              <a:gd name="connsiteX3728" fmla="*/ 3069375 w 8023328"/>
              <a:gd name="connsiteY3728" fmla="*/ 369330 h 2380521"/>
              <a:gd name="connsiteX3729" fmla="*/ 3081774 w 8023328"/>
              <a:gd name="connsiteY3729" fmla="*/ 354153 h 2380521"/>
              <a:gd name="connsiteX3730" fmla="*/ 3013715 w 8023328"/>
              <a:gd name="connsiteY3730" fmla="*/ 354153 h 2380521"/>
              <a:gd name="connsiteX3731" fmla="*/ 3028135 w 8023328"/>
              <a:gd name="connsiteY3731" fmla="*/ 369330 h 2380521"/>
              <a:gd name="connsiteX3732" fmla="*/ 3013715 w 8023328"/>
              <a:gd name="connsiteY3732" fmla="*/ 383749 h 2380521"/>
              <a:gd name="connsiteX3733" fmla="*/ 2998539 w 8023328"/>
              <a:gd name="connsiteY3733" fmla="*/ 369330 h 2380521"/>
              <a:gd name="connsiteX3734" fmla="*/ 3013715 w 8023328"/>
              <a:gd name="connsiteY3734" fmla="*/ 354153 h 2380521"/>
              <a:gd name="connsiteX3735" fmla="*/ 2942494 w 8023328"/>
              <a:gd name="connsiteY3735" fmla="*/ 354153 h 2380521"/>
              <a:gd name="connsiteX3736" fmla="*/ 2957288 w 8023328"/>
              <a:gd name="connsiteY3736" fmla="*/ 369330 h 2380521"/>
              <a:gd name="connsiteX3737" fmla="*/ 2942494 w 8023328"/>
              <a:gd name="connsiteY3737" fmla="*/ 383749 h 2380521"/>
              <a:gd name="connsiteX3738" fmla="*/ 2927708 w 8023328"/>
              <a:gd name="connsiteY3738" fmla="*/ 369330 h 2380521"/>
              <a:gd name="connsiteX3739" fmla="*/ 2942494 w 8023328"/>
              <a:gd name="connsiteY3739" fmla="*/ 354153 h 2380521"/>
              <a:gd name="connsiteX3740" fmla="*/ 2868293 w 8023328"/>
              <a:gd name="connsiteY3740" fmla="*/ 354153 h 2380521"/>
              <a:gd name="connsiteX3741" fmla="*/ 2883085 w 8023328"/>
              <a:gd name="connsiteY3741" fmla="*/ 369330 h 2380521"/>
              <a:gd name="connsiteX3742" fmla="*/ 2868293 w 8023328"/>
              <a:gd name="connsiteY3742" fmla="*/ 383749 h 2380521"/>
              <a:gd name="connsiteX3743" fmla="*/ 2853504 w 8023328"/>
              <a:gd name="connsiteY3743" fmla="*/ 369330 h 2380521"/>
              <a:gd name="connsiteX3744" fmla="*/ 2868293 w 8023328"/>
              <a:gd name="connsiteY3744" fmla="*/ 354153 h 2380521"/>
              <a:gd name="connsiteX3745" fmla="*/ 2796535 w 8023328"/>
              <a:gd name="connsiteY3745" fmla="*/ 354153 h 2380521"/>
              <a:gd name="connsiteX3746" fmla="*/ 2808932 w 8023328"/>
              <a:gd name="connsiteY3746" fmla="*/ 369330 h 2380521"/>
              <a:gd name="connsiteX3747" fmla="*/ 2796535 w 8023328"/>
              <a:gd name="connsiteY3747" fmla="*/ 383749 h 2380521"/>
              <a:gd name="connsiteX3748" fmla="*/ 2782678 w 8023328"/>
              <a:gd name="connsiteY3748" fmla="*/ 369330 h 2380521"/>
              <a:gd name="connsiteX3749" fmla="*/ 2796535 w 8023328"/>
              <a:gd name="connsiteY3749" fmla="*/ 354153 h 2380521"/>
              <a:gd name="connsiteX3750" fmla="*/ 2725695 w 8023328"/>
              <a:gd name="connsiteY3750" fmla="*/ 354153 h 2380521"/>
              <a:gd name="connsiteX3751" fmla="*/ 2738100 w 8023328"/>
              <a:gd name="connsiteY3751" fmla="*/ 369330 h 2380521"/>
              <a:gd name="connsiteX3752" fmla="*/ 2725695 w 8023328"/>
              <a:gd name="connsiteY3752" fmla="*/ 383749 h 2380521"/>
              <a:gd name="connsiteX3753" fmla="*/ 2711846 w 8023328"/>
              <a:gd name="connsiteY3753" fmla="*/ 369330 h 2380521"/>
              <a:gd name="connsiteX3754" fmla="*/ 2725695 w 8023328"/>
              <a:gd name="connsiteY3754" fmla="*/ 354153 h 2380521"/>
              <a:gd name="connsiteX3755" fmla="*/ 2653415 w 8023328"/>
              <a:gd name="connsiteY3755" fmla="*/ 354153 h 2380521"/>
              <a:gd name="connsiteX3756" fmla="*/ 2667270 w 8023328"/>
              <a:gd name="connsiteY3756" fmla="*/ 369330 h 2380521"/>
              <a:gd name="connsiteX3757" fmla="*/ 2653415 w 8023328"/>
              <a:gd name="connsiteY3757" fmla="*/ 383749 h 2380521"/>
              <a:gd name="connsiteX3758" fmla="*/ 2641021 w 8023328"/>
              <a:gd name="connsiteY3758" fmla="*/ 369330 h 2380521"/>
              <a:gd name="connsiteX3759" fmla="*/ 2653415 w 8023328"/>
              <a:gd name="connsiteY3759" fmla="*/ 354153 h 2380521"/>
              <a:gd name="connsiteX3760" fmla="*/ 2582583 w 8023328"/>
              <a:gd name="connsiteY3760" fmla="*/ 354153 h 2380521"/>
              <a:gd name="connsiteX3761" fmla="*/ 2596439 w 8023328"/>
              <a:gd name="connsiteY3761" fmla="*/ 369330 h 2380521"/>
              <a:gd name="connsiteX3762" fmla="*/ 2582583 w 8023328"/>
              <a:gd name="connsiteY3762" fmla="*/ 383749 h 2380521"/>
              <a:gd name="connsiteX3763" fmla="*/ 2570184 w 8023328"/>
              <a:gd name="connsiteY3763" fmla="*/ 369330 h 2380521"/>
              <a:gd name="connsiteX3764" fmla="*/ 2582583 w 8023328"/>
              <a:gd name="connsiteY3764" fmla="*/ 354153 h 2380521"/>
              <a:gd name="connsiteX3765" fmla="*/ 2511029 w 8023328"/>
              <a:gd name="connsiteY3765" fmla="*/ 354153 h 2380521"/>
              <a:gd name="connsiteX3766" fmla="*/ 2525613 w 8023328"/>
              <a:gd name="connsiteY3766" fmla="*/ 369330 h 2380521"/>
              <a:gd name="connsiteX3767" fmla="*/ 2511029 w 8023328"/>
              <a:gd name="connsiteY3767" fmla="*/ 383749 h 2380521"/>
              <a:gd name="connsiteX3768" fmla="*/ 2499361 w 8023328"/>
              <a:gd name="connsiteY3768" fmla="*/ 369330 h 2380521"/>
              <a:gd name="connsiteX3769" fmla="*/ 2511029 w 8023328"/>
              <a:gd name="connsiteY3769" fmla="*/ 354153 h 2380521"/>
              <a:gd name="connsiteX3770" fmla="*/ 2439946 w 8023328"/>
              <a:gd name="connsiteY3770" fmla="*/ 354153 h 2380521"/>
              <a:gd name="connsiteX3771" fmla="*/ 2454732 w 8023328"/>
              <a:gd name="connsiteY3771" fmla="*/ 369330 h 2380521"/>
              <a:gd name="connsiteX3772" fmla="*/ 2439946 w 8023328"/>
              <a:gd name="connsiteY3772" fmla="*/ 383749 h 2380521"/>
              <a:gd name="connsiteX3773" fmla="*/ 2425156 w 8023328"/>
              <a:gd name="connsiteY3773" fmla="*/ 369330 h 2380521"/>
              <a:gd name="connsiteX3774" fmla="*/ 2439946 w 8023328"/>
              <a:gd name="connsiteY3774" fmla="*/ 354153 h 2380521"/>
              <a:gd name="connsiteX3775" fmla="*/ 2369110 w 8023328"/>
              <a:gd name="connsiteY3775" fmla="*/ 354153 h 2380521"/>
              <a:gd name="connsiteX3776" fmla="*/ 2383899 w 8023328"/>
              <a:gd name="connsiteY3776" fmla="*/ 369330 h 2380521"/>
              <a:gd name="connsiteX3777" fmla="*/ 2369110 w 8023328"/>
              <a:gd name="connsiteY3777" fmla="*/ 383749 h 2380521"/>
              <a:gd name="connsiteX3778" fmla="*/ 2354319 w 8023328"/>
              <a:gd name="connsiteY3778" fmla="*/ 369330 h 2380521"/>
              <a:gd name="connsiteX3779" fmla="*/ 2369110 w 8023328"/>
              <a:gd name="connsiteY3779" fmla="*/ 354153 h 2380521"/>
              <a:gd name="connsiteX3780" fmla="*/ 2298280 w 8023328"/>
              <a:gd name="connsiteY3780" fmla="*/ 354153 h 2380521"/>
              <a:gd name="connsiteX3781" fmla="*/ 2313068 w 8023328"/>
              <a:gd name="connsiteY3781" fmla="*/ 369330 h 2380521"/>
              <a:gd name="connsiteX3782" fmla="*/ 2298280 w 8023328"/>
              <a:gd name="connsiteY3782" fmla="*/ 383749 h 2380521"/>
              <a:gd name="connsiteX3783" fmla="*/ 2283490 w 8023328"/>
              <a:gd name="connsiteY3783" fmla="*/ 369330 h 2380521"/>
              <a:gd name="connsiteX3784" fmla="*/ 2298280 w 8023328"/>
              <a:gd name="connsiteY3784" fmla="*/ 354153 h 2380521"/>
              <a:gd name="connsiteX3785" fmla="*/ 2226517 w 8023328"/>
              <a:gd name="connsiteY3785" fmla="*/ 354153 h 2380521"/>
              <a:gd name="connsiteX3786" fmla="*/ 2238914 w 8023328"/>
              <a:gd name="connsiteY3786" fmla="*/ 369330 h 2380521"/>
              <a:gd name="connsiteX3787" fmla="*/ 2226517 w 8023328"/>
              <a:gd name="connsiteY3787" fmla="*/ 383749 h 2380521"/>
              <a:gd name="connsiteX3788" fmla="*/ 2212658 w 8023328"/>
              <a:gd name="connsiteY3788" fmla="*/ 369330 h 2380521"/>
              <a:gd name="connsiteX3789" fmla="*/ 2226517 w 8023328"/>
              <a:gd name="connsiteY3789" fmla="*/ 354153 h 2380521"/>
              <a:gd name="connsiteX3790" fmla="*/ 2155683 w 8023328"/>
              <a:gd name="connsiteY3790" fmla="*/ 354153 h 2380521"/>
              <a:gd name="connsiteX3791" fmla="*/ 2168081 w 8023328"/>
              <a:gd name="connsiteY3791" fmla="*/ 369330 h 2380521"/>
              <a:gd name="connsiteX3792" fmla="*/ 2155683 w 8023328"/>
              <a:gd name="connsiteY3792" fmla="*/ 383749 h 2380521"/>
              <a:gd name="connsiteX3793" fmla="*/ 2141827 w 8023328"/>
              <a:gd name="connsiteY3793" fmla="*/ 369330 h 2380521"/>
              <a:gd name="connsiteX3794" fmla="*/ 2155683 w 8023328"/>
              <a:gd name="connsiteY3794" fmla="*/ 354153 h 2380521"/>
              <a:gd name="connsiteX3795" fmla="*/ 2084849 w 8023328"/>
              <a:gd name="connsiteY3795" fmla="*/ 354153 h 2380521"/>
              <a:gd name="connsiteX3796" fmla="*/ 2097248 w 8023328"/>
              <a:gd name="connsiteY3796" fmla="*/ 369330 h 2380521"/>
              <a:gd name="connsiteX3797" fmla="*/ 2084849 w 8023328"/>
              <a:gd name="connsiteY3797" fmla="*/ 383749 h 2380521"/>
              <a:gd name="connsiteX3798" fmla="*/ 2070994 w 8023328"/>
              <a:gd name="connsiteY3798" fmla="*/ 369330 h 2380521"/>
              <a:gd name="connsiteX3799" fmla="*/ 2084849 w 8023328"/>
              <a:gd name="connsiteY3799" fmla="*/ 354153 h 2380521"/>
              <a:gd name="connsiteX3800" fmla="*/ 2011835 w 8023328"/>
              <a:gd name="connsiteY3800" fmla="*/ 354153 h 2380521"/>
              <a:gd name="connsiteX3801" fmla="*/ 2026421 w 8023328"/>
              <a:gd name="connsiteY3801" fmla="*/ 369330 h 2380521"/>
              <a:gd name="connsiteX3802" fmla="*/ 2011835 w 8023328"/>
              <a:gd name="connsiteY3802" fmla="*/ 383749 h 2380521"/>
              <a:gd name="connsiteX3803" fmla="*/ 2000166 w 8023328"/>
              <a:gd name="connsiteY3803" fmla="*/ 369330 h 2380521"/>
              <a:gd name="connsiteX3804" fmla="*/ 2011835 w 8023328"/>
              <a:gd name="connsiteY3804" fmla="*/ 354153 h 2380521"/>
              <a:gd name="connsiteX3805" fmla="*/ 1938362 w 8023328"/>
              <a:gd name="connsiteY3805" fmla="*/ 354153 h 2380521"/>
              <a:gd name="connsiteX3806" fmla="*/ 1952222 w 8023328"/>
              <a:gd name="connsiteY3806" fmla="*/ 369330 h 2380521"/>
              <a:gd name="connsiteX3807" fmla="*/ 1938362 w 8023328"/>
              <a:gd name="connsiteY3807" fmla="*/ 383749 h 2380521"/>
              <a:gd name="connsiteX3808" fmla="*/ 1925968 w 8023328"/>
              <a:gd name="connsiteY3808" fmla="*/ 369330 h 2380521"/>
              <a:gd name="connsiteX3809" fmla="*/ 1938362 w 8023328"/>
              <a:gd name="connsiteY3809" fmla="*/ 354153 h 2380521"/>
              <a:gd name="connsiteX3810" fmla="*/ 1867527 w 8023328"/>
              <a:gd name="connsiteY3810" fmla="*/ 354153 h 2380521"/>
              <a:gd name="connsiteX3811" fmla="*/ 1881384 w 8023328"/>
              <a:gd name="connsiteY3811" fmla="*/ 369330 h 2380521"/>
              <a:gd name="connsiteX3812" fmla="*/ 1867527 w 8023328"/>
              <a:gd name="connsiteY3812" fmla="*/ 383749 h 2380521"/>
              <a:gd name="connsiteX3813" fmla="*/ 1855129 w 8023328"/>
              <a:gd name="connsiteY3813" fmla="*/ 369330 h 2380521"/>
              <a:gd name="connsiteX3814" fmla="*/ 1867527 w 8023328"/>
              <a:gd name="connsiteY3814" fmla="*/ 354153 h 2380521"/>
              <a:gd name="connsiteX3815" fmla="*/ 1225708 w 8023328"/>
              <a:gd name="connsiteY3815" fmla="*/ 284879 h 2380521"/>
              <a:gd name="connsiteX3816" fmla="*/ 1240493 w 8023328"/>
              <a:gd name="connsiteY3816" fmla="*/ 298111 h 2380521"/>
              <a:gd name="connsiteX3817" fmla="*/ 1225708 w 8023328"/>
              <a:gd name="connsiteY3817" fmla="*/ 312900 h 2380521"/>
              <a:gd name="connsiteX3818" fmla="*/ 1210931 w 8023328"/>
              <a:gd name="connsiteY3818" fmla="*/ 298111 h 2380521"/>
              <a:gd name="connsiteX3819" fmla="*/ 1225708 w 8023328"/>
              <a:gd name="connsiteY3819" fmla="*/ 284879 h 2380521"/>
              <a:gd name="connsiteX3820" fmla="*/ 3440686 w 8023328"/>
              <a:gd name="connsiteY3820" fmla="*/ 283322 h 2380521"/>
              <a:gd name="connsiteX3821" fmla="*/ 3453083 w 8023328"/>
              <a:gd name="connsiteY3821" fmla="*/ 297178 h 2380521"/>
              <a:gd name="connsiteX3822" fmla="*/ 3440686 w 8023328"/>
              <a:gd name="connsiteY3822" fmla="*/ 309576 h 2380521"/>
              <a:gd name="connsiteX3823" fmla="*/ 3426830 w 8023328"/>
              <a:gd name="connsiteY3823" fmla="*/ 297178 h 2380521"/>
              <a:gd name="connsiteX3824" fmla="*/ 3440686 w 8023328"/>
              <a:gd name="connsiteY3824" fmla="*/ 283322 h 2380521"/>
              <a:gd name="connsiteX3825" fmla="*/ 3369857 w 8023328"/>
              <a:gd name="connsiteY3825" fmla="*/ 283322 h 2380521"/>
              <a:gd name="connsiteX3826" fmla="*/ 3382254 w 8023328"/>
              <a:gd name="connsiteY3826" fmla="*/ 297178 h 2380521"/>
              <a:gd name="connsiteX3827" fmla="*/ 3369857 w 8023328"/>
              <a:gd name="connsiteY3827" fmla="*/ 309576 h 2380521"/>
              <a:gd name="connsiteX3828" fmla="*/ 3356001 w 8023328"/>
              <a:gd name="connsiteY3828" fmla="*/ 297178 h 2380521"/>
              <a:gd name="connsiteX3829" fmla="*/ 3369857 w 8023328"/>
              <a:gd name="connsiteY3829" fmla="*/ 283322 h 2380521"/>
              <a:gd name="connsiteX3830" fmla="*/ 3299100 w 8023328"/>
              <a:gd name="connsiteY3830" fmla="*/ 283322 h 2380521"/>
              <a:gd name="connsiteX3831" fmla="*/ 3311496 w 8023328"/>
              <a:gd name="connsiteY3831" fmla="*/ 297178 h 2380521"/>
              <a:gd name="connsiteX3832" fmla="*/ 3299100 w 8023328"/>
              <a:gd name="connsiteY3832" fmla="*/ 309576 h 2380521"/>
              <a:gd name="connsiteX3833" fmla="*/ 3285242 w 8023328"/>
              <a:gd name="connsiteY3833" fmla="*/ 297178 h 2380521"/>
              <a:gd name="connsiteX3834" fmla="*/ 3299100 w 8023328"/>
              <a:gd name="connsiteY3834" fmla="*/ 283322 h 2380521"/>
              <a:gd name="connsiteX3835" fmla="*/ 3226808 w 8023328"/>
              <a:gd name="connsiteY3835" fmla="*/ 283322 h 2380521"/>
              <a:gd name="connsiteX3836" fmla="*/ 3240664 w 8023328"/>
              <a:gd name="connsiteY3836" fmla="*/ 297178 h 2380521"/>
              <a:gd name="connsiteX3837" fmla="*/ 3226808 w 8023328"/>
              <a:gd name="connsiteY3837" fmla="*/ 309576 h 2380521"/>
              <a:gd name="connsiteX3838" fmla="*/ 3214410 w 8023328"/>
              <a:gd name="connsiteY3838" fmla="*/ 297178 h 2380521"/>
              <a:gd name="connsiteX3839" fmla="*/ 3226808 w 8023328"/>
              <a:gd name="connsiteY3839" fmla="*/ 283322 h 2380521"/>
              <a:gd name="connsiteX3840" fmla="*/ 3152605 w 8023328"/>
              <a:gd name="connsiteY3840" fmla="*/ 283322 h 2380521"/>
              <a:gd name="connsiteX3841" fmla="*/ 3166462 w 8023328"/>
              <a:gd name="connsiteY3841" fmla="*/ 297178 h 2380521"/>
              <a:gd name="connsiteX3842" fmla="*/ 3152605 w 8023328"/>
              <a:gd name="connsiteY3842" fmla="*/ 309576 h 2380521"/>
              <a:gd name="connsiteX3843" fmla="*/ 3140209 w 8023328"/>
              <a:gd name="connsiteY3843" fmla="*/ 297178 h 2380521"/>
              <a:gd name="connsiteX3844" fmla="*/ 3152605 w 8023328"/>
              <a:gd name="connsiteY3844" fmla="*/ 283322 h 2380521"/>
              <a:gd name="connsiteX3845" fmla="*/ 3081774 w 8023328"/>
              <a:gd name="connsiteY3845" fmla="*/ 283322 h 2380521"/>
              <a:gd name="connsiteX3846" fmla="*/ 3095628 w 8023328"/>
              <a:gd name="connsiteY3846" fmla="*/ 297178 h 2380521"/>
              <a:gd name="connsiteX3847" fmla="*/ 3081774 w 8023328"/>
              <a:gd name="connsiteY3847" fmla="*/ 309576 h 2380521"/>
              <a:gd name="connsiteX3848" fmla="*/ 3069375 w 8023328"/>
              <a:gd name="connsiteY3848" fmla="*/ 297178 h 2380521"/>
              <a:gd name="connsiteX3849" fmla="*/ 3081774 w 8023328"/>
              <a:gd name="connsiteY3849" fmla="*/ 283322 h 2380521"/>
              <a:gd name="connsiteX3850" fmla="*/ 3013717 w 8023328"/>
              <a:gd name="connsiteY3850" fmla="*/ 283322 h 2380521"/>
              <a:gd name="connsiteX3851" fmla="*/ 3028135 w 8023328"/>
              <a:gd name="connsiteY3851" fmla="*/ 297178 h 2380521"/>
              <a:gd name="connsiteX3852" fmla="*/ 3013717 w 8023328"/>
              <a:gd name="connsiteY3852" fmla="*/ 309576 h 2380521"/>
              <a:gd name="connsiteX3853" fmla="*/ 2998539 w 8023328"/>
              <a:gd name="connsiteY3853" fmla="*/ 297178 h 2380521"/>
              <a:gd name="connsiteX3854" fmla="*/ 3013717 w 8023328"/>
              <a:gd name="connsiteY3854" fmla="*/ 283322 h 2380521"/>
              <a:gd name="connsiteX3855" fmla="*/ 2942494 w 8023328"/>
              <a:gd name="connsiteY3855" fmla="*/ 283322 h 2380521"/>
              <a:gd name="connsiteX3856" fmla="*/ 2957288 w 8023328"/>
              <a:gd name="connsiteY3856" fmla="*/ 298111 h 2380521"/>
              <a:gd name="connsiteX3857" fmla="*/ 2942494 w 8023328"/>
              <a:gd name="connsiteY3857" fmla="*/ 312900 h 2380521"/>
              <a:gd name="connsiteX3858" fmla="*/ 2927711 w 8023328"/>
              <a:gd name="connsiteY3858" fmla="*/ 298111 h 2380521"/>
              <a:gd name="connsiteX3859" fmla="*/ 2942494 w 8023328"/>
              <a:gd name="connsiteY3859" fmla="*/ 283322 h 2380521"/>
              <a:gd name="connsiteX3860" fmla="*/ 2868293 w 8023328"/>
              <a:gd name="connsiteY3860" fmla="*/ 283322 h 2380521"/>
              <a:gd name="connsiteX3861" fmla="*/ 2883087 w 8023328"/>
              <a:gd name="connsiteY3861" fmla="*/ 298111 h 2380521"/>
              <a:gd name="connsiteX3862" fmla="*/ 2868293 w 8023328"/>
              <a:gd name="connsiteY3862" fmla="*/ 312900 h 2380521"/>
              <a:gd name="connsiteX3863" fmla="*/ 2853507 w 8023328"/>
              <a:gd name="connsiteY3863" fmla="*/ 298111 h 2380521"/>
              <a:gd name="connsiteX3864" fmla="*/ 2868293 w 8023328"/>
              <a:gd name="connsiteY3864" fmla="*/ 283322 h 2380521"/>
              <a:gd name="connsiteX3865" fmla="*/ 2796535 w 8023328"/>
              <a:gd name="connsiteY3865" fmla="*/ 283322 h 2380521"/>
              <a:gd name="connsiteX3866" fmla="*/ 2808934 w 8023328"/>
              <a:gd name="connsiteY3866" fmla="*/ 298111 h 2380521"/>
              <a:gd name="connsiteX3867" fmla="*/ 2796535 w 8023328"/>
              <a:gd name="connsiteY3867" fmla="*/ 312900 h 2380521"/>
              <a:gd name="connsiteX3868" fmla="*/ 2782678 w 8023328"/>
              <a:gd name="connsiteY3868" fmla="*/ 298111 h 2380521"/>
              <a:gd name="connsiteX3869" fmla="*/ 2796535 w 8023328"/>
              <a:gd name="connsiteY3869" fmla="*/ 283322 h 2380521"/>
              <a:gd name="connsiteX3870" fmla="*/ 2725698 w 8023328"/>
              <a:gd name="connsiteY3870" fmla="*/ 283322 h 2380521"/>
              <a:gd name="connsiteX3871" fmla="*/ 2738100 w 8023328"/>
              <a:gd name="connsiteY3871" fmla="*/ 298111 h 2380521"/>
              <a:gd name="connsiteX3872" fmla="*/ 2725698 w 8023328"/>
              <a:gd name="connsiteY3872" fmla="*/ 312900 h 2380521"/>
              <a:gd name="connsiteX3873" fmla="*/ 2711846 w 8023328"/>
              <a:gd name="connsiteY3873" fmla="*/ 298111 h 2380521"/>
              <a:gd name="connsiteX3874" fmla="*/ 2725698 w 8023328"/>
              <a:gd name="connsiteY3874" fmla="*/ 283322 h 2380521"/>
              <a:gd name="connsiteX3875" fmla="*/ 2653415 w 8023328"/>
              <a:gd name="connsiteY3875" fmla="*/ 283322 h 2380521"/>
              <a:gd name="connsiteX3876" fmla="*/ 2667270 w 8023328"/>
              <a:gd name="connsiteY3876" fmla="*/ 298111 h 2380521"/>
              <a:gd name="connsiteX3877" fmla="*/ 2653415 w 8023328"/>
              <a:gd name="connsiteY3877" fmla="*/ 312900 h 2380521"/>
              <a:gd name="connsiteX3878" fmla="*/ 2641021 w 8023328"/>
              <a:gd name="connsiteY3878" fmla="*/ 298111 h 2380521"/>
              <a:gd name="connsiteX3879" fmla="*/ 2653415 w 8023328"/>
              <a:gd name="connsiteY3879" fmla="*/ 283322 h 2380521"/>
              <a:gd name="connsiteX3880" fmla="*/ 2582583 w 8023328"/>
              <a:gd name="connsiteY3880" fmla="*/ 283322 h 2380521"/>
              <a:gd name="connsiteX3881" fmla="*/ 2596439 w 8023328"/>
              <a:gd name="connsiteY3881" fmla="*/ 298111 h 2380521"/>
              <a:gd name="connsiteX3882" fmla="*/ 2582583 w 8023328"/>
              <a:gd name="connsiteY3882" fmla="*/ 312900 h 2380521"/>
              <a:gd name="connsiteX3883" fmla="*/ 2570189 w 8023328"/>
              <a:gd name="connsiteY3883" fmla="*/ 298111 h 2380521"/>
              <a:gd name="connsiteX3884" fmla="*/ 2582583 w 8023328"/>
              <a:gd name="connsiteY3884" fmla="*/ 283322 h 2380521"/>
              <a:gd name="connsiteX3885" fmla="*/ 2511029 w 8023328"/>
              <a:gd name="connsiteY3885" fmla="*/ 283322 h 2380521"/>
              <a:gd name="connsiteX3886" fmla="*/ 2525613 w 8023328"/>
              <a:gd name="connsiteY3886" fmla="*/ 298111 h 2380521"/>
              <a:gd name="connsiteX3887" fmla="*/ 2511029 w 8023328"/>
              <a:gd name="connsiteY3887" fmla="*/ 312900 h 2380521"/>
              <a:gd name="connsiteX3888" fmla="*/ 2499361 w 8023328"/>
              <a:gd name="connsiteY3888" fmla="*/ 298111 h 2380521"/>
              <a:gd name="connsiteX3889" fmla="*/ 2511029 w 8023328"/>
              <a:gd name="connsiteY3889" fmla="*/ 283322 h 2380521"/>
              <a:gd name="connsiteX3890" fmla="*/ 2439946 w 8023328"/>
              <a:gd name="connsiteY3890" fmla="*/ 283322 h 2380521"/>
              <a:gd name="connsiteX3891" fmla="*/ 2454732 w 8023328"/>
              <a:gd name="connsiteY3891" fmla="*/ 298111 h 2380521"/>
              <a:gd name="connsiteX3892" fmla="*/ 2439946 w 8023328"/>
              <a:gd name="connsiteY3892" fmla="*/ 312900 h 2380521"/>
              <a:gd name="connsiteX3893" fmla="*/ 2425156 w 8023328"/>
              <a:gd name="connsiteY3893" fmla="*/ 298111 h 2380521"/>
              <a:gd name="connsiteX3894" fmla="*/ 2439946 w 8023328"/>
              <a:gd name="connsiteY3894" fmla="*/ 283322 h 2380521"/>
              <a:gd name="connsiteX3895" fmla="*/ 2369110 w 8023328"/>
              <a:gd name="connsiteY3895" fmla="*/ 283322 h 2380521"/>
              <a:gd name="connsiteX3896" fmla="*/ 2383899 w 8023328"/>
              <a:gd name="connsiteY3896" fmla="*/ 298111 h 2380521"/>
              <a:gd name="connsiteX3897" fmla="*/ 2369110 w 8023328"/>
              <a:gd name="connsiteY3897" fmla="*/ 312900 h 2380521"/>
              <a:gd name="connsiteX3898" fmla="*/ 2354319 w 8023328"/>
              <a:gd name="connsiteY3898" fmla="*/ 298111 h 2380521"/>
              <a:gd name="connsiteX3899" fmla="*/ 2369110 w 8023328"/>
              <a:gd name="connsiteY3899" fmla="*/ 283322 h 2380521"/>
              <a:gd name="connsiteX3900" fmla="*/ 2298280 w 8023328"/>
              <a:gd name="connsiteY3900" fmla="*/ 283322 h 2380521"/>
              <a:gd name="connsiteX3901" fmla="*/ 2313068 w 8023328"/>
              <a:gd name="connsiteY3901" fmla="*/ 298111 h 2380521"/>
              <a:gd name="connsiteX3902" fmla="*/ 2298280 w 8023328"/>
              <a:gd name="connsiteY3902" fmla="*/ 312900 h 2380521"/>
              <a:gd name="connsiteX3903" fmla="*/ 2283490 w 8023328"/>
              <a:gd name="connsiteY3903" fmla="*/ 298111 h 2380521"/>
              <a:gd name="connsiteX3904" fmla="*/ 2298280 w 8023328"/>
              <a:gd name="connsiteY3904" fmla="*/ 283322 h 2380521"/>
              <a:gd name="connsiteX3905" fmla="*/ 2226517 w 8023328"/>
              <a:gd name="connsiteY3905" fmla="*/ 283322 h 2380521"/>
              <a:gd name="connsiteX3906" fmla="*/ 2238914 w 8023328"/>
              <a:gd name="connsiteY3906" fmla="*/ 298111 h 2380521"/>
              <a:gd name="connsiteX3907" fmla="*/ 2226517 w 8023328"/>
              <a:gd name="connsiteY3907" fmla="*/ 312900 h 2380521"/>
              <a:gd name="connsiteX3908" fmla="*/ 2212658 w 8023328"/>
              <a:gd name="connsiteY3908" fmla="*/ 298111 h 2380521"/>
              <a:gd name="connsiteX3909" fmla="*/ 2226517 w 8023328"/>
              <a:gd name="connsiteY3909" fmla="*/ 283322 h 2380521"/>
              <a:gd name="connsiteX3910" fmla="*/ 2155683 w 8023328"/>
              <a:gd name="connsiteY3910" fmla="*/ 283322 h 2380521"/>
              <a:gd name="connsiteX3911" fmla="*/ 2168081 w 8023328"/>
              <a:gd name="connsiteY3911" fmla="*/ 298111 h 2380521"/>
              <a:gd name="connsiteX3912" fmla="*/ 2155683 w 8023328"/>
              <a:gd name="connsiteY3912" fmla="*/ 312900 h 2380521"/>
              <a:gd name="connsiteX3913" fmla="*/ 2141827 w 8023328"/>
              <a:gd name="connsiteY3913" fmla="*/ 298111 h 2380521"/>
              <a:gd name="connsiteX3914" fmla="*/ 2155683 w 8023328"/>
              <a:gd name="connsiteY3914" fmla="*/ 283322 h 2380521"/>
              <a:gd name="connsiteX3915" fmla="*/ 2084849 w 8023328"/>
              <a:gd name="connsiteY3915" fmla="*/ 283322 h 2380521"/>
              <a:gd name="connsiteX3916" fmla="*/ 2097248 w 8023328"/>
              <a:gd name="connsiteY3916" fmla="*/ 298111 h 2380521"/>
              <a:gd name="connsiteX3917" fmla="*/ 2084849 w 8023328"/>
              <a:gd name="connsiteY3917" fmla="*/ 312900 h 2380521"/>
              <a:gd name="connsiteX3918" fmla="*/ 2070994 w 8023328"/>
              <a:gd name="connsiteY3918" fmla="*/ 298111 h 2380521"/>
              <a:gd name="connsiteX3919" fmla="*/ 2084849 w 8023328"/>
              <a:gd name="connsiteY3919" fmla="*/ 283322 h 2380521"/>
              <a:gd name="connsiteX3920" fmla="*/ 2011835 w 8023328"/>
              <a:gd name="connsiteY3920" fmla="*/ 283322 h 2380521"/>
              <a:gd name="connsiteX3921" fmla="*/ 2026421 w 8023328"/>
              <a:gd name="connsiteY3921" fmla="*/ 298111 h 2380521"/>
              <a:gd name="connsiteX3922" fmla="*/ 2011835 w 8023328"/>
              <a:gd name="connsiteY3922" fmla="*/ 312900 h 2380521"/>
              <a:gd name="connsiteX3923" fmla="*/ 2000168 w 8023328"/>
              <a:gd name="connsiteY3923" fmla="*/ 298111 h 2380521"/>
              <a:gd name="connsiteX3924" fmla="*/ 2011835 w 8023328"/>
              <a:gd name="connsiteY3924" fmla="*/ 283322 h 2380521"/>
              <a:gd name="connsiteX3925" fmla="*/ 1938362 w 8023328"/>
              <a:gd name="connsiteY3925" fmla="*/ 283322 h 2380521"/>
              <a:gd name="connsiteX3926" fmla="*/ 1952222 w 8023328"/>
              <a:gd name="connsiteY3926" fmla="*/ 298111 h 2380521"/>
              <a:gd name="connsiteX3927" fmla="*/ 1938362 w 8023328"/>
              <a:gd name="connsiteY3927" fmla="*/ 312900 h 2380521"/>
              <a:gd name="connsiteX3928" fmla="*/ 1925968 w 8023328"/>
              <a:gd name="connsiteY3928" fmla="*/ 298111 h 2380521"/>
              <a:gd name="connsiteX3929" fmla="*/ 1938362 w 8023328"/>
              <a:gd name="connsiteY3929" fmla="*/ 283322 h 2380521"/>
              <a:gd name="connsiteX3930" fmla="*/ 1867527 w 8023328"/>
              <a:gd name="connsiteY3930" fmla="*/ 283322 h 2380521"/>
              <a:gd name="connsiteX3931" fmla="*/ 1881384 w 8023328"/>
              <a:gd name="connsiteY3931" fmla="*/ 298111 h 2380521"/>
              <a:gd name="connsiteX3932" fmla="*/ 1867527 w 8023328"/>
              <a:gd name="connsiteY3932" fmla="*/ 312900 h 2380521"/>
              <a:gd name="connsiteX3933" fmla="*/ 1855129 w 8023328"/>
              <a:gd name="connsiteY3933" fmla="*/ 298111 h 2380521"/>
              <a:gd name="connsiteX3934" fmla="*/ 1867527 w 8023328"/>
              <a:gd name="connsiteY3934" fmla="*/ 283322 h 2380521"/>
              <a:gd name="connsiteX3935" fmla="*/ 1799085 w 8023328"/>
              <a:gd name="connsiteY3935" fmla="*/ 283322 h 2380521"/>
              <a:gd name="connsiteX3936" fmla="*/ 1813876 w 8023328"/>
              <a:gd name="connsiteY3936" fmla="*/ 298111 h 2380521"/>
              <a:gd name="connsiteX3937" fmla="*/ 1799085 w 8023328"/>
              <a:gd name="connsiteY3937" fmla="*/ 312900 h 2380521"/>
              <a:gd name="connsiteX3938" fmla="*/ 1784300 w 8023328"/>
              <a:gd name="connsiteY3938" fmla="*/ 298111 h 2380521"/>
              <a:gd name="connsiteX3939" fmla="*/ 1799085 w 8023328"/>
              <a:gd name="connsiteY3939" fmla="*/ 283322 h 2380521"/>
              <a:gd name="connsiteX3940" fmla="*/ 1728262 w 8023328"/>
              <a:gd name="connsiteY3940" fmla="*/ 283322 h 2380521"/>
              <a:gd name="connsiteX3941" fmla="*/ 1743052 w 8023328"/>
              <a:gd name="connsiteY3941" fmla="*/ 298111 h 2380521"/>
              <a:gd name="connsiteX3942" fmla="*/ 1728262 w 8023328"/>
              <a:gd name="connsiteY3942" fmla="*/ 312900 h 2380521"/>
              <a:gd name="connsiteX3943" fmla="*/ 1713472 w 8023328"/>
              <a:gd name="connsiteY3943" fmla="*/ 298111 h 2380521"/>
              <a:gd name="connsiteX3944" fmla="*/ 1728262 w 8023328"/>
              <a:gd name="connsiteY3944" fmla="*/ 283322 h 2380521"/>
              <a:gd name="connsiteX3945" fmla="*/ 1656498 w 8023328"/>
              <a:gd name="connsiteY3945" fmla="*/ 283322 h 2380521"/>
              <a:gd name="connsiteX3946" fmla="*/ 1668897 w 8023328"/>
              <a:gd name="connsiteY3946" fmla="*/ 298111 h 2380521"/>
              <a:gd name="connsiteX3947" fmla="*/ 1656498 w 8023328"/>
              <a:gd name="connsiteY3947" fmla="*/ 312900 h 2380521"/>
              <a:gd name="connsiteX3948" fmla="*/ 1642650 w 8023328"/>
              <a:gd name="connsiteY3948" fmla="*/ 298111 h 2380521"/>
              <a:gd name="connsiteX3949" fmla="*/ 1656498 w 8023328"/>
              <a:gd name="connsiteY3949" fmla="*/ 283322 h 2380521"/>
              <a:gd name="connsiteX3950" fmla="*/ 1582299 w 8023328"/>
              <a:gd name="connsiteY3950" fmla="*/ 283322 h 2380521"/>
              <a:gd name="connsiteX3951" fmla="*/ 1594704 w 8023328"/>
              <a:gd name="connsiteY3951" fmla="*/ 298111 h 2380521"/>
              <a:gd name="connsiteX3952" fmla="*/ 1582299 w 8023328"/>
              <a:gd name="connsiteY3952" fmla="*/ 312900 h 2380521"/>
              <a:gd name="connsiteX3953" fmla="*/ 1568441 w 8023328"/>
              <a:gd name="connsiteY3953" fmla="*/ 298111 h 2380521"/>
              <a:gd name="connsiteX3954" fmla="*/ 1582299 w 8023328"/>
              <a:gd name="connsiteY3954" fmla="*/ 283322 h 2380521"/>
              <a:gd name="connsiteX3955" fmla="*/ 1512198 w 8023328"/>
              <a:gd name="connsiteY3955" fmla="*/ 283322 h 2380521"/>
              <a:gd name="connsiteX3956" fmla="*/ 1523865 w 8023328"/>
              <a:gd name="connsiteY3956" fmla="*/ 298111 h 2380521"/>
              <a:gd name="connsiteX3957" fmla="*/ 1512198 w 8023328"/>
              <a:gd name="connsiteY3957" fmla="*/ 312900 h 2380521"/>
              <a:gd name="connsiteX3958" fmla="*/ 1497612 w 8023328"/>
              <a:gd name="connsiteY3958" fmla="*/ 298111 h 2380521"/>
              <a:gd name="connsiteX3959" fmla="*/ 1512198 w 8023328"/>
              <a:gd name="connsiteY3959" fmla="*/ 283322 h 2380521"/>
              <a:gd name="connsiteX3960" fmla="*/ 1439173 w 8023328"/>
              <a:gd name="connsiteY3960" fmla="*/ 283322 h 2380521"/>
              <a:gd name="connsiteX3961" fmla="*/ 1453026 w 8023328"/>
              <a:gd name="connsiteY3961" fmla="*/ 298111 h 2380521"/>
              <a:gd name="connsiteX3962" fmla="*/ 1439173 w 8023328"/>
              <a:gd name="connsiteY3962" fmla="*/ 312900 h 2380521"/>
              <a:gd name="connsiteX3963" fmla="*/ 1426777 w 8023328"/>
              <a:gd name="connsiteY3963" fmla="*/ 298111 h 2380521"/>
              <a:gd name="connsiteX3964" fmla="*/ 1439173 w 8023328"/>
              <a:gd name="connsiteY3964" fmla="*/ 283322 h 2380521"/>
              <a:gd name="connsiteX3965" fmla="*/ 1368347 w 8023328"/>
              <a:gd name="connsiteY3965" fmla="*/ 283322 h 2380521"/>
              <a:gd name="connsiteX3966" fmla="*/ 1382200 w 8023328"/>
              <a:gd name="connsiteY3966" fmla="*/ 298111 h 2380521"/>
              <a:gd name="connsiteX3967" fmla="*/ 1368347 w 8023328"/>
              <a:gd name="connsiteY3967" fmla="*/ 312900 h 2380521"/>
              <a:gd name="connsiteX3968" fmla="*/ 1355949 w 8023328"/>
              <a:gd name="connsiteY3968" fmla="*/ 298111 h 2380521"/>
              <a:gd name="connsiteX3969" fmla="*/ 1368347 w 8023328"/>
              <a:gd name="connsiteY3969" fmla="*/ 283322 h 2380521"/>
              <a:gd name="connsiteX3970" fmla="*/ 1297518 w 8023328"/>
              <a:gd name="connsiteY3970" fmla="*/ 283322 h 2380521"/>
              <a:gd name="connsiteX3971" fmla="*/ 1311374 w 8023328"/>
              <a:gd name="connsiteY3971" fmla="*/ 298111 h 2380521"/>
              <a:gd name="connsiteX3972" fmla="*/ 1297518 w 8023328"/>
              <a:gd name="connsiteY3972" fmla="*/ 312900 h 2380521"/>
              <a:gd name="connsiteX3973" fmla="*/ 1285121 w 8023328"/>
              <a:gd name="connsiteY3973" fmla="*/ 298111 h 2380521"/>
              <a:gd name="connsiteX3974" fmla="*/ 1297518 w 8023328"/>
              <a:gd name="connsiteY3974" fmla="*/ 283322 h 2380521"/>
              <a:gd name="connsiteX3975" fmla="*/ 1154890 w 8023328"/>
              <a:gd name="connsiteY3975" fmla="*/ 283322 h 2380521"/>
              <a:gd name="connsiteX3976" fmla="*/ 1169683 w 8023328"/>
              <a:gd name="connsiteY3976" fmla="*/ 295719 h 2380521"/>
              <a:gd name="connsiteX3977" fmla="*/ 1154890 w 8023328"/>
              <a:gd name="connsiteY3977" fmla="*/ 309576 h 2380521"/>
              <a:gd name="connsiteX3978" fmla="*/ 1140101 w 8023328"/>
              <a:gd name="connsiteY3978" fmla="*/ 295719 h 2380521"/>
              <a:gd name="connsiteX3979" fmla="*/ 1154890 w 8023328"/>
              <a:gd name="connsiteY3979" fmla="*/ 283322 h 2380521"/>
              <a:gd name="connsiteX3980" fmla="*/ 1084059 w 8023328"/>
              <a:gd name="connsiteY3980" fmla="*/ 283322 h 2380521"/>
              <a:gd name="connsiteX3981" fmla="*/ 1098847 w 8023328"/>
              <a:gd name="connsiteY3981" fmla="*/ 295719 h 2380521"/>
              <a:gd name="connsiteX3982" fmla="*/ 1084059 w 8023328"/>
              <a:gd name="connsiteY3982" fmla="*/ 309576 h 2380521"/>
              <a:gd name="connsiteX3983" fmla="*/ 1069272 w 8023328"/>
              <a:gd name="connsiteY3983" fmla="*/ 295719 h 2380521"/>
              <a:gd name="connsiteX3984" fmla="*/ 1084059 w 8023328"/>
              <a:gd name="connsiteY3984" fmla="*/ 283322 h 2380521"/>
              <a:gd name="connsiteX3985" fmla="*/ 1013024 w 8023328"/>
              <a:gd name="connsiteY3985" fmla="*/ 283322 h 2380521"/>
              <a:gd name="connsiteX3986" fmla="*/ 1024691 w 8023328"/>
              <a:gd name="connsiteY3986" fmla="*/ 295719 h 2380521"/>
              <a:gd name="connsiteX3987" fmla="*/ 1013024 w 8023328"/>
              <a:gd name="connsiteY3987" fmla="*/ 309576 h 2380521"/>
              <a:gd name="connsiteX3988" fmla="*/ 998442 w 8023328"/>
              <a:gd name="connsiteY3988" fmla="*/ 295719 h 2380521"/>
              <a:gd name="connsiteX3989" fmla="*/ 1013024 w 8023328"/>
              <a:gd name="connsiteY3989" fmla="*/ 283322 h 2380521"/>
              <a:gd name="connsiteX3990" fmla="*/ 941467 w 8023328"/>
              <a:gd name="connsiteY3990" fmla="*/ 283322 h 2380521"/>
              <a:gd name="connsiteX3991" fmla="*/ 953869 w 8023328"/>
              <a:gd name="connsiteY3991" fmla="*/ 295719 h 2380521"/>
              <a:gd name="connsiteX3992" fmla="*/ 941467 w 8023328"/>
              <a:gd name="connsiteY3992" fmla="*/ 309576 h 2380521"/>
              <a:gd name="connsiteX3993" fmla="*/ 927612 w 8023328"/>
              <a:gd name="connsiteY3993" fmla="*/ 295719 h 2380521"/>
              <a:gd name="connsiteX3994" fmla="*/ 941467 w 8023328"/>
              <a:gd name="connsiteY3994" fmla="*/ 283322 h 2380521"/>
              <a:gd name="connsiteX3995" fmla="*/ 3299102 w 8023328"/>
              <a:gd name="connsiteY3995" fmla="*/ 212492 h 2380521"/>
              <a:gd name="connsiteX3996" fmla="*/ 3311499 w 8023328"/>
              <a:gd name="connsiteY3996" fmla="*/ 226348 h 2380521"/>
              <a:gd name="connsiteX3997" fmla="*/ 3299102 w 8023328"/>
              <a:gd name="connsiteY3997" fmla="*/ 238746 h 2380521"/>
              <a:gd name="connsiteX3998" fmla="*/ 3285245 w 8023328"/>
              <a:gd name="connsiteY3998" fmla="*/ 226348 h 2380521"/>
              <a:gd name="connsiteX3999" fmla="*/ 3299102 w 8023328"/>
              <a:gd name="connsiteY3999" fmla="*/ 212492 h 2380521"/>
              <a:gd name="connsiteX4000" fmla="*/ 3226811 w 8023328"/>
              <a:gd name="connsiteY4000" fmla="*/ 212492 h 2380521"/>
              <a:gd name="connsiteX4001" fmla="*/ 3240667 w 8023328"/>
              <a:gd name="connsiteY4001" fmla="*/ 226348 h 2380521"/>
              <a:gd name="connsiteX4002" fmla="*/ 3226811 w 8023328"/>
              <a:gd name="connsiteY4002" fmla="*/ 238746 h 2380521"/>
              <a:gd name="connsiteX4003" fmla="*/ 3214412 w 8023328"/>
              <a:gd name="connsiteY4003" fmla="*/ 226348 h 2380521"/>
              <a:gd name="connsiteX4004" fmla="*/ 3226811 w 8023328"/>
              <a:gd name="connsiteY4004" fmla="*/ 212492 h 2380521"/>
              <a:gd name="connsiteX4005" fmla="*/ 3152608 w 8023328"/>
              <a:gd name="connsiteY4005" fmla="*/ 212492 h 2380521"/>
              <a:gd name="connsiteX4006" fmla="*/ 3166462 w 8023328"/>
              <a:gd name="connsiteY4006" fmla="*/ 226348 h 2380521"/>
              <a:gd name="connsiteX4007" fmla="*/ 3152608 w 8023328"/>
              <a:gd name="connsiteY4007" fmla="*/ 238746 h 2380521"/>
              <a:gd name="connsiteX4008" fmla="*/ 3140211 w 8023328"/>
              <a:gd name="connsiteY4008" fmla="*/ 226348 h 2380521"/>
              <a:gd name="connsiteX4009" fmla="*/ 3152608 w 8023328"/>
              <a:gd name="connsiteY4009" fmla="*/ 212492 h 2380521"/>
              <a:gd name="connsiteX4010" fmla="*/ 3081775 w 8023328"/>
              <a:gd name="connsiteY4010" fmla="*/ 212492 h 2380521"/>
              <a:gd name="connsiteX4011" fmla="*/ 3095628 w 8023328"/>
              <a:gd name="connsiteY4011" fmla="*/ 226348 h 2380521"/>
              <a:gd name="connsiteX4012" fmla="*/ 3081775 w 8023328"/>
              <a:gd name="connsiteY4012" fmla="*/ 238746 h 2380521"/>
              <a:gd name="connsiteX4013" fmla="*/ 3069375 w 8023328"/>
              <a:gd name="connsiteY4013" fmla="*/ 226348 h 2380521"/>
              <a:gd name="connsiteX4014" fmla="*/ 3081775 w 8023328"/>
              <a:gd name="connsiteY4014" fmla="*/ 212492 h 2380521"/>
              <a:gd name="connsiteX4015" fmla="*/ 3013720 w 8023328"/>
              <a:gd name="connsiteY4015" fmla="*/ 212492 h 2380521"/>
              <a:gd name="connsiteX4016" fmla="*/ 3028140 w 8023328"/>
              <a:gd name="connsiteY4016" fmla="*/ 226348 h 2380521"/>
              <a:gd name="connsiteX4017" fmla="*/ 3013720 w 8023328"/>
              <a:gd name="connsiteY4017" fmla="*/ 238746 h 2380521"/>
              <a:gd name="connsiteX4018" fmla="*/ 2998542 w 8023328"/>
              <a:gd name="connsiteY4018" fmla="*/ 226348 h 2380521"/>
              <a:gd name="connsiteX4019" fmla="*/ 3013720 w 8023328"/>
              <a:gd name="connsiteY4019" fmla="*/ 212492 h 2380521"/>
              <a:gd name="connsiteX4020" fmla="*/ 2942497 w 8023328"/>
              <a:gd name="connsiteY4020" fmla="*/ 212492 h 2380521"/>
              <a:gd name="connsiteX4021" fmla="*/ 2957293 w 8023328"/>
              <a:gd name="connsiteY4021" fmla="*/ 226348 h 2380521"/>
              <a:gd name="connsiteX4022" fmla="*/ 2942497 w 8023328"/>
              <a:gd name="connsiteY4022" fmla="*/ 238746 h 2380521"/>
              <a:gd name="connsiteX4023" fmla="*/ 2927716 w 8023328"/>
              <a:gd name="connsiteY4023" fmla="*/ 226348 h 2380521"/>
              <a:gd name="connsiteX4024" fmla="*/ 2942497 w 8023328"/>
              <a:gd name="connsiteY4024" fmla="*/ 212492 h 2380521"/>
              <a:gd name="connsiteX4025" fmla="*/ 2867363 w 8023328"/>
              <a:gd name="connsiteY4025" fmla="*/ 212492 h 2380521"/>
              <a:gd name="connsiteX4026" fmla="*/ 2879765 w 8023328"/>
              <a:gd name="connsiteY4026" fmla="*/ 226348 h 2380521"/>
              <a:gd name="connsiteX4027" fmla="*/ 2867363 w 8023328"/>
              <a:gd name="connsiteY4027" fmla="*/ 238746 h 2380521"/>
              <a:gd name="connsiteX4028" fmla="*/ 2853510 w 8023328"/>
              <a:gd name="connsiteY4028" fmla="*/ 226348 h 2380521"/>
              <a:gd name="connsiteX4029" fmla="*/ 2867363 w 8023328"/>
              <a:gd name="connsiteY4029" fmla="*/ 212492 h 2380521"/>
              <a:gd name="connsiteX4030" fmla="*/ 2796538 w 8023328"/>
              <a:gd name="connsiteY4030" fmla="*/ 212492 h 2380521"/>
              <a:gd name="connsiteX4031" fmla="*/ 2808934 w 8023328"/>
              <a:gd name="connsiteY4031" fmla="*/ 226348 h 2380521"/>
              <a:gd name="connsiteX4032" fmla="*/ 2796538 w 8023328"/>
              <a:gd name="connsiteY4032" fmla="*/ 238746 h 2380521"/>
              <a:gd name="connsiteX4033" fmla="*/ 2782680 w 8023328"/>
              <a:gd name="connsiteY4033" fmla="*/ 226348 h 2380521"/>
              <a:gd name="connsiteX4034" fmla="*/ 2796538 w 8023328"/>
              <a:gd name="connsiteY4034" fmla="*/ 212492 h 2380521"/>
              <a:gd name="connsiteX4035" fmla="*/ 2725698 w 8023328"/>
              <a:gd name="connsiteY4035" fmla="*/ 212492 h 2380521"/>
              <a:gd name="connsiteX4036" fmla="*/ 2738102 w 8023328"/>
              <a:gd name="connsiteY4036" fmla="*/ 226348 h 2380521"/>
              <a:gd name="connsiteX4037" fmla="*/ 2725698 w 8023328"/>
              <a:gd name="connsiteY4037" fmla="*/ 238746 h 2380521"/>
              <a:gd name="connsiteX4038" fmla="*/ 2711852 w 8023328"/>
              <a:gd name="connsiteY4038" fmla="*/ 226348 h 2380521"/>
              <a:gd name="connsiteX4039" fmla="*/ 2725698 w 8023328"/>
              <a:gd name="connsiteY4039" fmla="*/ 212492 h 2380521"/>
              <a:gd name="connsiteX4040" fmla="*/ 2653420 w 8023328"/>
              <a:gd name="connsiteY4040" fmla="*/ 212492 h 2380521"/>
              <a:gd name="connsiteX4041" fmla="*/ 2667273 w 8023328"/>
              <a:gd name="connsiteY4041" fmla="*/ 226348 h 2380521"/>
              <a:gd name="connsiteX4042" fmla="*/ 2653420 w 8023328"/>
              <a:gd name="connsiteY4042" fmla="*/ 238746 h 2380521"/>
              <a:gd name="connsiteX4043" fmla="*/ 2641021 w 8023328"/>
              <a:gd name="connsiteY4043" fmla="*/ 226348 h 2380521"/>
              <a:gd name="connsiteX4044" fmla="*/ 2653420 w 8023328"/>
              <a:gd name="connsiteY4044" fmla="*/ 212492 h 2380521"/>
              <a:gd name="connsiteX4045" fmla="*/ 2582586 w 8023328"/>
              <a:gd name="connsiteY4045" fmla="*/ 212492 h 2380521"/>
              <a:gd name="connsiteX4046" fmla="*/ 2596439 w 8023328"/>
              <a:gd name="connsiteY4046" fmla="*/ 226348 h 2380521"/>
              <a:gd name="connsiteX4047" fmla="*/ 2582586 w 8023328"/>
              <a:gd name="connsiteY4047" fmla="*/ 238746 h 2380521"/>
              <a:gd name="connsiteX4048" fmla="*/ 2570189 w 8023328"/>
              <a:gd name="connsiteY4048" fmla="*/ 226348 h 2380521"/>
              <a:gd name="connsiteX4049" fmla="*/ 2582586 w 8023328"/>
              <a:gd name="connsiteY4049" fmla="*/ 212492 h 2380521"/>
              <a:gd name="connsiteX4050" fmla="*/ 2511029 w 8023328"/>
              <a:gd name="connsiteY4050" fmla="*/ 212492 h 2380521"/>
              <a:gd name="connsiteX4051" fmla="*/ 2525616 w 8023328"/>
              <a:gd name="connsiteY4051" fmla="*/ 226348 h 2380521"/>
              <a:gd name="connsiteX4052" fmla="*/ 2511029 w 8023328"/>
              <a:gd name="connsiteY4052" fmla="*/ 238746 h 2380521"/>
              <a:gd name="connsiteX4053" fmla="*/ 2499364 w 8023328"/>
              <a:gd name="connsiteY4053" fmla="*/ 226348 h 2380521"/>
              <a:gd name="connsiteX4054" fmla="*/ 2511029 w 8023328"/>
              <a:gd name="connsiteY4054" fmla="*/ 212492 h 2380521"/>
              <a:gd name="connsiteX4055" fmla="*/ 2439946 w 8023328"/>
              <a:gd name="connsiteY4055" fmla="*/ 212492 h 2380521"/>
              <a:gd name="connsiteX4056" fmla="*/ 2454732 w 8023328"/>
              <a:gd name="connsiteY4056" fmla="*/ 226348 h 2380521"/>
              <a:gd name="connsiteX4057" fmla="*/ 2439946 w 8023328"/>
              <a:gd name="connsiteY4057" fmla="*/ 238746 h 2380521"/>
              <a:gd name="connsiteX4058" fmla="*/ 2425156 w 8023328"/>
              <a:gd name="connsiteY4058" fmla="*/ 226348 h 2380521"/>
              <a:gd name="connsiteX4059" fmla="*/ 2439946 w 8023328"/>
              <a:gd name="connsiteY4059" fmla="*/ 212492 h 2380521"/>
              <a:gd name="connsiteX4060" fmla="*/ 2369110 w 8023328"/>
              <a:gd name="connsiteY4060" fmla="*/ 212492 h 2380521"/>
              <a:gd name="connsiteX4061" fmla="*/ 2383900 w 8023328"/>
              <a:gd name="connsiteY4061" fmla="*/ 226348 h 2380521"/>
              <a:gd name="connsiteX4062" fmla="*/ 2369110 w 8023328"/>
              <a:gd name="connsiteY4062" fmla="*/ 238746 h 2380521"/>
              <a:gd name="connsiteX4063" fmla="*/ 2354323 w 8023328"/>
              <a:gd name="connsiteY4063" fmla="*/ 226348 h 2380521"/>
              <a:gd name="connsiteX4064" fmla="*/ 2369110 w 8023328"/>
              <a:gd name="connsiteY4064" fmla="*/ 212492 h 2380521"/>
              <a:gd name="connsiteX4065" fmla="*/ 2298283 w 8023328"/>
              <a:gd name="connsiteY4065" fmla="*/ 212492 h 2380521"/>
              <a:gd name="connsiteX4066" fmla="*/ 2313070 w 8023328"/>
              <a:gd name="connsiteY4066" fmla="*/ 227280 h 2380521"/>
              <a:gd name="connsiteX4067" fmla="*/ 2298283 w 8023328"/>
              <a:gd name="connsiteY4067" fmla="*/ 242069 h 2380521"/>
              <a:gd name="connsiteX4068" fmla="*/ 2283493 w 8023328"/>
              <a:gd name="connsiteY4068" fmla="*/ 227280 h 2380521"/>
              <a:gd name="connsiteX4069" fmla="*/ 2298283 w 8023328"/>
              <a:gd name="connsiteY4069" fmla="*/ 212492 h 2380521"/>
              <a:gd name="connsiteX4070" fmla="*/ 2226517 w 8023328"/>
              <a:gd name="connsiteY4070" fmla="*/ 212492 h 2380521"/>
              <a:gd name="connsiteX4071" fmla="*/ 2238916 w 8023328"/>
              <a:gd name="connsiteY4071" fmla="*/ 227280 h 2380521"/>
              <a:gd name="connsiteX4072" fmla="*/ 2226517 w 8023328"/>
              <a:gd name="connsiteY4072" fmla="*/ 242069 h 2380521"/>
              <a:gd name="connsiteX4073" fmla="*/ 2212659 w 8023328"/>
              <a:gd name="connsiteY4073" fmla="*/ 227280 h 2380521"/>
              <a:gd name="connsiteX4074" fmla="*/ 2226517 w 8023328"/>
              <a:gd name="connsiteY4074" fmla="*/ 212492 h 2380521"/>
              <a:gd name="connsiteX4075" fmla="*/ 2155683 w 8023328"/>
              <a:gd name="connsiteY4075" fmla="*/ 212492 h 2380521"/>
              <a:gd name="connsiteX4076" fmla="*/ 2168081 w 8023328"/>
              <a:gd name="connsiteY4076" fmla="*/ 227280 h 2380521"/>
              <a:gd name="connsiteX4077" fmla="*/ 2155683 w 8023328"/>
              <a:gd name="connsiteY4077" fmla="*/ 242069 h 2380521"/>
              <a:gd name="connsiteX4078" fmla="*/ 2141827 w 8023328"/>
              <a:gd name="connsiteY4078" fmla="*/ 227280 h 2380521"/>
              <a:gd name="connsiteX4079" fmla="*/ 2155683 w 8023328"/>
              <a:gd name="connsiteY4079" fmla="*/ 212492 h 2380521"/>
              <a:gd name="connsiteX4080" fmla="*/ 2084851 w 8023328"/>
              <a:gd name="connsiteY4080" fmla="*/ 212492 h 2380521"/>
              <a:gd name="connsiteX4081" fmla="*/ 2097249 w 8023328"/>
              <a:gd name="connsiteY4081" fmla="*/ 227280 h 2380521"/>
              <a:gd name="connsiteX4082" fmla="*/ 2084851 w 8023328"/>
              <a:gd name="connsiteY4082" fmla="*/ 242069 h 2380521"/>
              <a:gd name="connsiteX4083" fmla="*/ 2070995 w 8023328"/>
              <a:gd name="connsiteY4083" fmla="*/ 227280 h 2380521"/>
              <a:gd name="connsiteX4084" fmla="*/ 2084851 w 8023328"/>
              <a:gd name="connsiteY4084" fmla="*/ 212492 h 2380521"/>
              <a:gd name="connsiteX4085" fmla="*/ 2011835 w 8023328"/>
              <a:gd name="connsiteY4085" fmla="*/ 212492 h 2380521"/>
              <a:gd name="connsiteX4086" fmla="*/ 2026421 w 8023328"/>
              <a:gd name="connsiteY4086" fmla="*/ 227280 h 2380521"/>
              <a:gd name="connsiteX4087" fmla="*/ 2011835 w 8023328"/>
              <a:gd name="connsiteY4087" fmla="*/ 242069 h 2380521"/>
              <a:gd name="connsiteX4088" fmla="*/ 2000168 w 8023328"/>
              <a:gd name="connsiteY4088" fmla="*/ 227280 h 2380521"/>
              <a:gd name="connsiteX4089" fmla="*/ 2011835 w 8023328"/>
              <a:gd name="connsiteY4089" fmla="*/ 212492 h 2380521"/>
              <a:gd name="connsiteX4090" fmla="*/ 1938362 w 8023328"/>
              <a:gd name="connsiteY4090" fmla="*/ 212492 h 2380521"/>
              <a:gd name="connsiteX4091" fmla="*/ 1952222 w 8023328"/>
              <a:gd name="connsiteY4091" fmla="*/ 227280 h 2380521"/>
              <a:gd name="connsiteX4092" fmla="*/ 1938362 w 8023328"/>
              <a:gd name="connsiteY4092" fmla="*/ 242069 h 2380521"/>
              <a:gd name="connsiteX4093" fmla="*/ 1925971 w 8023328"/>
              <a:gd name="connsiteY4093" fmla="*/ 227280 h 2380521"/>
              <a:gd name="connsiteX4094" fmla="*/ 1938362 w 8023328"/>
              <a:gd name="connsiteY4094" fmla="*/ 212492 h 2380521"/>
              <a:gd name="connsiteX4095" fmla="*/ 1867530 w 8023328"/>
              <a:gd name="connsiteY4095" fmla="*/ 212492 h 2380521"/>
              <a:gd name="connsiteX4096" fmla="*/ 1881387 w 8023328"/>
              <a:gd name="connsiteY4096" fmla="*/ 227280 h 2380521"/>
              <a:gd name="connsiteX4097" fmla="*/ 1867530 w 8023328"/>
              <a:gd name="connsiteY4097" fmla="*/ 242069 h 2380521"/>
              <a:gd name="connsiteX4098" fmla="*/ 1855129 w 8023328"/>
              <a:gd name="connsiteY4098" fmla="*/ 227280 h 2380521"/>
              <a:gd name="connsiteX4099" fmla="*/ 1867530 w 8023328"/>
              <a:gd name="connsiteY4099" fmla="*/ 212492 h 2380521"/>
              <a:gd name="connsiteX4100" fmla="*/ 1799087 w 8023328"/>
              <a:gd name="connsiteY4100" fmla="*/ 212492 h 2380521"/>
              <a:gd name="connsiteX4101" fmla="*/ 1813879 w 8023328"/>
              <a:gd name="connsiteY4101" fmla="*/ 227280 h 2380521"/>
              <a:gd name="connsiteX4102" fmla="*/ 1799087 w 8023328"/>
              <a:gd name="connsiteY4102" fmla="*/ 242069 h 2380521"/>
              <a:gd name="connsiteX4103" fmla="*/ 1784303 w 8023328"/>
              <a:gd name="connsiteY4103" fmla="*/ 227280 h 2380521"/>
              <a:gd name="connsiteX4104" fmla="*/ 1799087 w 8023328"/>
              <a:gd name="connsiteY4104" fmla="*/ 212492 h 2380521"/>
              <a:gd name="connsiteX4105" fmla="*/ 1728262 w 8023328"/>
              <a:gd name="connsiteY4105" fmla="*/ 212492 h 2380521"/>
              <a:gd name="connsiteX4106" fmla="*/ 1743052 w 8023328"/>
              <a:gd name="connsiteY4106" fmla="*/ 227280 h 2380521"/>
              <a:gd name="connsiteX4107" fmla="*/ 1728262 w 8023328"/>
              <a:gd name="connsiteY4107" fmla="*/ 242069 h 2380521"/>
              <a:gd name="connsiteX4108" fmla="*/ 1713472 w 8023328"/>
              <a:gd name="connsiteY4108" fmla="*/ 227280 h 2380521"/>
              <a:gd name="connsiteX4109" fmla="*/ 1728262 w 8023328"/>
              <a:gd name="connsiteY4109" fmla="*/ 212492 h 2380521"/>
              <a:gd name="connsiteX4110" fmla="*/ 1656498 w 8023328"/>
              <a:gd name="connsiteY4110" fmla="*/ 212492 h 2380521"/>
              <a:gd name="connsiteX4111" fmla="*/ 1668900 w 8023328"/>
              <a:gd name="connsiteY4111" fmla="*/ 227280 h 2380521"/>
              <a:gd name="connsiteX4112" fmla="*/ 1656498 w 8023328"/>
              <a:gd name="connsiteY4112" fmla="*/ 242069 h 2380521"/>
              <a:gd name="connsiteX4113" fmla="*/ 1642655 w 8023328"/>
              <a:gd name="connsiteY4113" fmla="*/ 227280 h 2380521"/>
              <a:gd name="connsiteX4114" fmla="*/ 1656498 w 8023328"/>
              <a:gd name="connsiteY4114" fmla="*/ 212492 h 2380521"/>
              <a:gd name="connsiteX4115" fmla="*/ 1582299 w 8023328"/>
              <a:gd name="connsiteY4115" fmla="*/ 212492 h 2380521"/>
              <a:gd name="connsiteX4116" fmla="*/ 1594704 w 8023328"/>
              <a:gd name="connsiteY4116" fmla="*/ 227280 h 2380521"/>
              <a:gd name="connsiteX4117" fmla="*/ 1582299 w 8023328"/>
              <a:gd name="connsiteY4117" fmla="*/ 242069 h 2380521"/>
              <a:gd name="connsiteX4118" fmla="*/ 1568441 w 8023328"/>
              <a:gd name="connsiteY4118" fmla="*/ 227280 h 2380521"/>
              <a:gd name="connsiteX4119" fmla="*/ 1582299 w 8023328"/>
              <a:gd name="connsiteY4119" fmla="*/ 212492 h 2380521"/>
              <a:gd name="connsiteX4120" fmla="*/ 1512198 w 8023328"/>
              <a:gd name="connsiteY4120" fmla="*/ 212492 h 2380521"/>
              <a:gd name="connsiteX4121" fmla="*/ 1523867 w 8023328"/>
              <a:gd name="connsiteY4121" fmla="*/ 227280 h 2380521"/>
              <a:gd name="connsiteX4122" fmla="*/ 1512198 w 8023328"/>
              <a:gd name="connsiteY4122" fmla="*/ 242069 h 2380521"/>
              <a:gd name="connsiteX4123" fmla="*/ 1497612 w 8023328"/>
              <a:gd name="connsiteY4123" fmla="*/ 227280 h 2380521"/>
              <a:gd name="connsiteX4124" fmla="*/ 1512198 w 8023328"/>
              <a:gd name="connsiteY4124" fmla="*/ 212492 h 2380521"/>
              <a:gd name="connsiteX4125" fmla="*/ 1439173 w 8023328"/>
              <a:gd name="connsiteY4125" fmla="*/ 212492 h 2380521"/>
              <a:gd name="connsiteX4126" fmla="*/ 1453026 w 8023328"/>
              <a:gd name="connsiteY4126" fmla="*/ 227280 h 2380521"/>
              <a:gd name="connsiteX4127" fmla="*/ 1439173 w 8023328"/>
              <a:gd name="connsiteY4127" fmla="*/ 242069 h 2380521"/>
              <a:gd name="connsiteX4128" fmla="*/ 1426777 w 8023328"/>
              <a:gd name="connsiteY4128" fmla="*/ 227280 h 2380521"/>
              <a:gd name="connsiteX4129" fmla="*/ 1439173 w 8023328"/>
              <a:gd name="connsiteY4129" fmla="*/ 212492 h 2380521"/>
              <a:gd name="connsiteX4130" fmla="*/ 1368349 w 8023328"/>
              <a:gd name="connsiteY4130" fmla="*/ 212492 h 2380521"/>
              <a:gd name="connsiteX4131" fmla="*/ 1382203 w 8023328"/>
              <a:gd name="connsiteY4131" fmla="*/ 227280 h 2380521"/>
              <a:gd name="connsiteX4132" fmla="*/ 1368349 w 8023328"/>
              <a:gd name="connsiteY4132" fmla="*/ 242069 h 2380521"/>
              <a:gd name="connsiteX4133" fmla="*/ 1355950 w 8023328"/>
              <a:gd name="connsiteY4133" fmla="*/ 227280 h 2380521"/>
              <a:gd name="connsiteX4134" fmla="*/ 1368349 w 8023328"/>
              <a:gd name="connsiteY4134" fmla="*/ 212492 h 2380521"/>
              <a:gd name="connsiteX4135" fmla="*/ 1297520 w 8023328"/>
              <a:gd name="connsiteY4135" fmla="*/ 212492 h 2380521"/>
              <a:gd name="connsiteX4136" fmla="*/ 1311374 w 8023328"/>
              <a:gd name="connsiteY4136" fmla="*/ 227280 h 2380521"/>
              <a:gd name="connsiteX4137" fmla="*/ 1297520 w 8023328"/>
              <a:gd name="connsiteY4137" fmla="*/ 242069 h 2380521"/>
              <a:gd name="connsiteX4138" fmla="*/ 1285121 w 8023328"/>
              <a:gd name="connsiteY4138" fmla="*/ 227280 h 2380521"/>
              <a:gd name="connsiteX4139" fmla="*/ 1297520 w 8023328"/>
              <a:gd name="connsiteY4139" fmla="*/ 212492 h 2380521"/>
              <a:gd name="connsiteX4140" fmla="*/ 1225708 w 8023328"/>
              <a:gd name="connsiteY4140" fmla="*/ 212492 h 2380521"/>
              <a:gd name="connsiteX4141" fmla="*/ 1240496 w 8023328"/>
              <a:gd name="connsiteY4141" fmla="*/ 227280 h 2380521"/>
              <a:gd name="connsiteX4142" fmla="*/ 1225708 w 8023328"/>
              <a:gd name="connsiteY4142" fmla="*/ 242069 h 2380521"/>
              <a:gd name="connsiteX4143" fmla="*/ 1210934 w 8023328"/>
              <a:gd name="connsiteY4143" fmla="*/ 227280 h 2380521"/>
              <a:gd name="connsiteX4144" fmla="*/ 1225708 w 8023328"/>
              <a:gd name="connsiteY4144" fmla="*/ 212492 h 2380521"/>
              <a:gd name="connsiteX4145" fmla="*/ 1154891 w 8023328"/>
              <a:gd name="connsiteY4145" fmla="*/ 212492 h 2380521"/>
              <a:gd name="connsiteX4146" fmla="*/ 1169683 w 8023328"/>
              <a:gd name="connsiteY4146" fmla="*/ 227280 h 2380521"/>
              <a:gd name="connsiteX4147" fmla="*/ 1154891 w 8023328"/>
              <a:gd name="connsiteY4147" fmla="*/ 242069 h 2380521"/>
              <a:gd name="connsiteX4148" fmla="*/ 1140105 w 8023328"/>
              <a:gd name="connsiteY4148" fmla="*/ 227280 h 2380521"/>
              <a:gd name="connsiteX4149" fmla="*/ 1154891 w 8023328"/>
              <a:gd name="connsiteY4149" fmla="*/ 212492 h 2380521"/>
              <a:gd name="connsiteX4150" fmla="*/ 1084063 w 8023328"/>
              <a:gd name="connsiteY4150" fmla="*/ 212492 h 2380521"/>
              <a:gd name="connsiteX4151" fmla="*/ 1098847 w 8023328"/>
              <a:gd name="connsiteY4151" fmla="*/ 227280 h 2380521"/>
              <a:gd name="connsiteX4152" fmla="*/ 1084063 w 8023328"/>
              <a:gd name="connsiteY4152" fmla="*/ 242069 h 2380521"/>
              <a:gd name="connsiteX4153" fmla="*/ 1069276 w 8023328"/>
              <a:gd name="connsiteY4153" fmla="*/ 227280 h 2380521"/>
              <a:gd name="connsiteX4154" fmla="*/ 1084063 w 8023328"/>
              <a:gd name="connsiteY4154" fmla="*/ 212492 h 2380521"/>
              <a:gd name="connsiteX4155" fmla="*/ 3013723 w 8023328"/>
              <a:gd name="connsiteY4155" fmla="*/ 141661 h 2380521"/>
              <a:gd name="connsiteX4156" fmla="*/ 3028140 w 8023328"/>
              <a:gd name="connsiteY4156" fmla="*/ 155517 h 2380521"/>
              <a:gd name="connsiteX4157" fmla="*/ 3013723 w 8023328"/>
              <a:gd name="connsiteY4157" fmla="*/ 167915 h 2380521"/>
              <a:gd name="connsiteX4158" fmla="*/ 2998545 w 8023328"/>
              <a:gd name="connsiteY4158" fmla="*/ 155517 h 2380521"/>
              <a:gd name="connsiteX4159" fmla="*/ 3013723 w 8023328"/>
              <a:gd name="connsiteY4159" fmla="*/ 141661 h 2380521"/>
              <a:gd name="connsiteX4160" fmla="*/ 2942497 w 8023328"/>
              <a:gd name="connsiteY4160" fmla="*/ 141661 h 2380521"/>
              <a:gd name="connsiteX4161" fmla="*/ 2957293 w 8023328"/>
              <a:gd name="connsiteY4161" fmla="*/ 155517 h 2380521"/>
              <a:gd name="connsiteX4162" fmla="*/ 2942497 w 8023328"/>
              <a:gd name="connsiteY4162" fmla="*/ 167915 h 2380521"/>
              <a:gd name="connsiteX4163" fmla="*/ 2927716 w 8023328"/>
              <a:gd name="connsiteY4163" fmla="*/ 155517 h 2380521"/>
              <a:gd name="connsiteX4164" fmla="*/ 2942497 w 8023328"/>
              <a:gd name="connsiteY4164" fmla="*/ 141661 h 2380521"/>
              <a:gd name="connsiteX4165" fmla="*/ 2867363 w 8023328"/>
              <a:gd name="connsiteY4165" fmla="*/ 141661 h 2380521"/>
              <a:gd name="connsiteX4166" fmla="*/ 2879765 w 8023328"/>
              <a:gd name="connsiteY4166" fmla="*/ 155517 h 2380521"/>
              <a:gd name="connsiteX4167" fmla="*/ 2867363 w 8023328"/>
              <a:gd name="connsiteY4167" fmla="*/ 167915 h 2380521"/>
              <a:gd name="connsiteX4168" fmla="*/ 2853510 w 8023328"/>
              <a:gd name="connsiteY4168" fmla="*/ 155517 h 2380521"/>
              <a:gd name="connsiteX4169" fmla="*/ 2867363 w 8023328"/>
              <a:gd name="connsiteY4169" fmla="*/ 141661 h 2380521"/>
              <a:gd name="connsiteX4170" fmla="*/ 2796538 w 8023328"/>
              <a:gd name="connsiteY4170" fmla="*/ 141661 h 2380521"/>
              <a:gd name="connsiteX4171" fmla="*/ 2808940 w 8023328"/>
              <a:gd name="connsiteY4171" fmla="*/ 155517 h 2380521"/>
              <a:gd name="connsiteX4172" fmla="*/ 2796538 w 8023328"/>
              <a:gd name="connsiteY4172" fmla="*/ 167915 h 2380521"/>
              <a:gd name="connsiteX4173" fmla="*/ 2782683 w 8023328"/>
              <a:gd name="connsiteY4173" fmla="*/ 155517 h 2380521"/>
              <a:gd name="connsiteX4174" fmla="*/ 2796538 w 8023328"/>
              <a:gd name="connsiteY4174" fmla="*/ 141661 h 2380521"/>
              <a:gd name="connsiteX4175" fmla="*/ 2725703 w 8023328"/>
              <a:gd name="connsiteY4175" fmla="*/ 141661 h 2380521"/>
              <a:gd name="connsiteX4176" fmla="*/ 2738105 w 8023328"/>
              <a:gd name="connsiteY4176" fmla="*/ 155517 h 2380521"/>
              <a:gd name="connsiteX4177" fmla="*/ 2725703 w 8023328"/>
              <a:gd name="connsiteY4177" fmla="*/ 167915 h 2380521"/>
              <a:gd name="connsiteX4178" fmla="*/ 2711852 w 8023328"/>
              <a:gd name="connsiteY4178" fmla="*/ 155517 h 2380521"/>
              <a:gd name="connsiteX4179" fmla="*/ 2725703 w 8023328"/>
              <a:gd name="connsiteY4179" fmla="*/ 141661 h 2380521"/>
              <a:gd name="connsiteX4180" fmla="*/ 2653420 w 8023328"/>
              <a:gd name="connsiteY4180" fmla="*/ 141661 h 2380521"/>
              <a:gd name="connsiteX4181" fmla="*/ 2667273 w 8023328"/>
              <a:gd name="connsiteY4181" fmla="*/ 155517 h 2380521"/>
              <a:gd name="connsiteX4182" fmla="*/ 2653420 w 8023328"/>
              <a:gd name="connsiteY4182" fmla="*/ 167915 h 2380521"/>
              <a:gd name="connsiteX4183" fmla="*/ 2641021 w 8023328"/>
              <a:gd name="connsiteY4183" fmla="*/ 155517 h 2380521"/>
              <a:gd name="connsiteX4184" fmla="*/ 2653420 w 8023328"/>
              <a:gd name="connsiteY4184" fmla="*/ 141661 h 2380521"/>
              <a:gd name="connsiteX4185" fmla="*/ 2582586 w 8023328"/>
              <a:gd name="connsiteY4185" fmla="*/ 141661 h 2380521"/>
              <a:gd name="connsiteX4186" fmla="*/ 2596442 w 8023328"/>
              <a:gd name="connsiteY4186" fmla="*/ 155517 h 2380521"/>
              <a:gd name="connsiteX4187" fmla="*/ 2582586 w 8023328"/>
              <a:gd name="connsiteY4187" fmla="*/ 167915 h 2380521"/>
              <a:gd name="connsiteX4188" fmla="*/ 2570189 w 8023328"/>
              <a:gd name="connsiteY4188" fmla="*/ 155517 h 2380521"/>
              <a:gd name="connsiteX4189" fmla="*/ 2582586 w 8023328"/>
              <a:gd name="connsiteY4189" fmla="*/ 141661 h 2380521"/>
              <a:gd name="connsiteX4190" fmla="*/ 2511034 w 8023328"/>
              <a:gd name="connsiteY4190" fmla="*/ 141661 h 2380521"/>
              <a:gd name="connsiteX4191" fmla="*/ 2525616 w 8023328"/>
              <a:gd name="connsiteY4191" fmla="*/ 155517 h 2380521"/>
              <a:gd name="connsiteX4192" fmla="*/ 2511034 w 8023328"/>
              <a:gd name="connsiteY4192" fmla="*/ 167915 h 2380521"/>
              <a:gd name="connsiteX4193" fmla="*/ 2499364 w 8023328"/>
              <a:gd name="connsiteY4193" fmla="*/ 155517 h 2380521"/>
              <a:gd name="connsiteX4194" fmla="*/ 2511034 w 8023328"/>
              <a:gd name="connsiteY4194" fmla="*/ 141661 h 2380521"/>
              <a:gd name="connsiteX4195" fmla="*/ 2439946 w 8023328"/>
              <a:gd name="connsiteY4195" fmla="*/ 141661 h 2380521"/>
              <a:gd name="connsiteX4196" fmla="*/ 2454734 w 8023328"/>
              <a:gd name="connsiteY4196" fmla="*/ 155517 h 2380521"/>
              <a:gd name="connsiteX4197" fmla="*/ 2439946 w 8023328"/>
              <a:gd name="connsiteY4197" fmla="*/ 167915 h 2380521"/>
              <a:gd name="connsiteX4198" fmla="*/ 2425159 w 8023328"/>
              <a:gd name="connsiteY4198" fmla="*/ 155517 h 2380521"/>
              <a:gd name="connsiteX4199" fmla="*/ 2439946 w 8023328"/>
              <a:gd name="connsiteY4199" fmla="*/ 141661 h 2380521"/>
              <a:gd name="connsiteX4200" fmla="*/ 2369114 w 8023328"/>
              <a:gd name="connsiteY4200" fmla="*/ 141661 h 2380521"/>
              <a:gd name="connsiteX4201" fmla="*/ 2383900 w 8023328"/>
              <a:gd name="connsiteY4201" fmla="*/ 155517 h 2380521"/>
              <a:gd name="connsiteX4202" fmla="*/ 2369114 w 8023328"/>
              <a:gd name="connsiteY4202" fmla="*/ 167915 h 2380521"/>
              <a:gd name="connsiteX4203" fmla="*/ 2354323 w 8023328"/>
              <a:gd name="connsiteY4203" fmla="*/ 155517 h 2380521"/>
              <a:gd name="connsiteX4204" fmla="*/ 2369114 w 8023328"/>
              <a:gd name="connsiteY4204" fmla="*/ 141661 h 2380521"/>
              <a:gd name="connsiteX4205" fmla="*/ 2298283 w 8023328"/>
              <a:gd name="connsiteY4205" fmla="*/ 141661 h 2380521"/>
              <a:gd name="connsiteX4206" fmla="*/ 2313070 w 8023328"/>
              <a:gd name="connsiteY4206" fmla="*/ 155517 h 2380521"/>
              <a:gd name="connsiteX4207" fmla="*/ 2298283 w 8023328"/>
              <a:gd name="connsiteY4207" fmla="*/ 167915 h 2380521"/>
              <a:gd name="connsiteX4208" fmla="*/ 2283493 w 8023328"/>
              <a:gd name="connsiteY4208" fmla="*/ 155517 h 2380521"/>
              <a:gd name="connsiteX4209" fmla="*/ 2298283 w 8023328"/>
              <a:gd name="connsiteY4209" fmla="*/ 141661 h 2380521"/>
              <a:gd name="connsiteX4210" fmla="*/ 2226517 w 8023328"/>
              <a:gd name="connsiteY4210" fmla="*/ 141661 h 2380521"/>
              <a:gd name="connsiteX4211" fmla="*/ 2238916 w 8023328"/>
              <a:gd name="connsiteY4211" fmla="*/ 155517 h 2380521"/>
              <a:gd name="connsiteX4212" fmla="*/ 2226517 w 8023328"/>
              <a:gd name="connsiteY4212" fmla="*/ 167915 h 2380521"/>
              <a:gd name="connsiteX4213" fmla="*/ 2212659 w 8023328"/>
              <a:gd name="connsiteY4213" fmla="*/ 155517 h 2380521"/>
              <a:gd name="connsiteX4214" fmla="*/ 2226517 w 8023328"/>
              <a:gd name="connsiteY4214" fmla="*/ 141661 h 2380521"/>
              <a:gd name="connsiteX4215" fmla="*/ 2155683 w 8023328"/>
              <a:gd name="connsiteY4215" fmla="*/ 141661 h 2380521"/>
              <a:gd name="connsiteX4216" fmla="*/ 2168084 w 8023328"/>
              <a:gd name="connsiteY4216" fmla="*/ 155517 h 2380521"/>
              <a:gd name="connsiteX4217" fmla="*/ 2155683 w 8023328"/>
              <a:gd name="connsiteY4217" fmla="*/ 167915 h 2380521"/>
              <a:gd name="connsiteX4218" fmla="*/ 2141827 w 8023328"/>
              <a:gd name="connsiteY4218" fmla="*/ 155517 h 2380521"/>
              <a:gd name="connsiteX4219" fmla="*/ 2155683 w 8023328"/>
              <a:gd name="connsiteY4219" fmla="*/ 141661 h 2380521"/>
              <a:gd name="connsiteX4220" fmla="*/ 2084851 w 8023328"/>
              <a:gd name="connsiteY4220" fmla="*/ 141661 h 2380521"/>
              <a:gd name="connsiteX4221" fmla="*/ 2097249 w 8023328"/>
              <a:gd name="connsiteY4221" fmla="*/ 155517 h 2380521"/>
              <a:gd name="connsiteX4222" fmla="*/ 2084851 w 8023328"/>
              <a:gd name="connsiteY4222" fmla="*/ 167915 h 2380521"/>
              <a:gd name="connsiteX4223" fmla="*/ 2070995 w 8023328"/>
              <a:gd name="connsiteY4223" fmla="*/ 155517 h 2380521"/>
              <a:gd name="connsiteX4224" fmla="*/ 2084851 w 8023328"/>
              <a:gd name="connsiteY4224" fmla="*/ 141661 h 2380521"/>
              <a:gd name="connsiteX4225" fmla="*/ 2011835 w 8023328"/>
              <a:gd name="connsiteY4225" fmla="*/ 141661 h 2380521"/>
              <a:gd name="connsiteX4226" fmla="*/ 2026421 w 8023328"/>
              <a:gd name="connsiteY4226" fmla="*/ 155517 h 2380521"/>
              <a:gd name="connsiteX4227" fmla="*/ 2011835 w 8023328"/>
              <a:gd name="connsiteY4227" fmla="*/ 167915 h 2380521"/>
              <a:gd name="connsiteX4228" fmla="*/ 2000168 w 8023328"/>
              <a:gd name="connsiteY4228" fmla="*/ 155517 h 2380521"/>
              <a:gd name="connsiteX4229" fmla="*/ 2011835 w 8023328"/>
              <a:gd name="connsiteY4229" fmla="*/ 141661 h 2380521"/>
              <a:gd name="connsiteX4230" fmla="*/ 1938365 w 8023328"/>
              <a:gd name="connsiteY4230" fmla="*/ 141661 h 2380521"/>
              <a:gd name="connsiteX4231" fmla="*/ 1952222 w 8023328"/>
              <a:gd name="connsiteY4231" fmla="*/ 155517 h 2380521"/>
              <a:gd name="connsiteX4232" fmla="*/ 1938365 w 8023328"/>
              <a:gd name="connsiteY4232" fmla="*/ 167915 h 2380521"/>
              <a:gd name="connsiteX4233" fmla="*/ 1925971 w 8023328"/>
              <a:gd name="connsiteY4233" fmla="*/ 155517 h 2380521"/>
              <a:gd name="connsiteX4234" fmla="*/ 1938365 w 8023328"/>
              <a:gd name="connsiteY4234" fmla="*/ 141661 h 2380521"/>
              <a:gd name="connsiteX4235" fmla="*/ 1869922 w 8023328"/>
              <a:gd name="connsiteY4235" fmla="*/ 141661 h 2380521"/>
              <a:gd name="connsiteX4236" fmla="*/ 1884712 w 8023328"/>
              <a:gd name="connsiteY4236" fmla="*/ 155517 h 2380521"/>
              <a:gd name="connsiteX4237" fmla="*/ 1869922 w 8023328"/>
              <a:gd name="connsiteY4237" fmla="*/ 167915 h 2380521"/>
              <a:gd name="connsiteX4238" fmla="*/ 1855131 w 8023328"/>
              <a:gd name="connsiteY4238" fmla="*/ 155517 h 2380521"/>
              <a:gd name="connsiteX4239" fmla="*/ 1869922 w 8023328"/>
              <a:gd name="connsiteY4239" fmla="*/ 141661 h 2380521"/>
              <a:gd name="connsiteX4240" fmla="*/ 1799087 w 8023328"/>
              <a:gd name="connsiteY4240" fmla="*/ 141661 h 2380521"/>
              <a:gd name="connsiteX4241" fmla="*/ 1813879 w 8023328"/>
              <a:gd name="connsiteY4241" fmla="*/ 155517 h 2380521"/>
              <a:gd name="connsiteX4242" fmla="*/ 1799087 w 8023328"/>
              <a:gd name="connsiteY4242" fmla="*/ 167915 h 2380521"/>
              <a:gd name="connsiteX4243" fmla="*/ 1784303 w 8023328"/>
              <a:gd name="connsiteY4243" fmla="*/ 155517 h 2380521"/>
              <a:gd name="connsiteX4244" fmla="*/ 1799087 w 8023328"/>
              <a:gd name="connsiteY4244" fmla="*/ 141661 h 2380521"/>
              <a:gd name="connsiteX4245" fmla="*/ 1728262 w 8023328"/>
              <a:gd name="connsiteY4245" fmla="*/ 141661 h 2380521"/>
              <a:gd name="connsiteX4246" fmla="*/ 1743052 w 8023328"/>
              <a:gd name="connsiteY4246" fmla="*/ 155517 h 2380521"/>
              <a:gd name="connsiteX4247" fmla="*/ 1728262 w 8023328"/>
              <a:gd name="connsiteY4247" fmla="*/ 167915 h 2380521"/>
              <a:gd name="connsiteX4248" fmla="*/ 1713474 w 8023328"/>
              <a:gd name="connsiteY4248" fmla="*/ 155517 h 2380521"/>
              <a:gd name="connsiteX4249" fmla="*/ 1728262 w 8023328"/>
              <a:gd name="connsiteY4249" fmla="*/ 141661 h 2380521"/>
              <a:gd name="connsiteX4250" fmla="*/ 1656501 w 8023328"/>
              <a:gd name="connsiteY4250" fmla="*/ 141661 h 2380521"/>
              <a:gd name="connsiteX4251" fmla="*/ 1668900 w 8023328"/>
              <a:gd name="connsiteY4251" fmla="*/ 156450 h 2380521"/>
              <a:gd name="connsiteX4252" fmla="*/ 1656501 w 8023328"/>
              <a:gd name="connsiteY4252" fmla="*/ 171239 h 2380521"/>
              <a:gd name="connsiteX4253" fmla="*/ 1642655 w 8023328"/>
              <a:gd name="connsiteY4253" fmla="*/ 156450 h 2380521"/>
              <a:gd name="connsiteX4254" fmla="*/ 1656501 w 8023328"/>
              <a:gd name="connsiteY4254" fmla="*/ 141661 h 2380521"/>
              <a:gd name="connsiteX4255" fmla="*/ 1582299 w 8023328"/>
              <a:gd name="connsiteY4255" fmla="*/ 141661 h 2380521"/>
              <a:gd name="connsiteX4256" fmla="*/ 1594704 w 8023328"/>
              <a:gd name="connsiteY4256" fmla="*/ 156450 h 2380521"/>
              <a:gd name="connsiteX4257" fmla="*/ 1582299 w 8023328"/>
              <a:gd name="connsiteY4257" fmla="*/ 171239 h 2380521"/>
              <a:gd name="connsiteX4258" fmla="*/ 1568444 w 8023328"/>
              <a:gd name="connsiteY4258" fmla="*/ 156450 h 2380521"/>
              <a:gd name="connsiteX4259" fmla="*/ 1582299 w 8023328"/>
              <a:gd name="connsiteY4259" fmla="*/ 141661 h 2380521"/>
              <a:gd name="connsiteX4260" fmla="*/ 1512199 w 8023328"/>
              <a:gd name="connsiteY4260" fmla="*/ 141661 h 2380521"/>
              <a:gd name="connsiteX4261" fmla="*/ 1523867 w 8023328"/>
              <a:gd name="connsiteY4261" fmla="*/ 156450 h 2380521"/>
              <a:gd name="connsiteX4262" fmla="*/ 1512199 w 8023328"/>
              <a:gd name="connsiteY4262" fmla="*/ 171239 h 2380521"/>
              <a:gd name="connsiteX4263" fmla="*/ 1497612 w 8023328"/>
              <a:gd name="connsiteY4263" fmla="*/ 156450 h 2380521"/>
              <a:gd name="connsiteX4264" fmla="*/ 1512199 w 8023328"/>
              <a:gd name="connsiteY4264" fmla="*/ 141661 h 2380521"/>
              <a:gd name="connsiteX4265" fmla="*/ 1439173 w 8023328"/>
              <a:gd name="connsiteY4265" fmla="*/ 141661 h 2380521"/>
              <a:gd name="connsiteX4266" fmla="*/ 1453026 w 8023328"/>
              <a:gd name="connsiteY4266" fmla="*/ 156450 h 2380521"/>
              <a:gd name="connsiteX4267" fmla="*/ 1439173 w 8023328"/>
              <a:gd name="connsiteY4267" fmla="*/ 171239 h 2380521"/>
              <a:gd name="connsiteX4268" fmla="*/ 1426777 w 8023328"/>
              <a:gd name="connsiteY4268" fmla="*/ 156450 h 2380521"/>
              <a:gd name="connsiteX4269" fmla="*/ 1439173 w 8023328"/>
              <a:gd name="connsiteY4269" fmla="*/ 141661 h 2380521"/>
              <a:gd name="connsiteX4270" fmla="*/ 1368349 w 8023328"/>
              <a:gd name="connsiteY4270" fmla="*/ 141661 h 2380521"/>
              <a:gd name="connsiteX4271" fmla="*/ 1382203 w 8023328"/>
              <a:gd name="connsiteY4271" fmla="*/ 156450 h 2380521"/>
              <a:gd name="connsiteX4272" fmla="*/ 1368349 w 8023328"/>
              <a:gd name="connsiteY4272" fmla="*/ 171239 h 2380521"/>
              <a:gd name="connsiteX4273" fmla="*/ 1355953 w 8023328"/>
              <a:gd name="connsiteY4273" fmla="*/ 156450 h 2380521"/>
              <a:gd name="connsiteX4274" fmla="*/ 1368349 w 8023328"/>
              <a:gd name="connsiteY4274" fmla="*/ 141661 h 2380521"/>
              <a:gd name="connsiteX4275" fmla="*/ 1297520 w 8023328"/>
              <a:gd name="connsiteY4275" fmla="*/ 141661 h 2380521"/>
              <a:gd name="connsiteX4276" fmla="*/ 1311374 w 8023328"/>
              <a:gd name="connsiteY4276" fmla="*/ 156450 h 2380521"/>
              <a:gd name="connsiteX4277" fmla="*/ 1297520 w 8023328"/>
              <a:gd name="connsiteY4277" fmla="*/ 171239 h 2380521"/>
              <a:gd name="connsiteX4278" fmla="*/ 1285121 w 8023328"/>
              <a:gd name="connsiteY4278" fmla="*/ 156450 h 2380521"/>
              <a:gd name="connsiteX4279" fmla="*/ 1297520 w 8023328"/>
              <a:gd name="connsiteY4279" fmla="*/ 141661 h 2380521"/>
              <a:gd name="connsiteX4280" fmla="*/ 2796538 w 8023328"/>
              <a:gd name="connsiteY4280" fmla="*/ 70831 h 2380521"/>
              <a:gd name="connsiteX4281" fmla="*/ 2808940 w 8023328"/>
              <a:gd name="connsiteY4281" fmla="*/ 84687 h 2380521"/>
              <a:gd name="connsiteX4282" fmla="*/ 2796538 w 8023328"/>
              <a:gd name="connsiteY4282" fmla="*/ 97085 h 2380521"/>
              <a:gd name="connsiteX4283" fmla="*/ 2782683 w 8023328"/>
              <a:gd name="connsiteY4283" fmla="*/ 84687 h 2380521"/>
              <a:gd name="connsiteX4284" fmla="*/ 2796538 w 8023328"/>
              <a:gd name="connsiteY4284" fmla="*/ 70831 h 2380521"/>
              <a:gd name="connsiteX4285" fmla="*/ 2725703 w 8023328"/>
              <a:gd name="connsiteY4285" fmla="*/ 70831 h 2380521"/>
              <a:gd name="connsiteX4286" fmla="*/ 2738105 w 8023328"/>
              <a:gd name="connsiteY4286" fmla="*/ 84687 h 2380521"/>
              <a:gd name="connsiteX4287" fmla="*/ 2725703 w 8023328"/>
              <a:gd name="connsiteY4287" fmla="*/ 97085 h 2380521"/>
              <a:gd name="connsiteX4288" fmla="*/ 2711852 w 8023328"/>
              <a:gd name="connsiteY4288" fmla="*/ 84687 h 2380521"/>
              <a:gd name="connsiteX4289" fmla="*/ 2725703 w 8023328"/>
              <a:gd name="connsiteY4289" fmla="*/ 70831 h 2380521"/>
              <a:gd name="connsiteX4290" fmla="*/ 2653420 w 8023328"/>
              <a:gd name="connsiteY4290" fmla="*/ 70831 h 2380521"/>
              <a:gd name="connsiteX4291" fmla="*/ 2667273 w 8023328"/>
              <a:gd name="connsiteY4291" fmla="*/ 84687 h 2380521"/>
              <a:gd name="connsiteX4292" fmla="*/ 2653420 w 8023328"/>
              <a:gd name="connsiteY4292" fmla="*/ 97085 h 2380521"/>
              <a:gd name="connsiteX4293" fmla="*/ 2641021 w 8023328"/>
              <a:gd name="connsiteY4293" fmla="*/ 84687 h 2380521"/>
              <a:gd name="connsiteX4294" fmla="*/ 2653420 w 8023328"/>
              <a:gd name="connsiteY4294" fmla="*/ 70831 h 2380521"/>
              <a:gd name="connsiteX4295" fmla="*/ 2582586 w 8023328"/>
              <a:gd name="connsiteY4295" fmla="*/ 70831 h 2380521"/>
              <a:gd name="connsiteX4296" fmla="*/ 2596442 w 8023328"/>
              <a:gd name="connsiteY4296" fmla="*/ 84687 h 2380521"/>
              <a:gd name="connsiteX4297" fmla="*/ 2582586 w 8023328"/>
              <a:gd name="connsiteY4297" fmla="*/ 97085 h 2380521"/>
              <a:gd name="connsiteX4298" fmla="*/ 2570189 w 8023328"/>
              <a:gd name="connsiteY4298" fmla="*/ 84687 h 2380521"/>
              <a:gd name="connsiteX4299" fmla="*/ 2582586 w 8023328"/>
              <a:gd name="connsiteY4299" fmla="*/ 70831 h 2380521"/>
              <a:gd name="connsiteX4300" fmla="*/ 2511034 w 8023328"/>
              <a:gd name="connsiteY4300" fmla="*/ 70831 h 2380521"/>
              <a:gd name="connsiteX4301" fmla="*/ 2525616 w 8023328"/>
              <a:gd name="connsiteY4301" fmla="*/ 84687 h 2380521"/>
              <a:gd name="connsiteX4302" fmla="*/ 2511034 w 8023328"/>
              <a:gd name="connsiteY4302" fmla="*/ 97085 h 2380521"/>
              <a:gd name="connsiteX4303" fmla="*/ 2499364 w 8023328"/>
              <a:gd name="connsiteY4303" fmla="*/ 84687 h 2380521"/>
              <a:gd name="connsiteX4304" fmla="*/ 2511034 w 8023328"/>
              <a:gd name="connsiteY4304" fmla="*/ 70831 h 2380521"/>
              <a:gd name="connsiteX4305" fmla="*/ 2439946 w 8023328"/>
              <a:gd name="connsiteY4305" fmla="*/ 70831 h 2380521"/>
              <a:gd name="connsiteX4306" fmla="*/ 2454737 w 8023328"/>
              <a:gd name="connsiteY4306" fmla="*/ 84687 h 2380521"/>
              <a:gd name="connsiteX4307" fmla="*/ 2439946 w 8023328"/>
              <a:gd name="connsiteY4307" fmla="*/ 97085 h 2380521"/>
              <a:gd name="connsiteX4308" fmla="*/ 2425159 w 8023328"/>
              <a:gd name="connsiteY4308" fmla="*/ 84687 h 2380521"/>
              <a:gd name="connsiteX4309" fmla="*/ 2439946 w 8023328"/>
              <a:gd name="connsiteY4309" fmla="*/ 70831 h 2380521"/>
              <a:gd name="connsiteX4310" fmla="*/ 2369114 w 8023328"/>
              <a:gd name="connsiteY4310" fmla="*/ 70831 h 2380521"/>
              <a:gd name="connsiteX4311" fmla="*/ 2383900 w 8023328"/>
              <a:gd name="connsiteY4311" fmla="*/ 84687 h 2380521"/>
              <a:gd name="connsiteX4312" fmla="*/ 2369114 w 8023328"/>
              <a:gd name="connsiteY4312" fmla="*/ 97085 h 2380521"/>
              <a:gd name="connsiteX4313" fmla="*/ 2354323 w 8023328"/>
              <a:gd name="connsiteY4313" fmla="*/ 84687 h 2380521"/>
              <a:gd name="connsiteX4314" fmla="*/ 2369114 w 8023328"/>
              <a:gd name="connsiteY4314" fmla="*/ 70831 h 2380521"/>
              <a:gd name="connsiteX4315" fmla="*/ 2298283 w 8023328"/>
              <a:gd name="connsiteY4315" fmla="*/ 70831 h 2380521"/>
              <a:gd name="connsiteX4316" fmla="*/ 2313070 w 8023328"/>
              <a:gd name="connsiteY4316" fmla="*/ 84687 h 2380521"/>
              <a:gd name="connsiteX4317" fmla="*/ 2298283 w 8023328"/>
              <a:gd name="connsiteY4317" fmla="*/ 97085 h 2380521"/>
              <a:gd name="connsiteX4318" fmla="*/ 2283493 w 8023328"/>
              <a:gd name="connsiteY4318" fmla="*/ 84687 h 2380521"/>
              <a:gd name="connsiteX4319" fmla="*/ 2298283 w 8023328"/>
              <a:gd name="connsiteY4319" fmla="*/ 70831 h 2380521"/>
              <a:gd name="connsiteX4320" fmla="*/ 2226517 w 8023328"/>
              <a:gd name="connsiteY4320" fmla="*/ 70831 h 2380521"/>
              <a:gd name="connsiteX4321" fmla="*/ 2238916 w 8023328"/>
              <a:gd name="connsiteY4321" fmla="*/ 84687 h 2380521"/>
              <a:gd name="connsiteX4322" fmla="*/ 2226517 w 8023328"/>
              <a:gd name="connsiteY4322" fmla="*/ 97085 h 2380521"/>
              <a:gd name="connsiteX4323" fmla="*/ 2212659 w 8023328"/>
              <a:gd name="connsiteY4323" fmla="*/ 84687 h 2380521"/>
              <a:gd name="connsiteX4324" fmla="*/ 2226517 w 8023328"/>
              <a:gd name="connsiteY4324" fmla="*/ 70831 h 2380521"/>
              <a:gd name="connsiteX4325" fmla="*/ 2155683 w 8023328"/>
              <a:gd name="connsiteY4325" fmla="*/ 70831 h 2380521"/>
              <a:gd name="connsiteX4326" fmla="*/ 2168084 w 8023328"/>
              <a:gd name="connsiteY4326" fmla="*/ 84687 h 2380521"/>
              <a:gd name="connsiteX4327" fmla="*/ 2155683 w 8023328"/>
              <a:gd name="connsiteY4327" fmla="*/ 97085 h 2380521"/>
              <a:gd name="connsiteX4328" fmla="*/ 2141827 w 8023328"/>
              <a:gd name="connsiteY4328" fmla="*/ 84687 h 2380521"/>
              <a:gd name="connsiteX4329" fmla="*/ 2155683 w 8023328"/>
              <a:gd name="connsiteY4329" fmla="*/ 70831 h 2380521"/>
              <a:gd name="connsiteX4330" fmla="*/ 2083393 w 8023328"/>
              <a:gd name="connsiteY4330" fmla="*/ 70831 h 2380521"/>
              <a:gd name="connsiteX4331" fmla="*/ 2097249 w 8023328"/>
              <a:gd name="connsiteY4331" fmla="*/ 84687 h 2380521"/>
              <a:gd name="connsiteX4332" fmla="*/ 2083393 w 8023328"/>
              <a:gd name="connsiteY4332" fmla="*/ 97085 h 2380521"/>
              <a:gd name="connsiteX4333" fmla="*/ 2070995 w 8023328"/>
              <a:gd name="connsiteY4333" fmla="*/ 84687 h 2380521"/>
              <a:gd name="connsiteX4334" fmla="*/ 2083393 w 8023328"/>
              <a:gd name="connsiteY4334" fmla="*/ 70831 h 2380521"/>
              <a:gd name="connsiteX4335" fmla="*/ 2011835 w 8023328"/>
              <a:gd name="connsiteY4335" fmla="*/ 70831 h 2380521"/>
              <a:gd name="connsiteX4336" fmla="*/ 2026421 w 8023328"/>
              <a:gd name="connsiteY4336" fmla="*/ 84687 h 2380521"/>
              <a:gd name="connsiteX4337" fmla="*/ 2011835 w 8023328"/>
              <a:gd name="connsiteY4337" fmla="*/ 97085 h 2380521"/>
              <a:gd name="connsiteX4338" fmla="*/ 2000168 w 8023328"/>
              <a:gd name="connsiteY4338" fmla="*/ 84687 h 2380521"/>
              <a:gd name="connsiteX4339" fmla="*/ 2011835 w 8023328"/>
              <a:gd name="connsiteY4339" fmla="*/ 70831 h 2380521"/>
              <a:gd name="connsiteX4340" fmla="*/ 1938365 w 8023328"/>
              <a:gd name="connsiteY4340" fmla="*/ 70831 h 2380521"/>
              <a:gd name="connsiteX4341" fmla="*/ 1952222 w 8023328"/>
              <a:gd name="connsiteY4341" fmla="*/ 84687 h 2380521"/>
              <a:gd name="connsiteX4342" fmla="*/ 1938365 w 8023328"/>
              <a:gd name="connsiteY4342" fmla="*/ 97085 h 2380521"/>
              <a:gd name="connsiteX4343" fmla="*/ 1925971 w 8023328"/>
              <a:gd name="connsiteY4343" fmla="*/ 84687 h 2380521"/>
              <a:gd name="connsiteX4344" fmla="*/ 1938365 w 8023328"/>
              <a:gd name="connsiteY4344" fmla="*/ 70831 h 2380521"/>
              <a:gd name="connsiteX4345" fmla="*/ 1869922 w 8023328"/>
              <a:gd name="connsiteY4345" fmla="*/ 70831 h 2380521"/>
              <a:gd name="connsiteX4346" fmla="*/ 1884712 w 8023328"/>
              <a:gd name="connsiteY4346" fmla="*/ 84687 h 2380521"/>
              <a:gd name="connsiteX4347" fmla="*/ 1869922 w 8023328"/>
              <a:gd name="connsiteY4347" fmla="*/ 97085 h 2380521"/>
              <a:gd name="connsiteX4348" fmla="*/ 1855131 w 8023328"/>
              <a:gd name="connsiteY4348" fmla="*/ 84687 h 2380521"/>
              <a:gd name="connsiteX4349" fmla="*/ 1869922 w 8023328"/>
              <a:gd name="connsiteY4349" fmla="*/ 70831 h 2380521"/>
              <a:gd name="connsiteX4350" fmla="*/ 1799087 w 8023328"/>
              <a:gd name="connsiteY4350" fmla="*/ 70831 h 2380521"/>
              <a:gd name="connsiteX4351" fmla="*/ 1813879 w 8023328"/>
              <a:gd name="connsiteY4351" fmla="*/ 84687 h 2380521"/>
              <a:gd name="connsiteX4352" fmla="*/ 1799087 w 8023328"/>
              <a:gd name="connsiteY4352" fmla="*/ 97085 h 2380521"/>
              <a:gd name="connsiteX4353" fmla="*/ 1784303 w 8023328"/>
              <a:gd name="connsiteY4353" fmla="*/ 84687 h 2380521"/>
              <a:gd name="connsiteX4354" fmla="*/ 1799087 w 8023328"/>
              <a:gd name="connsiteY4354" fmla="*/ 70831 h 2380521"/>
              <a:gd name="connsiteX4355" fmla="*/ 1728262 w 8023328"/>
              <a:gd name="connsiteY4355" fmla="*/ 70831 h 2380521"/>
              <a:gd name="connsiteX4356" fmla="*/ 1743052 w 8023328"/>
              <a:gd name="connsiteY4356" fmla="*/ 84687 h 2380521"/>
              <a:gd name="connsiteX4357" fmla="*/ 1728262 w 8023328"/>
              <a:gd name="connsiteY4357" fmla="*/ 97085 h 2380521"/>
              <a:gd name="connsiteX4358" fmla="*/ 1713474 w 8023328"/>
              <a:gd name="connsiteY4358" fmla="*/ 84687 h 2380521"/>
              <a:gd name="connsiteX4359" fmla="*/ 1728262 w 8023328"/>
              <a:gd name="connsiteY4359" fmla="*/ 70831 h 2380521"/>
              <a:gd name="connsiteX4360" fmla="*/ 1656501 w 8023328"/>
              <a:gd name="connsiteY4360" fmla="*/ 70831 h 2380521"/>
              <a:gd name="connsiteX4361" fmla="*/ 1668900 w 8023328"/>
              <a:gd name="connsiteY4361" fmla="*/ 84687 h 2380521"/>
              <a:gd name="connsiteX4362" fmla="*/ 1656501 w 8023328"/>
              <a:gd name="connsiteY4362" fmla="*/ 97085 h 2380521"/>
              <a:gd name="connsiteX4363" fmla="*/ 1642655 w 8023328"/>
              <a:gd name="connsiteY4363" fmla="*/ 84687 h 2380521"/>
              <a:gd name="connsiteX4364" fmla="*/ 1656501 w 8023328"/>
              <a:gd name="connsiteY4364" fmla="*/ 70831 h 2380521"/>
              <a:gd name="connsiteX4365" fmla="*/ 1582299 w 8023328"/>
              <a:gd name="connsiteY4365" fmla="*/ 70831 h 2380521"/>
              <a:gd name="connsiteX4366" fmla="*/ 1594704 w 8023328"/>
              <a:gd name="connsiteY4366" fmla="*/ 84687 h 2380521"/>
              <a:gd name="connsiteX4367" fmla="*/ 1582299 w 8023328"/>
              <a:gd name="connsiteY4367" fmla="*/ 97085 h 2380521"/>
              <a:gd name="connsiteX4368" fmla="*/ 1568444 w 8023328"/>
              <a:gd name="connsiteY4368" fmla="*/ 84687 h 2380521"/>
              <a:gd name="connsiteX4369" fmla="*/ 1582299 w 8023328"/>
              <a:gd name="connsiteY4369" fmla="*/ 70831 h 2380521"/>
              <a:gd name="connsiteX4370" fmla="*/ 2796538 w 8023328"/>
              <a:gd name="connsiteY4370" fmla="*/ 0 h 2380521"/>
              <a:gd name="connsiteX4371" fmla="*/ 2808940 w 8023328"/>
              <a:gd name="connsiteY4371" fmla="*/ 12397 h 2380521"/>
              <a:gd name="connsiteX4372" fmla="*/ 2796538 w 8023328"/>
              <a:gd name="connsiteY4372" fmla="*/ 26254 h 2380521"/>
              <a:gd name="connsiteX4373" fmla="*/ 2782683 w 8023328"/>
              <a:gd name="connsiteY4373" fmla="*/ 12397 h 2380521"/>
              <a:gd name="connsiteX4374" fmla="*/ 2796538 w 8023328"/>
              <a:gd name="connsiteY4374" fmla="*/ 0 h 2380521"/>
              <a:gd name="connsiteX4375" fmla="*/ 2725703 w 8023328"/>
              <a:gd name="connsiteY4375" fmla="*/ 0 h 2380521"/>
              <a:gd name="connsiteX4376" fmla="*/ 2738105 w 8023328"/>
              <a:gd name="connsiteY4376" fmla="*/ 12397 h 2380521"/>
              <a:gd name="connsiteX4377" fmla="*/ 2725703 w 8023328"/>
              <a:gd name="connsiteY4377" fmla="*/ 26254 h 2380521"/>
              <a:gd name="connsiteX4378" fmla="*/ 2711852 w 8023328"/>
              <a:gd name="connsiteY4378" fmla="*/ 12397 h 2380521"/>
              <a:gd name="connsiteX4379" fmla="*/ 2725703 w 8023328"/>
              <a:gd name="connsiteY4379" fmla="*/ 0 h 2380521"/>
              <a:gd name="connsiteX4380" fmla="*/ 2653420 w 8023328"/>
              <a:gd name="connsiteY4380" fmla="*/ 0 h 2380521"/>
              <a:gd name="connsiteX4381" fmla="*/ 2667273 w 8023328"/>
              <a:gd name="connsiteY4381" fmla="*/ 12397 h 2380521"/>
              <a:gd name="connsiteX4382" fmla="*/ 2653420 w 8023328"/>
              <a:gd name="connsiteY4382" fmla="*/ 26254 h 2380521"/>
              <a:gd name="connsiteX4383" fmla="*/ 2641021 w 8023328"/>
              <a:gd name="connsiteY4383" fmla="*/ 12397 h 2380521"/>
              <a:gd name="connsiteX4384" fmla="*/ 2653420 w 8023328"/>
              <a:gd name="connsiteY4384" fmla="*/ 0 h 2380521"/>
              <a:gd name="connsiteX4385" fmla="*/ 2582586 w 8023328"/>
              <a:gd name="connsiteY4385" fmla="*/ 0 h 2380521"/>
              <a:gd name="connsiteX4386" fmla="*/ 2596442 w 8023328"/>
              <a:gd name="connsiteY4386" fmla="*/ 12397 h 2380521"/>
              <a:gd name="connsiteX4387" fmla="*/ 2582586 w 8023328"/>
              <a:gd name="connsiteY4387" fmla="*/ 26254 h 2380521"/>
              <a:gd name="connsiteX4388" fmla="*/ 2570189 w 8023328"/>
              <a:gd name="connsiteY4388" fmla="*/ 12397 h 2380521"/>
              <a:gd name="connsiteX4389" fmla="*/ 2582586 w 8023328"/>
              <a:gd name="connsiteY4389" fmla="*/ 0 h 2380521"/>
              <a:gd name="connsiteX4390" fmla="*/ 2511034 w 8023328"/>
              <a:gd name="connsiteY4390" fmla="*/ 0 h 2380521"/>
              <a:gd name="connsiteX4391" fmla="*/ 2525616 w 8023328"/>
              <a:gd name="connsiteY4391" fmla="*/ 12397 h 2380521"/>
              <a:gd name="connsiteX4392" fmla="*/ 2511034 w 8023328"/>
              <a:gd name="connsiteY4392" fmla="*/ 26254 h 2380521"/>
              <a:gd name="connsiteX4393" fmla="*/ 2499364 w 8023328"/>
              <a:gd name="connsiteY4393" fmla="*/ 12397 h 2380521"/>
              <a:gd name="connsiteX4394" fmla="*/ 2511034 w 8023328"/>
              <a:gd name="connsiteY4394" fmla="*/ 0 h 2380521"/>
              <a:gd name="connsiteX4395" fmla="*/ 2439946 w 8023328"/>
              <a:gd name="connsiteY4395" fmla="*/ 0 h 2380521"/>
              <a:gd name="connsiteX4396" fmla="*/ 2454737 w 8023328"/>
              <a:gd name="connsiteY4396" fmla="*/ 12397 h 2380521"/>
              <a:gd name="connsiteX4397" fmla="*/ 2439946 w 8023328"/>
              <a:gd name="connsiteY4397" fmla="*/ 26254 h 2380521"/>
              <a:gd name="connsiteX4398" fmla="*/ 2425159 w 8023328"/>
              <a:gd name="connsiteY4398" fmla="*/ 12397 h 2380521"/>
              <a:gd name="connsiteX4399" fmla="*/ 2439946 w 8023328"/>
              <a:gd name="connsiteY4399" fmla="*/ 0 h 2380521"/>
              <a:gd name="connsiteX4400" fmla="*/ 2369114 w 8023328"/>
              <a:gd name="connsiteY4400" fmla="*/ 0 h 2380521"/>
              <a:gd name="connsiteX4401" fmla="*/ 2383900 w 8023328"/>
              <a:gd name="connsiteY4401" fmla="*/ 12397 h 2380521"/>
              <a:gd name="connsiteX4402" fmla="*/ 2369114 w 8023328"/>
              <a:gd name="connsiteY4402" fmla="*/ 26254 h 2380521"/>
              <a:gd name="connsiteX4403" fmla="*/ 2354323 w 8023328"/>
              <a:gd name="connsiteY4403" fmla="*/ 12397 h 2380521"/>
              <a:gd name="connsiteX4404" fmla="*/ 2369114 w 8023328"/>
              <a:gd name="connsiteY4404" fmla="*/ 0 h 2380521"/>
              <a:gd name="connsiteX4405" fmla="*/ 2298283 w 8023328"/>
              <a:gd name="connsiteY4405" fmla="*/ 0 h 2380521"/>
              <a:gd name="connsiteX4406" fmla="*/ 2313070 w 8023328"/>
              <a:gd name="connsiteY4406" fmla="*/ 12397 h 2380521"/>
              <a:gd name="connsiteX4407" fmla="*/ 2298283 w 8023328"/>
              <a:gd name="connsiteY4407" fmla="*/ 26254 h 2380521"/>
              <a:gd name="connsiteX4408" fmla="*/ 2283493 w 8023328"/>
              <a:gd name="connsiteY4408" fmla="*/ 12397 h 2380521"/>
              <a:gd name="connsiteX4409" fmla="*/ 2298283 w 8023328"/>
              <a:gd name="connsiteY4409" fmla="*/ 0 h 2380521"/>
              <a:gd name="connsiteX4410" fmla="*/ 2226517 w 8023328"/>
              <a:gd name="connsiteY4410" fmla="*/ 0 h 2380521"/>
              <a:gd name="connsiteX4411" fmla="*/ 2238916 w 8023328"/>
              <a:gd name="connsiteY4411" fmla="*/ 13856 h 2380521"/>
              <a:gd name="connsiteX4412" fmla="*/ 2226517 w 8023328"/>
              <a:gd name="connsiteY4412" fmla="*/ 26254 h 2380521"/>
              <a:gd name="connsiteX4413" fmla="*/ 2212659 w 8023328"/>
              <a:gd name="connsiteY4413" fmla="*/ 13856 h 2380521"/>
              <a:gd name="connsiteX4414" fmla="*/ 2226517 w 8023328"/>
              <a:gd name="connsiteY4414" fmla="*/ 0 h 2380521"/>
              <a:gd name="connsiteX4415" fmla="*/ 2155683 w 8023328"/>
              <a:gd name="connsiteY4415" fmla="*/ 0 h 2380521"/>
              <a:gd name="connsiteX4416" fmla="*/ 2168084 w 8023328"/>
              <a:gd name="connsiteY4416" fmla="*/ 13856 h 2380521"/>
              <a:gd name="connsiteX4417" fmla="*/ 2155683 w 8023328"/>
              <a:gd name="connsiteY4417" fmla="*/ 26254 h 2380521"/>
              <a:gd name="connsiteX4418" fmla="*/ 2141827 w 8023328"/>
              <a:gd name="connsiteY4418" fmla="*/ 13856 h 2380521"/>
              <a:gd name="connsiteX4419" fmla="*/ 2155683 w 8023328"/>
              <a:gd name="connsiteY4419" fmla="*/ 0 h 2380521"/>
              <a:gd name="connsiteX4420" fmla="*/ 2083393 w 8023328"/>
              <a:gd name="connsiteY4420" fmla="*/ 0 h 2380521"/>
              <a:gd name="connsiteX4421" fmla="*/ 2097249 w 8023328"/>
              <a:gd name="connsiteY4421" fmla="*/ 13856 h 2380521"/>
              <a:gd name="connsiteX4422" fmla="*/ 2083393 w 8023328"/>
              <a:gd name="connsiteY4422" fmla="*/ 26254 h 2380521"/>
              <a:gd name="connsiteX4423" fmla="*/ 2070995 w 8023328"/>
              <a:gd name="connsiteY4423" fmla="*/ 13856 h 2380521"/>
              <a:gd name="connsiteX4424" fmla="*/ 2083393 w 8023328"/>
              <a:gd name="connsiteY4424" fmla="*/ 0 h 2380521"/>
              <a:gd name="connsiteX4425" fmla="*/ 2011835 w 8023328"/>
              <a:gd name="connsiteY4425" fmla="*/ 0 h 2380521"/>
              <a:gd name="connsiteX4426" fmla="*/ 2026421 w 8023328"/>
              <a:gd name="connsiteY4426" fmla="*/ 13856 h 2380521"/>
              <a:gd name="connsiteX4427" fmla="*/ 2011835 w 8023328"/>
              <a:gd name="connsiteY4427" fmla="*/ 26254 h 2380521"/>
              <a:gd name="connsiteX4428" fmla="*/ 2000168 w 8023328"/>
              <a:gd name="connsiteY4428" fmla="*/ 13856 h 2380521"/>
              <a:gd name="connsiteX4429" fmla="*/ 2011835 w 8023328"/>
              <a:gd name="connsiteY4429" fmla="*/ 0 h 2380521"/>
              <a:gd name="connsiteX4430" fmla="*/ 1938365 w 8023328"/>
              <a:gd name="connsiteY4430" fmla="*/ 0 h 2380521"/>
              <a:gd name="connsiteX4431" fmla="*/ 1952222 w 8023328"/>
              <a:gd name="connsiteY4431" fmla="*/ 13856 h 2380521"/>
              <a:gd name="connsiteX4432" fmla="*/ 1938365 w 8023328"/>
              <a:gd name="connsiteY4432" fmla="*/ 26254 h 2380521"/>
              <a:gd name="connsiteX4433" fmla="*/ 1925971 w 8023328"/>
              <a:gd name="connsiteY4433" fmla="*/ 13856 h 2380521"/>
              <a:gd name="connsiteX4434" fmla="*/ 1938365 w 8023328"/>
              <a:gd name="connsiteY4434" fmla="*/ 0 h 2380521"/>
              <a:gd name="connsiteX4435" fmla="*/ 1869922 w 8023328"/>
              <a:gd name="connsiteY4435" fmla="*/ 0 h 2380521"/>
              <a:gd name="connsiteX4436" fmla="*/ 1884712 w 8023328"/>
              <a:gd name="connsiteY4436" fmla="*/ 13856 h 2380521"/>
              <a:gd name="connsiteX4437" fmla="*/ 1869922 w 8023328"/>
              <a:gd name="connsiteY4437" fmla="*/ 26254 h 2380521"/>
              <a:gd name="connsiteX4438" fmla="*/ 1855131 w 8023328"/>
              <a:gd name="connsiteY4438" fmla="*/ 13856 h 2380521"/>
              <a:gd name="connsiteX4439" fmla="*/ 1869922 w 8023328"/>
              <a:gd name="connsiteY4439" fmla="*/ 0 h 2380521"/>
              <a:gd name="connsiteX4440" fmla="*/ 1799087 w 8023328"/>
              <a:gd name="connsiteY4440" fmla="*/ 0 h 2380521"/>
              <a:gd name="connsiteX4441" fmla="*/ 1813879 w 8023328"/>
              <a:gd name="connsiteY4441" fmla="*/ 13856 h 2380521"/>
              <a:gd name="connsiteX4442" fmla="*/ 1799087 w 8023328"/>
              <a:gd name="connsiteY4442" fmla="*/ 26254 h 2380521"/>
              <a:gd name="connsiteX4443" fmla="*/ 1784303 w 8023328"/>
              <a:gd name="connsiteY4443" fmla="*/ 13856 h 2380521"/>
              <a:gd name="connsiteX4444" fmla="*/ 1799087 w 8023328"/>
              <a:gd name="connsiteY4444" fmla="*/ 0 h 2380521"/>
              <a:gd name="connsiteX4445" fmla="*/ 1728262 w 8023328"/>
              <a:gd name="connsiteY4445" fmla="*/ 0 h 2380521"/>
              <a:gd name="connsiteX4446" fmla="*/ 1743052 w 8023328"/>
              <a:gd name="connsiteY4446" fmla="*/ 13856 h 2380521"/>
              <a:gd name="connsiteX4447" fmla="*/ 1728262 w 8023328"/>
              <a:gd name="connsiteY4447" fmla="*/ 26254 h 2380521"/>
              <a:gd name="connsiteX4448" fmla="*/ 1713474 w 8023328"/>
              <a:gd name="connsiteY4448" fmla="*/ 13856 h 2380521"/>
              <a:gd name="connsiteX4449" fmla="*/ 1728262 w 8023328"/>
              <a:gd name="connsiteY4449" fmla="*/ 0 h 2380521"/>
              <a:gd name="connsiteX4450" fmla="*/ 1656501 w 8023328"/>
              <a:gd name="connsiteY4450" fmla="*/ 0 h 2380521"/>
              <a:gd name="connsiteX4451" fmla="*/ 1668900 w 8023328"/>
              <a:gd name="connsiteY4451" fmla="*/ 13856 h 2380521"/>
              <a:gd name="connsiteX4452" fmla="*/ 1656501 w 8023328"/>
              <a:gd name="connsiteY4452" fmla="*/ 26254 h 2380521"/>
              <a:gd name="connsiteX4453" fmla="*/ 1642655 w 8023328"/>
              <a:gd name="connsiteY4453" fmla="*/ 13856 h 2380521"/>
              <a:gd name="connsiteX4454" fmla="*/ 1656501 w 8023328"/>
              <a:gd name="connsiteY4454" fmla="*/ 0 h 2380521"/>
              <a:gd name="connsiteX4455" fmla="*/ 1582299 w 8023328"/>
              <a:gd name="connsiteY4455" fmla="*/ 0 h 2380521"/>
              <a:gd name="connsiteX4456" fmla="*/ 1594704 w 8023328"/>
              <a:gd name="connsiteY4456" fmla="*/ 13856 h 2380521"/>
              <a:gd name="connsiteX4457" fmla="*/ 1582299 w 8023328"/>
              <a:gd name="connsiteY4457" fmla="*/ 26254 h 2380521"/>
              <a:gd name="connsiteX4458" fmla="*/ 1568444 w 8023328"/>
              <a:gd name="connsiteY4458" fmla="*/ 13856 h 2380521"/>
              <a:gd name="connsiteX4459" fmla="*/ 1582299 w 8023328"/>
              <a:gd name="connsiteY4459" fmla="*/ 0 h 2380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</a:cxnLst>
            <a:rect l="l" t="t" r="r" b="b"/>
            <a:pathLst>
              <a:path w="8023328" h="2380521">
                <a:moveTo>
                  <a:pt x="8010930" y="2354267"/>
                </a:moveTo>
                <a:cubicBezTo>
                  <a:pt x="8018223" y="2354267"/>
                  <a:pt x="8023328" y="2360101"/>
                  <a:pt x="8023328" y="2366665"/>
                </a:cubicBezTo>
                <a:cubicBezTo>
                  <a:pt x="8023328" y="2373958"/>
                  <a:pt x="8018223" y="2380521"/>
                  <a:pt x="8010930" y="2380521"/>
                </a:cubicBezTo>
                <a:cubicBezTo>
                  <a:pt x="8002908" y="2380521"/>
                  <a:pt x="7997074" y="2373958"/>
                  <a:pt x="7997074" y="2366665"/>
                </a:cubicBezTo>
                <a:cubicBezTo>
                  <a:pt x="7997074" y="2360101"/>
                  <a:pt x="8002908" y="2354267"/>
                  <a:pt x="8010930" y="2354267"/>
                </a:cubicBezTo>
                <a:close/>
                <a:moveTo>
                  <a:pt x="7940099" y="2354267"/>
                </a:moveTo>
                <a:cubicBezTo>
                  <a:pt x="7945933" y="2354267"/>
                  <a:pt x="7952497" y="2360101"/>
                  <a:pt x="7952497" y="2366665"/>
                </a:cubicBezTo>
                <a:cubicBezTo>
                  <a:pt x="7952497" y="2373958"/>
                  <a:pt x="7945933" y="2380521"/>
                  <a:pt x="7940099" y="2380521"/>
                </a:cubicBezTo>
                <a:cubicBezTo>
                  <a:pt x="7932077" y="2380521"/>
                  <a:pt x="7926243" y="2373958"/>
                  <a:pt x="7926243" y="2366665"/>
                </a:cubicBezTo>
                <a:cubicBezTo>
                  <a:pt x="7926243" y="2360101"/>
                  <a:pt x="7932077" y="2354267"/>
                  <a:pt x="7940099" y="2354267"/>
                </a:cubicBezTo>
                <a:close/>
                <a:moveTo>
                  <a:pt x="7869269" y="2354267"/>
                </a:moveTo>
                <a:cubicBezTo>
                  <a:pt x="7875833" y="2354267"/>
                  <a:pt x="7881667" y="2360101"/>
                  <a:pt x="7881667" y="2366665"/>
                </a:cubicBezTo>
                <a:cubicBezTo>
                  <a:pt x="7881667" y="2373958"/>
                  <a:pt x="7875833" y="2380521"/>
                  <a:pt x="7869269" y="2380521"/>
                </a:cubicBezTo>
                <a:cubicBezTo>
                  <a:pt x="7861976" y="2380521"/>
                  <a:pt x="7855413" y="2373958"/>
                  <a:pt x="7855413" y="2366665"/>
                </a:cubicBezTo>
                <a:cubicBezTo>
                  <a:pt x="7855413" y="2360101"/>
                  <a:pt x="7861976" y="2354267"/>
                  <a:pt x="7869269" y="2354267"/>
                </a:cubicBezTo>
                <a:close/>
                <a:moveTo>
                  <a:pt x="7796980" y="2354267"/>
                </a:moveTo>
                <a:cubicBezTo>
                  <a:pt x="7805002" y="2354267"/>
                  <a:pt x="7810836" y="2360101"/>
                  <a:pt x="7810836" y="2366665"/>
                </a:cubicBezTo>
                <a:cubicBezTo>
                  <a:pt x="7810836" y="2373958"/>
                  <a:pt x="7805002" y="2380521"/>
                  <a:pt x="7796980" y="2380521"/>
                </a:cubicBezTo>
                <a:cubicBezTo>
                  <a:pt x="7791145" y="2380521"/>
                  <a:pt x="7784582" y="2373958"/>
                  <a:pt x="7784582" y="2366665"/>
                </a:cubicBezTo>
                <a:cubicBezTo>
                  <a:pt x="7784582" y="2360101"/>
                  <a:pt x="7791145" y="2354267"/>
                  <a:pt x="7796980" y="2354267"/>
                </a:cubicBezTo>
                <a:close/>
                <a:moveTo>
                  <a:pt x="8010930" y="2283438"/>
                </a:moveTo>
                <a:cubicBezTo>
                  <a:pt x="8018223" y="2283438"/>
                  <a:pt x="8023328" y="2288543"/>
                  <a:pt x="8023328" y="2295835"/>
                </a:cubicBezTo>
                <a:cubicBezTo>
                  <a:pt x="8023328" y="2303857"/>
                  <a:pt x="8018223" y="2309691"/>
                  <a:pt x="8010930" y="2309691"/>
                </a:cubicBezTo>
                <a:cubicBezTo>
                  <a:pt x="8002908" y="2309691"/>
                  <a:pt x="7997074" y="2303857"/>
                  <a:pt x="7997074" y="2295835"/>
                </a:cubicBezTo>
                <a:cubicBezTo>
                  <a:pt x="7997074" y="2288543"/>
                  <a:pt x="8002908" y="2283438"/>
                  <a:pt x="8010930" y="2283438"/>
                </a:cubicBezTo>
                <a:close/>
                <a:moveTo>
                  <a:pt x="7940099" y="2283438"/>
                </a:moveTo>
                <a:cubicBezTo>
                  <a:pt x="7945933" y="2283438"/>
                  <a:pt x="7952497" y="2288543"/>
                  <a:pt x="7952497" y="2295835"/>
                </a:cubicBezTo>
                <a:cubicBezTo>
                  <a:pt x="7952497" y="2303857"/>
                  <a:pt x="7945933" y="2309691"/>
                  <a:pt x="7940099" y="2309691"/>
                </a:cubicBezTo>
                <a:cubicBezTo>
                  <a:pt x="7932077" y="2309691"/>
                  <a:pt x="7926243" y="2303857"/>
                  <a:pt x="7926243" y="2295835"/>
                </a:cubicBezTo>
                <a:cubicBezTo>
                  <a:pt x="7926243" y="2288543"/>
                  <a:pt x="7932077" y="2283438"/>
                  <a:pt x="7940099" y="2283438"/>
                </a:cubicBezTo>
                <a:close/>
                <a:moveTo>
                  <a:pt x="7869269" y="2283438"/>
                </a:moveTo>
                <a:cubicBezTo>
                  <a:pt x="7875833" y="2283438"/>
                  <a:pt x="7881667" y="2288543"/>
                  <a:pt x="7881667" y="2295835"/>
                </a:cubicBezTo>
                <a:cubicBezTo>
                  <a:pt x="7881667" y="2303857"/>
                  <a:pt x="7875833" y="2309691"/>
                  <a:pt x="7869269" y="2309691"/>
                </a:cubicBezTo>
                <a:cubicBezTo>
                  <a:pt x="7861976" y="2309691"/>
                  <a:pt x="7855413" y="2303857"/>
                  <a:pt x="7855413" y="2295835"/>
                </a:cubicBezTo>
                <a:cubicBezTo>
                  <a:pt x="7855413" y="2288543"/>
                  <a:pt x="7861976" y="2283438"/>
                  <a:pt x="7869269" y="2283438"/>
                </a:cubicBezTo>
                <a:close/>
                <a:moveTo>
                  <a:pt x="7796980" y="2283438"/>
                </a:moveTo>
                <a:cubicBezTo>
                  <a:pt x="7805002" y="2283438"/>
                  <a:pt x="7810836" y="2288543"/>
                  <a:pt x="7810836" y="2295835"/>
                </a:cubicBezTo>
                <a:cubicBezTo>
                  <a:pt x="7810836" y="2303857"/>
                  <a:pt x="7805002" y="2309691"/>
                  <a:pt x="7796980" y="2309691"/>
                </a:cubicBezTo>
                <a:cubicBezTo>
                  <a:pt x="7791145" y="2309691"/>
                  <a:pt x="7784582" y="2303857"/>
                  <a:pt x="7784582" y="2295835"/>
                </a:cubicBezTo>
                <a:cubicBezTo>
                  <a:pt x="7784582" y="2288543"/>
                  <a:pt x="7791145" y="2283438"/>
                  <a:pt x="7796980" y="2283438"/>
                </a:cubicBezTo>
                <a:close/>
                <a:moveTo>
                  <a:pt x="7726151" y="2283438"/>
                </a:moveTo>
                <a:cubicBezTo>
                  <a:pt x="7734173" y="2283438"/>
                  <a:pt x="7740007" y="2288543"/>
                  <a:pt x="7740007" y="2295835"/>
                </a:cubicBezTo>
                <a:cubicBezTo>
                  <a:pt x="7740007" y="2303857"/>
                  <a:pt x="7734173" y="2309691"/>
                  <a:pt x="7726151" y="2309691"/>
                </a:cubicBezTo>
                <a:cubicBezTo>
                  <a:pt x="7718858" y="2309691"/>
                  <a:pt x="7713753" y="2303857"/>
                  <a:pt x="7713753" y="2295835"/>
                </a:cubicBezTo>
                <a:cubicBezTo>
                  <a:pt x="7713753" y="2288543"/>
                  <a:pt x="7718858" y="2283438"/>
                  <a:pt x="7726151" y="2283438"/>
                </a:cubicBezTo>
                <a:close/>
                <a:moveTo>
                  <a:pt x="7940099" y="2209234"/>
                </a:moveTo>
                <a:cubicBezTo>
                  <a:pt x="7945933" y="2209234"/>
                  <a:pt x="7952497" y="2216239"/>
                  <a:pt x="7952497" y="2224022"/>
                </a:cubicBezTo>
                <a:cubicBezTo>
                  <a:pt x="7952497" y="2232584"/>
                  <a:pt x="7945933" y="2238810"/>
                  <a:pt x="7940099" y="2238810"/>
                </a:cubicBezTo>
                <a:cubicBezTo>
                  <a:pt x="7932077" y="2238810"/>
                  <a:pt x="7926243" y="2232584"/>
                  <a:pt x="7926243" y="2224022"/>
                </a:cubicBezTo>
                <a:cubicBezTo>
                  <a:pt x="7926243" y="2216239"/>
                  <a:pt x="7932077" y="2209234"/>
                  <a:pt x="7940099" y="2209234"/>
                </a:cubicBezTo>
                <a:close/>
                <a:moveTo>
                  <a:pt x="7867811" y="2209234"/>
                </a:moveTo>
                <a:cubicBezTo>
                  <a:pt x="7875833" y="2209234"/>
                  <a:pt x="7881667" y="2216239"/>
                  <a:pt x="7881667" y="2224022"/>
                </a:cubicBezTo>
                <a:cubicBezTo>
                  <a:pt x="7881667" y="2232584"/>
                  <a:pt x="7875833" y="2238810"/>
                  <a:pt x="7867811" y="2238810"/>
                </a:cubicBezTo>
                <a:cubicBezTo>
                  <a:pt x="7861976" y="2238810"/>
                  <a:pt x="7855413" y="2232584"/>
                  <a:pt x="7855413" y="2224022"/>
                </a:cubicBezTo>
                <a:cubicBezTo>
                  <a:pt x="7855413" y="2216239"/>
                  <a:pt x="7861976" y="2209234"/>
                  <a:pt x="7867811" y="2209234"/>
                </a:cubicBezTo>
                <a:close/>
                <a:moveTo>
                  <a:pt x="7796980" y="2209234"/>
                </a:moveTo>
                <a:cubicBezTo>
                  <a:pt x="7805002" y="2209234"/>
                  <a:pt x="7810836" y="2216239"/>
                  <a:pt x="7810836" y="2224022"/>
                </a:cubicBezTo>
                <a:cubicBezTo>
                  <a:pt x="7810836" y="2232584"/>
                  <a:pt x="7805002" y="2238810"/>
                  <a:pt x="7796980" y="2238810"/>
                </a:cubicBezTo>
                <a:cubicBezTo>
                  <a:pt x="7791145" y="2238810"/>
                  <a:pt x="7784582" y="2232584"/>
                  <a:pt x="7784582" y="2224022"/>
                </a:cubicBezTo>
                <a:cubicBezTo>
                  <a:pt x="7784582" y="2216239"/>
                  <a:pt x="7791145" y="2209234"/>
                  <a:pt x="7796980" y="2209234"/>
                </a:cubicBezTo>
                <a:close/>
                <a:moveTo>
                  <a:pt x="7726151" y="2209234"/>
                </a:moveTo>
                <a:cubicBezTo>
                  <a:pt x="7734173" y="2209234"/>
                  <a:pt x="7740007" y="2216239"/>
                  <a:pt x="7740007" y="2224022"/>
                </a:cubicBezTo>
                <a:cubicBezTo>
                  <a:pt x="7740007" y="2232584"/>
                  <a:pt x="7734173" y="2238810"/>
                  <a:pt x="7726151" y="2238810"/>
                </a:cubicBezTo>
                <a:cubicBezTo>
                  <a:pt x="7718858" y="2238810"/>
                  <a:pt x="7713753" y="2232584"/>
                  <a:pt x="7713753" y="2224022"/>
                </a:cubicBezTo>
                <a:cubicBezTo>
                  <a:pt x="7713753" y="2216239"/>
                  <a:pt x="7718858" y="2209234"/>
                  <a:pt x="7726151" y="2209234"/>
                </a:cubicBezTo>
                <a:close/>
                <a:moveTo>
                  <a:pt x="7940099" y="2138403"/>
                </a:moveTo>
                <a:cubicBezTo>
                  <a:pt x="7945933" y="2138403"/>
                  <a:pt x="7952497" y="2145408"/>
                  <a:pt x="7952497" y="2153192"/>
                </a:cubicBezTo>
                <a:cubicBezTo>
                  <a:pt x="7952497" y="2161754"/>
                  <a:pt x="7945933" y="2167981"/>
                  <a:pt x="7940099" y="2167981"/>
                </a:cubicBezTo>
                <a:cubicBezTo>
                  <a:pt x="7932077" y="2167981"/>
                  <a:pt x="7926243" y="2161754"/>
                  <a:pt x="7926243" y="2153192"/>
                </a:cubicBezTo>
                <a:cubicBezTo>
                  <a:pt x="7926243" y="2145408"/>
                  <a:pt x="7932077" y="2138403"/>
                  <a:pt x="7940099" y="2138403"/>
                </a:cubicBezTo>
                <a:close/>
                <a:moveTo>
                  <a:pt x="7867811" y="2138403"/>
                </a:moveTo>
                <a:cubicBezTo>
                  <a:pt x="7875833" y="2138403"/>
                  <a:pt x="7881667" y="2145408"/>
                  <a:pt x="7881667" y="2153192"/>
                </a:cubicBezTo>
                <a:cubicBezTo>
                  <a:pt x="7881667" y="2161754"/>
                  <a:pt x="7875833" y="2167981"/>
                  <a:pt x="7867811" y="2167981"/>
                </a:cubicBezTo>
                <a:cubicBezTo>
                  <a:pt x="7861976" y="2167981"/>
                  <a:pt x="7855413" y="2161754"/>
                  <a:pt x="7855413" y="2153192"/>
                </a:cubicBezTo>
                <a:cubicBezTo>
                  <a:pt x="7855413" y="2145408"/>
                  <a:pt x="7861976" y="2138403"/>
                  <a:pt x="7867811" y="2138403"/>
                </a:cubicBezTo>
                <a:close/>
                <a:moveTo>
                  <a:pt x="7796980" y="2138403"/>
                </a:moveTo>
                <a:cubicBezTo>
                  <a:pt x="7805002" y="2138403"/>
                  <a:pt x="7810836" y="2145408"/>
                  <a:pt x="7810836" y="2153192"/>
                </a:cubicBezTo>
                <a:cubicBezTo>
                  <a:pt x="7810836" y="2161754"/>
                  <a:pt x="7805002" y="2167981"/>
                  <a:pt x="7796980" y="2167981"/>
                </a:cubicBezTo>
                <a:cubicBezTo>
                  <a:pt x="7791145" y="2167981"/>
                  <a:pt x="7784582" y="2161754"/>
                  <a:pt x="7784582" y="2153192"/>
                </a:cubicBezTo>
                <a:cubicBezTo>
                  <a:pt x="7784582" y="2145408"/>
                  <a:pt x="7791145" y="2138403"/>
                  <a:pt x="7796980" y="2138403"/>
                </a:cubicBezTo>
                <a:close/>
                <a:moveTo>
                  <a:pt x="7726151" y="2138403"/>
                </a:moveTo>
                <a:cubicBezTo>
                  <a:pt x="7734173" y="2138403"/>
                  <a:pt x="7740007" y="2145408"/>
                  <a:pt x="7740007" y="2153192"/>
                </a:cubicBezTo>
                <a:cubicBezTo>
                  <a:pt x="7740007" y="2161754"/>
                  <a:pt x="7734173" y="2167981"/>
                  <a:pt x="7726151" y="2167981"/>
                </a:cubicBezTo>
                <a:cubicBezTo>
                  <a:pt x="7718858" y="2167981"/>
                  <a:pt x="7713753" y="2161754"/>
                  <a:pt x="7713753" y="2153192"/>
                </a:cubicBezTo>
                <a:cubicBezTo>
                  <a:pt x="7713753" y="2145408"/>
                  <a:pt x="7718858" y="2138403"/>
                  <a:pt x="7726151" y="2138403"/>
                </a:cubicBezTo>
                <a:close/>
                <a:moveTo>
                  <a:pt x="7654337" y="2138403"/>
                </a:moveTo>
                <a:cubicBezTo>
                  <a:pt x="7662899" y="2138403"/>
                  <a:pt x="7669126" y="2145408"/>
                  <a:pt x="7669126" y="2153192"/>
                </a:cubicBezTo>
                <a:cubicBezTo>
                  <a:pt x="7669126" y="2161754"/>
                  <a:pt x="7662899" y="2167981"/>
                  <a:pt x="7654337" y="2167981"/>
                </a:cubicBezTo>
                <a:cubicBezTo>
                  <a:pt x="7645776" y="2167981"/>
                  <a:pt x="7639549" y="2161754"/>
                  <a:pt x="7639549" y="2153192"/>
                </a:cubicBezTo>
                <a:cubicBezTo>
                  <a:pt x="7639549" y="2145408"/>
                  <a:pt x="7645776" y="2138403"/>
                  <a:pt x="7654337" y="2138403"/>
                </a:cubicBezTo>
                <a:close/>
                <a:moveTo>
                  <a:pt x="7867811" y="2067574"/>
                </a:moveTo>
                <a:cubicBezTo>
                  <a:pt x="7875833" y="2067574"/>
                  <a:pt x="7881667" y="2073800"/>
                  <a:pt x="7881667" y="2082362"/>
                </a:cubicBezTo>
                <a:cubicBezTo>
                  <a:pt x="7881667" y="2090924"/>
                  <a:pt x="7875833" y="2097150"/>
                  <a:pt x="7867811" y="2097150"/>
                </a:cubicBezTo>
                <a:cubicBezTo>
                  <a:pt x="7861976" y="2097150"/>
                  <a:pt x="7855413" y="2090924"/>
                  <a:pt x="7855413" y="2082362"/>
                </a:cubicBezTo>
                <a:cubicBezTo>
                  <a:pt x="7855413" y="2073800"/>
                  <a:pt x="7861976" y="2067574"/>
                  <a:pt x="7867811" y="2067574"/>
                </a:cubicBezTo>
                <a:close/>
                <a:moveTo>
                  <a:pt x="7796980" y="2067574"/>
                </a:moveTo>
                <a:cubicBezTo>
                  <a:pt x="7805002" y="2067574"/>
                  <a:pt x="7810836" y="2073800"/>
                  <a:pt x="7810836" y="2082362"/>
                </a:cubicBezTo>
                <a:cubicBezTo>
                  <a:pt x="7810836" y="2090924"/>
                  <a:pt x="7805002" y="2097150"/>
                  <a:pt x="7796980" y="2097150"/>
                </a:cubicBezTo>
                <a:cubicBezTo>
                  <a:pt x="7791145" y="2097150"/>
                  <a:pt x="7784582" y="2090924"/>
                  <a:pt x="7784582" y="2082362"/>
                </a:cubicBezTo>
                <a:cubicBezTo>
                  <a:pt x="7784582" y="2073800"/>
                  <a:pt x="7791145" y="2067574"/>
                  <a:pt x="7796980" y="2067574"/>
                </a:cubicBezTo>
                <a:close/>
                <a:moveTo>
                  <a:pt x="7726151" y="2067574"/>
                </a:moveTo>
                <a:cubicBezTo>
                  <a:pt x="7734173" y="2067574"/>
                  <a:pt x="7740007" y="2073800"/>
                  <a:pt x="7740007" y="2082362"/>
                </a:cubicBezTo>
                <a:cubicBezTo>
                  <a:pt x="7740007" y="2090924"/>
                  <a:pt x="7734173" y="2097150"/>
                  <a:pt x="7726151" y="2097150"/>
                </a:cubicBezTo>
                <a:cubicBezTo>
                  <a:pt x="7718858" y="2097150"/>
                  <a:pt x="7713753" y="2090924"/>
                  <a:pt x="7713753" y="2082362"/>
                </a:cubicBezTo>
                <a:cubicBezTo>
                  <a:pt x="7713753" y="2073800"/>
                  <a:pt x="7718858" y="2067574"/>
                  <a:pt x="7726151" y="2067574"/>
                </a:cubicBezTo>
                <a:close/>
                <a:moveTo>
                  <a:pt x="7654337" y="2067574"/>
                </a:moveTo>
                <a:cubicBezTo>
                  <a:pt x="7662899" y="2067574"/>
                  <a:pt x="7669126" y="2073800"/>
                  <a:pt x="7669126" y="2082362"/>
                </a:cubicBezTo>
                <a:cubicBezTo>
                  <a:pt x="7669126" y="2090924"/>
                  <a:pt x="7662899" y="2097150"/>
                  <a:pt x="7654337" y="2097150"/>
                </a:cubicBezTo>
                <a:cubicBezTo>
                  <a:pt x="7645776" y="2097150"/>
                  <a:pt x="7639549" y="2090924"/>
                  <a:pt x="7639549" y="2082362"/>
                </a:cubicBezTo>
                <a:cubicBezTo>
                  <a:pt x="7639549" y="2073800"/>
                  <a:pt x="7645776" y="2067574"/>
                  <a:pt x="7654337" y="2067574"/>
                </a:cubicBezTo>
                <a:close/>
                <a:moveTo>
                  <a:pt x="7583507" y="2067574"/>
                </a:moveTo>
                <a:cubicBezTo>
                  <a:pt x="7591291" y="2067574"/>
                  <a:pt x="7598297" y="2073800"/>
                  <a:pt x="7598297" y="2082362"/>
                </a:cubicBezTo>
                <a:cubicBezTo>
                  <a:pt x="7598297" y="2090924"/>
                  <a:pt x="7591291" y="2097150"/>
                  <a:pt x="7583507" y="2097150"/>
                </a:cubicBezTo>
                <a:cubicBezTo>
                  <a:pt x="7574945" y="2097150"/>
                  <a:pt x="7568718" y="2090924"/>
                  <a:pt x="7568718" y="2082362"/>
                </a:cubicBezTo>
                <a:cubicBezTo>
                  <a:pt x="7568718" y="2073800"/>
                  <a:pt x="7574945" y="2067574"/>
                  <a:pt x="7583507" y="2067574"/>
                </a:cubicBezTo>
                <a:close/>
                <a:moveTo>
                  <a:pt x="7867811" y="1996742"/>
                </a:moveTo>
                <a:cubicBezTo>
                  <a:pt x="7875833" y="1996742"/>
                  <a:pt x="7881667" y="2002576"/>
                  <a:pt x="7881667" y="2010598"/>
                </a:cubicBezTo>
                <a:cubicBezTo>
                  <a:pt x="7881667" y="2017891"/>
                  <a:pt x="7875833" y="2022995"/>
                  <a:pt x="7867811" y="2022995"/>
                </a:cubicBezTo>
                <a:cubicBezTo>
                  <a:pt x="7861976" y="2022995"/>
                  <a:pt x="7855413" y="2017891"/>
                  <a:pt x="7855413" y="2010598"/>
                </a:cubicBezTo>
                <a:cubicBezTo>
                  <a:pt x="7855413" y="2002576"/>
                  <a:pt x="7861976" y="1996742"/>
                  <a:pt x="7867811" y="1996742"/>
                </a:cubicBezTo>
                <a:close/>
                <a:moveTo>
                  <a:pt x="7796980" y="1996742"/>
                </a:moveTo>
                <a:cubicBezTo>
                  <a:pt x="7805002" y="1996742"/>
                  <a:pt x="7810836" y="2002576"/>
                  <a:pt x="7810836" y="2010598"/>
                </a:cubicBezTo>
                <a:cubicBezTo>
                  <a:pt x="7810836" y="2017891"/>
                  <a:pt x="7805002" y="2022995"/>
                  <a:pt x="7796980" y="2022995"/>
                </a:cubicBezTo>
                <a:cubicBezTo>
                  <a:pt x="7791145" y="2022995"/>
                  <a:pt x="7784582" y="2017891"/>
                  <a:pt x="7784582" y="2010598"/>
                </a:cubicBezTo>
                <a:cubicBezTo>
                  <a:pt x="7784582" y="2002576"/>
                  <a:pt x="7791145" y="1996742"/>
                  <a:pt x="7796980" y="1996742"/>
                </a:cubicBezTo>
                <a:close/>
                <a:moveTo>
                  <a:pt x="7726151" y="1996742"/>
                </a:moveTo>
                <a:cubicBezTo>
                  <a:pt x="7734173" y="1996742"/>
                  <a:pt x="7740007" y="2002576"/>
                  <a:pt x="7740007" y="2010598"/>
                </a:cubicBezTo>
                <a:cubicBezTo>
                  <a:pt x="7740007" y="2017891"/>
                  <a:pt x="7734173" y="2022995"/>
                  <a:pt x="7726151" y="2022995"/>
                </a:cubicBezTo>
                <a:cubicBezTo>
                  <a:pt x="7718858" y="2022995"/>
                  <a:pt x="7713753" y="2017891"/>
                  <a:pt x="7713753" y="2010598"/>
                </a:cubicBezTo>
                <a:cubicBezTo>
                  <a:pt x="7713753" y="2002576"/>
                  <a:pt x="7718858" y="1996742"/>
                  <a:pt x="7726151" y="1996742"/>
                </a:cubicBezTo>
                <a:close/>
                <a:moveTo>
                  <a:pt x="7654337" y="1996742"/>
                </a:moveTo>
                <a:cubicBezTo>
                  <a:pt x="7662899" y="1996742"/>
                  <a:pt x="7669126" y="2002576"/>
                  <a:pt x="7669126" y="2010598"/>
                </a:cubicBezTo>
                <a:cubicBezTo>
                  <a:pt x="7669126" y="2017891"/>
                  <a:pt x="7662899" y="2022995"/>
                  <a:pt x="7654337" y="2022995"/>
                </a:cubicBezTo>
                <a:cubicBezTo>
                  <a:pt x="7645776" y="2022995"/>
                  <a:pt x="7639549" y="2017891"/>
                  <a:pt x="7639549" y="2010598"/>
                </a:cubicBezTo>
                <a:cubicBezTo>
                  <a:pt x="7639549" y="2002576"/>
                  <a:pt x="7645776" y="1996742"/>
                  <a:pt x="7654337" y="1996742"/>
                </a:cubicBezTo>
                <a:close/>
                <a:moveTo>
                  <a:pt x="7583507" y="1996742"/>
                </a:moveTo>
                <a:cubicBezTo>
                  <a:pt x="7591291" y="1996742"/>
                  <a:pt x="7598297" y="2002576"/>
                  <a:pt x="7598297" y="2010598"/>
                </a:cubicBezTo>
                <a:cubicBezTo>
                  <a:pt x="7598297" y="2017891"/>
                  <a:pt x="7591291" y="2022995"/>
                  <a:pt x="7583507" y="2022995"/>
                </a:cubicBezTo>
                <a:cubicBezTo>
                  <a:pt x="7574945" y="2022995"/>
                  <a:pt x="7568718" y="2017891"/>
                  <a:pt x="7568718" y="2010598"/>
                </a:cubicBezTo>
                <a:cubicBezTo>
                  <a:pt x="7568718" y="2002576"/>
                  <a:pt x="7574945" y="1996742"/>
                  <a:pt x="7583507" y="1996742"/>
                </a:cubicBezTo>
                <a:close/>
                <a:moveTo>
                  <a:pt x="7512677" y="1996742"/>
                </a:moveTo>
                <a:cubicBezTo>
                  <a:pt x="7520461" y="1996742"/>
                  <a:pt x="7527466" y="2002576"/>
                  <a:pt x="7527466" y="2010598"/>
                </a:cubicBezTo>
                <a:cubicBezTo>
                  <a:pt x="7527466" y="2017891"/>
                  <a:pt x="7520461" y="2022995"/>
                  <a:pt x="7512677" y="2022995"/>
                </a:cubicBezTo>
                <a:cubicBezTo>
                  <a:pt x="7504115" y="2022995"/>
                  <a:pt x="7497889" y="2017891"/>
                  <a:pt x="7497889" y="2010598"/>
                </a:cubicBezTo>
                <a:cubicBezTo>
                  <a:pt x="7497889" y="2002576"/>
                  <a:pt x="7504115" y="1996742"/>
                  <a:pt x="7512677" y="1996742"/>
                </a:cubicBezTo>
                <a:close/>
                <a:moveTo>
                  <a:pt x="7796980" y="1925913"/>
                </a:moveTo>
                <a:cubicBezTo>
                  <a:pt x="7805002" y="1925913"/>
                  <a:pt x="7810836" y="1931747"/>
                  <a:pt x="7810836" y="1939769"/>
                </a:cubicBezTo>
                <a:cubicBezTo>
                  <a:pt x="7810836" y="1945603"/>
                  <a:pt x="7805002" y="1952166"/>
                  <a:pt x="7796980" y="1952166"/>
                </a:cubicBezTo>
                <a:cubicBezTo>
                  <a:pt x="7791145" y="1952166"/>
                  <a:pt x="7784582" y="1945603"/>
                  <a:pt x="7784582" y="1939769"/>
                </a:cubicBezTo>
                <a:cubicBezTo>
                  <a:pt x="7784582" y="1931747"/>
                  <a:pt x="7791145" y="1925913"/>
                  <a:pt x="7796980" y="1925913"/>
                </a:cubicBezTo>
                <a:close/>
                <a:moveTo>
                  <a:pt x="7726151" y="1925913"/>
                </a:moveTo>
                <a:cubicBezTo>
                  <a:pt x="7734173" y="1925913"/>
                  <a:pt x="7740007" y="1931747"/>
                  <a:pt x="7740007" y="1939769"/>
                </a:cubicBezTo>
                <a:cubicBezTo>
                  <a:pt x="7740007" y="1945603"/>
                  <a:pt x="7734173" y="1952166"/>
                  <a:pt x="7726151" y="1952166"/>
                </a:cubicBezTo>
                <a:cubicBezTo>
                  <a:pt x="7718858" y="1952166"/>
                  <a:pt x="7713753" y="1945603"/>
                  <a:pt x="7713753" y="1939769"/>
                </a:cubicBezTo>
                <a:cubicBezTo>
                  <a:pt x="7713753" y="1931747"/>
                  <a:pt x="7718858" y="1925913"/>
                  <a:pt x="7726151" y="1925913"/>
                </a:cubicBezTo>
                <a:close/>
                <a:moveTo>
                  <a:pt x="7654337" y="1925913"/>
                </a:moveTo>
                <a:cubicBezTo>
                  <a:pt x="7662899" y="1925913"/>
                  <a:pt x="7669126" y="1931747"/>
                  <a:pt x="7669126" y="1939769"/>
                </a:cubicBezTo>
                <a:cubicBezTo>
                  <a:pt x="7669126" y="1945603"/>
                  <a:pt x="7662899" y="1952166"/>
                  <a:pt x="7654337" y="1952166"/>
                </a:cubicBezTo>
                <a:cubicBezTo>
                  <a:pt x="7645776" y="1952166"/>
                  <a:pt x="7639549" y="1945603"/>
                  <a:pt x="7639549" y="1939769"/>
                </a:cubicBezTo>
                <a:cubicBezTo>
                  <a:pt x="7639549" y="1931747"/>
                  <a:pt x="7645776" y="1925913"/>
                  <a:pt x="7654337" y="1925913"/>
                </a:cubicBezTo>
                <a:close/>
                <a:moveTo>
                  <a:pt x="7583507" y="1925913"/>
                </a:moveTo>
                <a:cubicBezTo>
                  <a:pt x="7591291" y="1925913"/>
                  <a:pt x="7598297" y="1931747"/>
                  <a:pt x="7598297" y="1939769"/>
                </a:cubicBezTo>
                <a:cubicBezTo>
                  <a:pt x="7598297" y="1945603"/>
                  <a:pt x="7591291" y="1952166"/>
                  <a:pt x="7583507" y="1952166"/>
                </a:cubicBezTo>
                <a:cubicBezTo>
                  <a:pt x="7574945" y="1952166"/>
                  <a:pt x="7568718" y="1945603"/>
                  <a:pt x="7568718" y="1939769"/>
                </a:cubicBezTo>
                <a:cubicBezTo>
                  <a:pt x="7568718" y="1931747"/>
                  <a:pt x="7574945" y="1925913"/>
                  <a:pt x="7583507" y="1925913"/>
                </a:cubicBezTo>
                <a:close/>
                <a:moveTo>
                  <a:pt x="7512677" y="1925913"/>
                </a:moveTo>
                <a:cubicBezTo>
                  <a:pt x="7520461" y="1925913"/>
                  <a:pt x="7527466" y="1931747"/>
                  <a:pt x="7527466" y="1939769"/>
                </a:cubicBezTo>
                <a:cubicBezTo>
                  <a:pt x="7527466" y="1945603"/>
                  <a:pt x="7520461" y="1952166"/>
                  <a:pt x="7512677" y="1952166"/>
                </a:cubicBezTo>
                <a:cubicBezTo>
                  <a:pt x="7504115" y="1952166"/>
                  <a:pt x="7497889" y="1945603"/>
                  <a:pt x="7497889" y="1939769"/>
                </a:cubicBezTo>
                <a:cubicBezTo>
                  <a:pt x="7497889" y="1931747"/>
                  <a:pt x="7504115" y="1925913"/>
                  <a:pt x="7512677" y="1925913"/>
                </a:cubicBezTo>
                <a:close/>
                <a:moveTo>
                  <a:pt x="7440913" y="1925913"/>
                </a:moveTo>
                <a:cubicBezTo>
                  <a:pt x="7448206" y="1925913"/>
                  <a:pt x="7453310" y="1931747"/>
                  <a:pt x="7453310" y="1939769"/>
                </a:cubicBezTo>
                <a:cubicBezTo>
                  <a:pt x="7453310" y="1945603"/>
                  <a:pt x="7448206" y="1952166"/>
                  <a:pt x="7440913" y="1952166"/>
                </a:cubicBezTo>
                <a:cubicBezTo>
                  <a:pt x="7432891" y="1952166"/>
                  <a:pt x="7427057" y="1945603"/>
                  <a:pt x="7427057" y="1939769"/>
                </a:cubicBezTo>
                <a:cubicBezTo>
                  <a:pt x="7427057" y="1931747"/>
                  <a:pt x="7432891" y="1925913"/>
                  <a:pt x="7440913" y="1925913"/>
                </a:cubicBezTo>
                <a:close/>
                <a:moveTo>
                  <a:pt x="7726151" y="1855081"/>
                </a:moveTo>
                <a:cubicBezTo>
                  <a:pt x="7734173" y="1855081"/>
                  <a:pt x="7740007" y="1860915"/>
                  <a:pt x="7740007" y="1868937"/>
                </a:cubicBezTo>
                <a:cubicBezTo>
                  <a:pt x="7740007" y="1874771"/>
                  <a:pt x="7734173" y="1881334"/>
                  <a:pt x="7726151" y="1881334"/>
                </a:cubicBezTo>
                <a:cubicBezTo>
                  <a:pt x="7718858" y="1881334"/>
                  <a:pt x="7713753" y="1874771"/>
                  <a:pt x="7713753" y="1868937"/>
                </a:cubicBezTo>
                <a:cubicBezTo>
                  <a:pt x="7713753" y="1860915"/>
                  <a:pt x="7718858" y="1855081"/>
                  <a:pt x="7726151" y="1855081"/>
                </a:cubicBezTo>
                <a:close/>
                <a:moveTo>
                  <a:pt x="7654337" y="1855081"/>
                </a:moveTo>
                <a:cubicBezTo>
                  <a:pt x="7662899" y="1855081"/>
                  <a:pt x="7669126" y="1860915"/>
                  <a:pt x="7669126" y="1868937"/>
                </a:cubicBezTo>
                <a:cubicBezTo>
                  <a:pt x="7669126" y="1874771"/>
                  <a:pt x="7662899" y="1881334"/>
                  <a:pt x="7654337" y="1881334"/>
                </a:cubicBezTo>
                <a:cubicBezTo>
                  <a:pt x="7645776" y="1881334"/>
                  <a:pt x="7639549" y="1874771"/>
                  <a:pt x="7639549" y="1868937"/>
                </a:cubicBezTo>
                <a:cubicBezTo>
                  <a:pt x="7639549" y="1860915"/>
                  <a:pt x="7645776" y="1855081"/>
                  <a:pt x="7654337" y="1855081"/>
                </a:cubicBezTo>
                <a:close/>
                <a:moveTo>
                  <a:pt x="7583507" y="1855081"/>
                </a:moveTo>
                <a:cubicBezTo>
                  <a:pt x="7591291" y="1855081"/>
                  <a:pt x="7598297" y="1860915"/>
                  <a:pt x="7598297" y="1868937"/>
                </a:cubicBezTo>
                <a:cubicBezTo>
                  <a:pt x="7598297" y="1874771"/>
                  <a:pt x="7591291" y="1881334"/>
                  <a:pt x="7583507" y="1881334"/>
                </a:cubicBezTo>
                <a:cubicBezTo>
                  <a:pt x="7574945" y="1881334"/>
                  <a:pt x="7568718" y="1874771"/>
                  <a:pt x="7568718" y="1868937"/>
                </a:cubicBezTo>
                <a:cubicBezTo>
                  <a:pt x="7568718" y="1860915"/>
                  <a:pt x="7574945" y="1855081"/>
                  <a:pt x="7583507" y="1855081"/>
                </a:cubicBezTo>
                <a:close/>
                <a:moveTo>
                  <a:pt x="7512677" y="1855081"/>
                </a:moveTo>
                <a:cubicBezTo>
                  <a:pt x="7520461" y="1855081"/>
                  <a:pt x="7527466" y="1860915"/>
                  <a:pt x="7527466" y="1868937"/>
                </a:cubicBezTo>
                <a:cubicBezTo>
                  <a:pt x="7527466" y="1874771"/>
                  <a:pt x="7520461" y="1881334"/>
                  <a:pt x="7512677" y="1881334"/>
                </a:cubicBezTo>
                <a:cubicBezTo>
                  <a:pt x="7504115" y="1881334"/>
                  <a:pt x="7497889" y="1874771"/>
                  <a:pt x="7497889" y="1868937"/>
                </a:cubicBezTo>
                <a:cubicBezTo>
                  <a:pt x="7497889" y="1860915"/>
                  <a:pt x="7504115" y="1855081"/>
                  <a:pt x="7512677" y="1855081"/>
                </a:cubicBezTo>
                <a:close/>
                <a:moveTo>
                  <a:pt x="7440913" y="1855081"/>
                </a:moveTo>
                <a:cubicBezTo>
                  <a:pt x="7446747" y="1855081"/>
                  <a:pt x="7453310" y="1860915"/>
                  <a:pt x="7453310" y="1868937"/>
                </a:cubicBezTo>
                <a:cubicBezTo>
                  <a:pt x="7453310" y="1874771"/>
                  <a:pt x="7446747" y="1881334"/>
                  <a:pt x="7440913" y="1881334"/>
                </a:cubicBezTo>
                <a:cubicBezTo>
                  <a:pt x="7432891" y="1881334"/>
                  <a:pt x="7427057" y="1874771"/>
                  <a:pt x="7427057" y="1868937"/>
                </a:cubicBezTo>
                <a:cubicBezTo>
                  <a:pt x="7427057" y="1860915"/>
                  <a:pt x="7432891" y="1855081"/>
                  <a:pt x="7440913" y="1855081"/>
                </a:cubicBezTo>
                <a:close/>
                <a:moveTo>
                  <a:pt x="7654337" y="1780878"/>
                </a:moveTo>
                <a:cubicBezTo>
                  <a:pt x="7662899" y="1780878"/>
                  <a:pt x="7669126" y="1787441"/>
                  <a:pt x="7669126" y="1793275"/>
                </a:cubicBezTo>
                <a:cubicBezTo>
                  <a:pt x="7669126" y="1801297"/>
                  <a:pt x="7662899" y="1807131"/>
                  <a:pt x="7654337" y="1807131"/>
                </a:cubicBezTo>
                <a:cubicBezTo>
                  <a:pt x="7645776" y="1807131"/>
                  <a:pt x="7639549" y="1801297"/>
                  <a:pt x="7639549" y="1793275"/>
                </a:cubicBezTo>
                <a:cubicBezTo>
                  <a:pt x="7639549" y="1787441"/>
                  <a:pt x="7645776" y="1780878"/>
                  <a:pt x="7654337" y="1780878"/>
                </a:cubicBezTo>
                <a:close/>
                <a:moveTo>
                  <a:pt x="7583507" y="1780878"/>
                </a:moveTo>
                <a:cubicBezTo>
                  <a:pt x="7591291" y="1780878"/>
                  <a:pt x="7598297" y="1787441"/>
                  <a:pt x="7598297" y="1793275"/>
                </a:cubicBezTo>
                <a:cubicBezTo>
                  <a:pt x="7598297" y="1801297"/>
                  <a:pt x="7591291" y="1807131"/>
                  <a:pt x="7583507" y="1807131"/>
                </a:cubicBezTo>
                <a:cubicBezTo>
                  <a:pt x="7574945" y="1807131"/>
                  <a:pt x="7568718" y="1801297"/>
                  <a:pt x="7568718" y="1793275"/>
                </a:cubicBezTo>
                <a:cubicBezTo>
                  <a:pt x="7568718" y="1787441"/>
                  <a:pt x="7574945" y="1780878"/>
                  <a:pt x="7583507" y="1780878"/>
                </a:cubicBezTo>
                <a:close/>
                <a:moveTo>
                  <a:pt x="7511745" y="1780878"/>
                </a:moveTo>
                <a:cubicBezTo>
                  <a:pt x="7519038" y="1780878"/>
                  <a:pt x="7524143" y="1787441"/>
                  <a:pt x="7524143" y="1793275"/>
                </a:cubicBezTo>
                <a:cubicBezTo>
                  <a:pt x="7524143" y="1801297"/>
                  <a:pt x="7519038" y="1807131"/>
                  <a:pt x="7511745" y="1807131"/>
                </a:cubicBezTo>
                <a:cubicBezTo>
                  <a:pt x="7503723" y="1807131"/>
                  <a:pt x="7497889" y="1801297"/>
                  <a:pt x="7497889" y="1793275"/>
                </a:cubicBezTo>
                <a:cubicBezTo>
                  <a:pt x="7497889" y="1787441"/>
                  <a:pt x="7503723" y="1780878"/>
                  <a:pt x="7511745" y="1780878"/>
                </a:cubicBezTo>
                <a:close/>
                <a:moveTo>
                  <a:pt x="7440913" y="1780878"/>
                </a:moveTo>
                <a:cubicBezTo>
                  <a:pt x="7446747" y="1780878"/>
                  <a:pt x="7453310" y="1787441"/>
                  <a:pt x="7453310" y="1793275"/>
                </a:cubicBezTo>
                <a:cubicBezTo>
                  <a:pt x="7453310" y="1801297"/>
                  <a:pt x="7446747" y="1807131"/>
                  <a:pt x="7440913" y="1807131"/>
                </a:cubicBezTo>
                <a:cubicBezTo>
                  <a:pt x="7432891" y="1807131"/>
                  <a:pt x="7427057" y="1801297"/>
                  <a:pt x="7427057" y="1793275"/>
                </a:cubicBezTo>
                <a:cubicBezTo>
                  <a:pt x="7427057" y="1787441"/>
                  <a:pt x="7432891" y="1780878"/>
                  <a:pt x="7440913" y="1780878"/>
                </a:cubicBezTo>
                <a:close/>
                <a:moveTo>
                  <a:pt x="7370084" y="1780878"/>
                </a:moveTo>
                <a:cubicBezTo>
                  <a:pt x="7376647" y="1780878"/>
                  <a:pt x="7382481" y="1787441"/>
                  <a:pt x="7382481" y="1793275"/>
                </a:cubicBezTo>
                <a:cubicBezTo>
                  <a:pt x="7382481" y="1801297"/>
                  <a:pt x="7376647" y="1807131"/>
                  <a:pt x="7370084" y="1807131"/>
                </a:cubicBezTo>
                <a:cubicBezTo>
                  <a:pt x="7362791" y="1807131"/>
                  <a:pt x="7356228" y="1801297"/>
                  <a:pt x="7356228" y="1793275"/>
                </a:cubicBezTo>
                <a:cubicBezTo>
                  <a:pt x="7356228" y="1787441"/>
                  <a:pt x="7362791" y="1780878"/>
                  <a:pt x="7370084" y="1780878"/>
                </a:cubicBezTo>
                <a:close/>
                <a:moveTo>
                  <a:pt x="7294422" y="1780878"/>
                </a:moveTo>
                <a:cubicBezTo>
                  <a:pt x="7302444" y="1780878"/>
                  <a:pt x="7308278" y="1787441"/>
                  <a:pt x="7308278" y="1793275"/>
                </a:cubicBezTo>
                <a:cubicBezTo>
                  <a:pt x="7308278" y="1801297"/>
                  <a:pt x="7302444" y="1807131"/>
                  <a:pt x="7294422" y="1807131"/>
                </a:cubicBezTo>
                <a:cubicBezTo>
                  <a:pt x="7288588" y="1807131"/>
                  <a:pt x="7282025" y="1801297"/>
                  <a:pt x="7282025" y="1793275"/>
                </a:cubicBezTo>
                <a:cubicBezTo>
                  <a:pt x="7282025" y="1787441"/>
                  <a:pt x="7288588" y="1780878"/>
                  <a:pt x="7294422" y="1780878"/>
                </a:cubicBezTo>
                <a:close/>
                <a:moveTo>
                  <a:pt x="7654337" y="1710049"/>
                </a:moveTo>
                <a:cubicBezTo>
                  <a:pt x="7662899" y="1710049"/>
                  <a:pt x="7669126" y="1716612"/>
                  <a:pt x="7669126" y="1722446"/>
                </a:cubicBezTo>
                <a:cubicBezTo>
                  <a:pt x="7669126" y="1730468"/>
                  <a:pt x="7662899" y="1736302"/>
                  <a:pt x="7654337" y="1736302"/>
                </a:cubicBezTo>
                <a:cubicBezTo>
                  <a:pt x="7645776" y="1736302"/>
                  <a:pt x="7639549" y="1730468"/>
                  <a:pt x="7639549" y="1722446"/>
                </a:cubicBezTo>
                <a:cubicBezTo>
                  <a:pt x="7639549" y="1716612"/>
                  <a:pt x="7645776" y="1710049"/>
                  <a:pt x="7654337" y="1710049"/>
                </a:cubicBezTo>
                <a:close/>
                <a:moveTo>
                  <a:pt x="7583507" y="1710049"/>
                </a:moveTo>
                <a:cubicBezTo>
                  <a:pt x="7591291" y="1710049"/>
                  <a:pt x="7598297" y="1716612"/>
                  <a:pt x="7598297" y="1722446"/>
                </a:cubicBezTo>
                <a:cubicBezTo>
                  <a:pt x="7598297" y="1730468"/>
                  <a:pt x="7591291" y="1736302"/>
                  <a:pt x="7583507" y="1736302"/>
                </a:cubicBezTo>
                <a:cubicBezTo>
                  <a:pt x="7574945" y="1736302"/>
                  <a:pt x="7568718" y="1730468"/>
                  <a:pt x="7568718" y="1722446"/>
                </a:cubicBezTo>
                <a:cubicBezTo>
                  <a:pt x="7568718" y="1716612"/>
                  <a:pt x="7574945" y="1710049"/>
                  <a:pt x="7583507" y="1710049"/>
                </a:cubicBezTo>
                <a:close/>
                <a:moveTo>
                  <a:pt x="7511745" y="1710049"/>
                </a:moveTo>
                <a:cubicBezTo>
                  <a:pt x="7519038" y="1710049"/>
                  <a:pt x="7524143" y="1716612"/>
                  <a:pt x="7524143" y="1722446"/>
                </a:cubicBezTo>
                <a:cubicBezTo>
                  <a:pt x="7524143" y="1730468"/>
                  <a:pt x="7519038" y="1736302"/>
                  <a:pt x="7511745" y="1736302"/>
                </a:cubicBezTo>
                <a:cubicBezTo>
                  <a:pt x="7503723" y="1736302"/>
                  <a:pt x="7497889" y="1730468"/>
                  <a:pt x="7497889" y="1722446"/>
                </a:cubicBezTo>
                <a:cubicBezTo>
                  <a:pt x="7497889" y="1716612"/>
                  <a:pt x="7503723" y="1710049"/>
                  <a:pt x="7511745" y="1710049"/>
                </a:cubicBezTo>
                <a:close/>
                <a:moveTo>
                  <a:pt x="7440913" y="1710049"/>
                </a:moveTo>
                <a:cubicBezTo>
                  <a:pt x="7446747" y="1710049"/>
                  <a:pt x="7453310" y="1716612"/>
                  <a:pt x="7453310" y="1722446"/>
                </a:cubicBezTo>
                <a:cubicBezTo>
                  <a:pt x="7453310" y="1730468"/>
                  <a:pt x="7446747" y="1736302"/>
                  <a:pt x="7440913" y="1736302"/>
                </a:cubicBezTo>
                <a:cubicBezTo>
                  <a:pt x="7432891" y="1736302"/>
                  <a:pt x="7427057" y="1730468"/>
                  <a:pt x="7427057" y="1722446"/>
                </a:cubicBezTo>
                <a:cubicBezTo>
                  <a:pt x="7427057" y="1716612"/>
                  <a:pt x="7432891" y="1710049"/>
                  <a:pt x="7440913" y="1710049"/>
                </a:cubicBezTo>
                <a:close/>
                <a:moveTo>
                  <a:pt x="7370084" y="1710049"/>
                </a:moveTo>
                <a:cubicBezTo>
                  <a:pt x="7376647" y="1710049"/>
                  <a:pt x="7382481" y="1716612"/>
                  <a:pt x="7382481" y="1722446"/>
                </a:cubicBezTo>
                <a:cubicBezTo>
                  <a:pt x="7382481" y="1730468"/>
                  <a:pt x="7376647" y="1736302"/>
                  <a:pt x="7370084" y="1736302"/>
                </a:cubicBezTo>
                <a:cubicBezTo>
                  <a:pt x="7362791" y="1736302"/>
                  <a:pt x="7356228" y="1730468"/>
                  <a:pt x="7356228" y="1722446"/>
                </a:cubicBezTo>
                <a:cubicBezTo>
                  <a:pt x="7356228" y="1716612"/>
                  <a:pt x="7362791" y="1710049"/>
                  <a:pt x="7370084" y="1710049"/>
                </a:cubicBezTo>
                <a:close/>
                <a:moveTo>
                  <a:pt x="7294422" y="1710049"/>
                </a:moveTo>
                <a:cubicBezTo>
                  <a:pt x="7302444" y="1710049"/>
                  <a:pt x="7308278" y="1716612"/>
                  <a:pt x="7308278" y="1722446"/>
                </a:cubicBezTo>
                <a:cubicBezTo>
                  <a:pt x="7308278" y="1730468"/>
                  <a:pt x="7302444" y="1736302"/>
                  <a:pt x="7294422" y="1736302"/>
                </a:cubicBezTo>
                <a:cubicBezTo>
                  <a:pt x="7288588" y="1736302"/>
                  <a:pt x="7282025" y="1730468"/>
                  <a:pt x="7282025" y="1722446"/>
                </a:cubicBezTo>
                <a:cubicBezTo>
                  <a:pt x="7282025" y="1716612"/>
                  <a:pt x="7288588" y="1710049"/>
                  <a:pt x="7294422" y="1710049"/>
                </a:cubicBezTo>
                <a:close/>
                <a:moveTo>
                  <a:pt x="7223591" y="1710049"/>
                </a:moveTo>
                <a:cubicBezTo>
                  <a:pt x="7231613" y="1710049"/>
                  <a:pt x="7237447" y="1716612"/>
                  <a:pt x="7237447" y="1722446"/>
                </a:cubicBezTo>
                <a:cubicBezTo>
                  <a:pt x="7237447" y="1730468"/>
                  <a:pt x="7231613" y="1736302"/>
                  <a:pt x="7223591" y="1736302"/>
                </a:cubicBezTo>
                <a:cubicBezTo>
                  <a:pt x="7217757" y="1736302"/>
                  <a:pt x="7211194" y="1730468"/>
                  <a:pt x="7211194" y="1722446"/>
                </a:cubicBezTo>
                <a:cubicBezTo>
                  <a:pt x="7211194" y="1716612"/>
                  <a:pt x="7217757" y="1710049"/>
                  <a:pt x="7223591" y="1710049"/>
                </a:cubicBezTo>
                <a:close/>
                <a:moveTo>
                  <a:pt x="7583507" y="1639217"/>
                </a:moveTo>
                <a:cubicBezTo>
                  <a:pt x="7591291" y="1639217"/>
                  <a:pt x="7598297" y="1643592"/>
                  <a:pt x="7598297" y="1651614"/>
                </a:cubicBezTo>
                <a:cubicBezTo>
                  <a:pt x="7598297" y="1659636"/>
                  <a:pt x="7591291" y="1665470"/>
                  <a:pt x="7583507" y="1665470"/>
                </a:cubicBezTo>
                <a:cubicBezTo>
                  <a:pt x="7574945" y="1665470"/>
                  <a:pt x="7568718" y="1659636"/>
                  <a:pt x="7568718" y="1651614"/>
                </a:cubicBezTo>
                <a:cubicBezTo>
                  <a:pt x="7568718" y="1643592"/>
                  <a:pt x="7574945" y="1639217"/>
                  <a:pt x="7583507" y="1639217"/>
                </a:cubicBezTo>
                <a:close/>
                <a:moveTo>
                  <a:pt x="7511745" y="1639217"/>
                </a:moveTo>
                <a:cubicBezTo>
                  <a:pt x="7519038" y="1639217"/>
                  <a:pt x="7524143" y="1643592"/>
                  <a:pt x="7524143" y="1651614"/>
                </a:cubicBezTo>
                <a:cubicBezTo>
                  <a:pt x="7524143" y="1659636"/>
                  <a:pt x="7519038" y="1665470"/>
                  <a:pt x="7511745" y="1665470"/>
                </a:cubicBezTo>
                <a:cubicBezTo>
                  <a:pt x="7503723" y="1665470"/>
                  <a:pt x="7497889" y="1659636"/>
                  <a:pt x="7497889" y="1651614"/>
                </a:cubicBezTo>
                <a:cubicBezTo>
                  <a:pt x="7497889" y="1643592"/>
                  <a:pt x="7503723" y="1639217"/>
                  <a:pt x="7511745" y="1639217"/>
                </a:cubicBezTo>
                <a:close/>
                <a:moveTo>
                  <a:pt x="7440913" y="1639217"/>
                </a:moveTo>
                <a:cubicBezTo>
                  <a:pt x="7446747" y="1639217"/>
                  <a:pt x="7453310" y="1643592"/>
                  <a:pt x="7453310" y="1651614"/>
                </a:cubicBezTo>
                <a:cubicBezTo>
                  <a:pt x="7453310" y="1659636"/>
                  <a:pt x="7446747" y="1665470"/>
                  <a:pt x="7440913" y="1665470"/>
                </a:cubicBezTo>
                <a:cubicBezTo>
                  <a:pt x="7432891" y="1665470"/>
                  <a:pt x="7427057" y="1659636"/>
                  <a:pt x="7427057" y="1651614"/>
                </a:cubicBezTo>
                <a:cubicBezTo>
                  <a:pt x="7427057" y="1643592"/>
                  <a:pt x="7432891" y="1639217"/>
                  <a:pt x="7440913" y="1639217"/>
                </a:cubicBezTo>
                <a:close/>
                <a:moveTo>
                  <a:pt x="7370084" y="1639217"/>
                </a:moveTo>
                <a:cubicBezTo>
                  <a:pt x="7376647" y="1639217"/>
                  <a:pt x="7382481" y="1643592"/>
                  <a:pt x="7382481" y="1651614"/>
                </a:cubicBezTo>
                <a:cubicBezTo>
                  <a:pt x="7382481" y="1659636"/>
                  <a:pt x="7376647" y="1665470"/>
                  <a:pt x="7370084" y="1665470"/>
                </a:cubicBezTo>
                <a:cubicBezTo>
                  <a:pt x="7362791" y="1665470"/>
                  <a:pt x="7356228" y="1659636"/>
                  <a:pt x="7356228" y="1651614"/>
                </a:cubicBezTo>
                <a:cubicBezTo>
                  <a:pt x="7356228" y="1643592"/>
                  <a:pt x="7362791" y="1639217"/>
                  <a:pt x="7370084" y="1639217"/>
                </a:cubicBezTo>
                <a:close/>
                <a:moveTo>
                  <a:pt x="7294422" y="1639217"/>
                </a:moveTo>
                <a:cubicBezTo>
                  <a:pt x="7302444" y="1639217"/>
                  <a:pt x="7308278" y="1643592"/>
                  <a:pt x="7308278" y="1651614"/>
                </a:cubicBezTo>
                <a:cubicBezTo>
                  <a:pt x="7308278" y="1659636"/>
                  <a:pt x="7302444" y="1665470"/>
                  <a:pt x="7294422" y="1665470"/>
                </a:cubicBezTo>
                <a:cubicBezTo>
                  <a:pt x="7288588" y="1665470"/>
                  <a:pt x="7282025" y="1659636"/>
                  <a:pt x="7282025" y="1651614"/>
                </a:cubicBezTo>
                <a:cubicBezTo>
                  <a:pt x="7282025" y="1643592"/>
                  <a:pt x="7288588" y="1639217"/>
                  <a:pt x="7294422" y="1639217"/>
                </a:cubicBezTo>
                <a:close/>
                <a:moveTo>
                  <a:pt x="7223591" y="1639217"/>
                </a:moveTo>
                <a:cubicBezTo>
                  <a:pt x="7231613" y="1639217"/>
                  <a:pt x="7237447" y="1643592"/>
                  <a:pt x="7237447" y="1651614"/>
                </a:cubicBezTo>
                <a:cubicBezTo>
                  <a:pt x="7237447" y="1659636"/>
                  <a:pt x="7231613" y="1665470"/>
                  <a:pt x="7223591" y="1665470"/>
                </a:cubicBezTo>
                <a:cubicBezTo>
                  <a:pt x="7217757" y="1665470"/>
                  <a:pt x="7211194" y="1659636"/>
                  <a:pt x="7211194" y="1651614"/>
                </a:cubicBezTo>
                <a:cubicBezTo>
                  <a:pt x="7211194" y="1643592"/>
                  <a:pt x="7217757" y="1639217"/>
                  <a:pt x="7223591" y="1639217"/>
                </a:cubicBezTo>
                <a:close/>
                <a:moveTo>
                  <a:pt x="7152761" y="1639217"/>
                </a:moveTo>
                <a:cubicBezTo>
                  <a:pt x="7160783" y="1639217"/>
                  <a:pt x="7166617" y="1643592"/>
                  <a:pt x="7166617" y="1651614"/>
                </a:cubicBezTo>
                <a:cubicBezTo>
                  <a:pt x="7166617" y="1659636"/>
                  <a:pt x="7160783" y="1665470"/>
                  <a:pt x="7152761" y="1665470"/>
                </a:cubicBezTo>
                <a:cubicBezTo>
                  <a:pt x="7144739" y="1665470"/>
                  <a:pt x="7140364" y="1659636"/>
                  <a:pt x="7140364" y="1651614"/>
                </a:cubicBezTo>
                <a:cubicBezTo>
                  <a:pt x="7140364" y="1643592"/>
                  <a:pt x="7144739" y="1639217"/>
                  <a:pt x="7152761" y="1639217"/>
                </a:cubicBezTo>
                <a:close/>
                <a:moveTo>
                  <a:pt x="7511745" y="1568388"/>
                </a:moveTo>
                <a:cubicBezTo>
                  <a:pt x="7519038" y="1568388"/>
                  <a:pt x="7524143" y="1574614"/>
                  <a:pt x="7524143" y="1583176"/>
                </a:cubicBezTo>
                <a:cubicBezTo>
                  <a:pt x="7524143" y="1591738"/>
                  <a:pt x="7519038" y="1597964"/>
                  <a:pt x="7511745" y="1597964"/>
                </a:cubicBezTo>
                <a:cubicBezTo>
                  <a:pt x="7503723" y="1597964"/>
                  <a:pt x="7497889" y="1591738"/>
                  <a:pt x="7497889" y="1583176"/>
                </a:cubicBezTo>
                <a:cubicBezTo>
                  <a:pt x="7497889" y="1574614"/>
                  <a:pt x="7503723" y="1568388"/>
                  <a:pt x="7511745" y="1568388"/>
                </a:cubicBezTo>
                <a:close/>
                <a:moveTo>
                  <a:pt x="7440913" y="1568388"/>
                </a:moveTo>
                <a:cubicBezTo>
                  <a:pt x="7446747" y="1568388"/>
                  <a:pt x="7453310" y="1574614"/>
                  <a:pt x="7453310" y="1583176"/>
                </a:cubicBezTo>
                <a:cubicBezTo>
                  <a:pt x="7453310" y="1591738"/>
                  <a:pt x="7446747" y="1597964"/>
                  <a:pt x="7440913" y="1597964"/>
                </a:cubicBezTo>
                <a:cubicBezTo>
                  <a:pt x="7432891" y="1597964"/>
                  <a:pt x="7427057" y="1591738"/>
                  <a:pt x="7427057" y="1583176"/>
                </a:cubicBezTo>
                <a:cubicBezTo>
                  <a:pt x="7427057" y="1574614"/>
                  <a:pt x="7432891" y="1568388"/>
                  <a:pt x="7440913" y="1568388"/>
                </a:cubicBezTo>
                <a:close/>
                <a:moveTo>
                  <a:pt x="7370084" y="1568388"/>
                </a:moveTo>
                <a:cubicBezTo>
                  <a:pt x="7376647" y="1568388"/>
                  <a:pt x="7382481" y="1574614"/>
                  <a:pt x="7382481" y="1583176"/>
                </a:cubicBezTo>
                <a:cubicBezTo>
                  <a:pt x="7382481" y="1591738"/>
                  <a:pt x="7376647" y="1597964"/>
                  <a:pt x="7370084" y="1597964"/>
                </a:cubicBezTo>
                <a:cubicBezTo>
                  <a:pt x="7362791" y="1597964"/>
                  <a:pt x="7356228" y="1591738"/>
                  <a:pt x="7356228" y="1583176"/>
                </a:cubicBezTo>
                <a:cubicBezTo>
                  <a:pt x="7356228" y="1574614"/>
                  <a:pt x="7362791" y="1568388"/>
                  <a:pt x="7370084" y="1568388"/>
                </a:cubicBezTo>
                <a:close/>
                <a:moveTo>
                  <a:pt x="7294422" y="1568388"/>
                </a:moveTo>
                <a:cubicBezTo>
                  <a:pt x="7302444" y="1568388"/>
                  <a:pt x="7308278" y="1574614"/>
                  <a:pt x="7308278" y="1583176"/>
                </a:cubicBezTo>
                <a:cubicBezTo>
                  <a:pt x="7308278" y="1591738"/>
                  <a:pt x="7302444" y="1597964"/>
                  <a:pt x="7294422" y="1597964"/>
                </a:cubicBezTo>
                <a:cubicBezTo>
                  <a:pt x="7288588" y="1597964"/>
                  <a:pt x="7282025" y="1591738"/>
                  <a:pt x="7282025" y="1583176"/>
                </a:cubicBezTo>
                <a:cubicBezTo>
                  <a:pt x="7282025" y="1574614"/>
                  <a:pt x="7288588" y="1568388"/>
                  <a:pt x="7294422" y="1568388"/>
                </a:cubicBezTo>
                <a:close/>
                <a:moveTo>
                  <a:pt x="7223591" y="1568388"/>
                </a:moveTo>
                <a:cubicBezTo>
                  <a:pt x="7231613" y="1568388"/>
                  <a:pt x="7237447" y="1574614"/>
                  <a:pt x="7237447" y="1583176"/>
                </a:cubicBezTo>
                <a:cubicBezTo>
                  <a:pt x="7237447" y="1591738"/>
                  <a:pt x="7231613" y="1597964"/>
                  <a:pt x="7223591" y="1597964"/>
                </a:cubicBezTo>
                <a:cubicBezTo>
                  <a:pt x="7217757" y="1597964"/>
                  <a:pt x="7211194" y="1591738"/>
                  <a:pt x="7211194" y="1583176"/>
                </a:cubicBezTo>
                <a:cubicBezTo>
                  <a:pt x="7211194" y="1574614"/>
                  <a:pt x="7217757" y="1568388"/>
                  <a:pt x="7223591" y="1568388"/>
                </a:cubicBezTo>
                <a:close/>
                <a:moveTo>
                  <a:pt x="7152761" y="1568388"/>
                </a:moveTo>
                <a:cubicBezTo>
                  <a:pt x="7160783" y="1568388"/>
                  <a:pt x="7166617" y="1572763"/>
                  <a:pt x="7166617" y="1580785"/>
                </a:cubicBezTo>
                <a:cubicBezTo>
                  <a:pt x="7166617" y="1588807"/>
                  <a:pt x="7160783" y="1594641"/>
                  <a:pt x="7152761" y="1594641"/>
                </a:cubicBezTo>
                <a:cubicBezTo>
                  <a:pt x="7144739" y="1594641"/>
                  <a:pt x="7140364" y="1588807"/>
                  <a:pt x="7140364" y="1580785"/>
                </a:cubicBezTo>
                <a:cubicBezTo>
                  <a:pt x="7140364" y="1572763"/>
                  <a:pt x="7144739" y="1568388"/>
                  <a:pt x="7152761" y="1568388"/>
                </a:cubicBezTo>
                <a:close/>
                <a:moveTo>
                  <a:pt x="7084322" y="1568388"/>
                </a:moveTo>
                <a:cubicBezTo>
                  <a:pt x="7092106" y="1568388"/>
                  <a:pt x="7099111" y="1572763"/>
                  <a:pt x="7099111" y="1580785"/>
                </a:cubicBezTo>
                <a:cubicBezTo>
                  <a:pt x="7099111" y="1588807"/>
                  <a:pt x="7092106" y="1594641"/>
                  <a:pt x="7084322" y="1594641"/>
                </a:cubicBezTo>
                <a:cubicBezTo>
                  <a:pt x="7075760" y="1594641"/>
                  <a:pt x="7069533" y="1588807"/>
                  <a:pt x="7069533" y="1580785"/>
                </a:cubicBezTo>
                <a:cubicBezTo>
                  <a:pt x="7069533" y="1572763"/>
                  <a:pt x="7075760" y="1568388"/>
                  <a:pt x="7084322" y="1568388"/>
                </a:cubicBezTo>
                <a:close/>
                <a:moveTo>
                  <a:pt x="7440913" y="1494185"/>
                </a:moveTo>
                <a:cubicBezTo>
                  <a:pt x="7446747" y="1494185"/>
                  <a:pt x="7453310" y="1500411"/>
                  <a:pt x="7453310" y="1508973"/>
                </a:cubicBezTo>
                <a:cubicBezTo>
                  <a:pt x="7453310" y="1516756"/>
                  <a:pt x="7446747" y="1523761"/>
                  <a:pt x="7440913" y="1523761"/>
                </a:cubicBezTo>
                <a:cubicBezTo>
                  <a:pt x="7432891" y="1523761"/>
                  <a:pt x="7427057" y="1516756"/>
                  <a:pt x="7427057" y="1508973"/>
                </a:cubicBezTo>
                <a:cubicBezTo>
                  <a:pt x="7427057" y="1500411"/>
                  <a:pt x="7432891" y="1494185"/>
                  <a:pt x="7440913" y="1494185"/>
                </a:cubicBezTo>
                <a:close/>
                <a:moveTo>
                  <a:pt x="7370084" y="1494185"/>
                </a:moveTo>
                <a:cubicBezTo>
                  <a:pt x="7376647" y="1494185"/>
                  <a:pt x="7382481" y="1500411"/>
                  <a:pt x="7382481" y="1508973"/>
                </a:cubicBezTo>
                <a:cubicBezTo>
                  <a:pt x="7382481" y="1516756"/>
                  <a:pt x="7376647" y="1523761"/>
                  <a:pt x="7370084" y="1523761"/>
                </a:cubicBezTo>
                <a:cubicBezTo>
                  <a:pt x="7362791" y="1523761"/>
                  <a:pt x="7356228" y="1516756"/>
                  <a:pt x="7356228" y="1508973"/>
                </a:cubicBezTo>
                <a:cubicBezTo>
                  <a:pt x="7356228" y="1500411"/>
                  <a:pt x="7362791" y="1494185"/>
                  <a:pt x="7370084" y="1494185"/>
                </a:cubicBezTo>
                <a:close/>
                <a:moveTo>
                  <a:pt x="7294422" y="1494185"/>
                </a:moveTo>
                <a:cubicBezTo>
                  <a:pt x="7302444" y="1494185"/>
                  <a:pt x="7308278" y="1500411"/>
                  <a:pt x="7308278" y="1508973"/>
                </a:cubicBezTo>
                <a:cubicBezTo>
                  <a:pt x="7308278" y="1516756"/>
                  <a:pt x="7302444" y="1523761"/>
                  <a:pt x="7294422" y="1523761"/>
                </a:cubicBezTo>
                <a:cubicBezTo>
                  <a:pt x="7288588" y="1523761"/>
                  <a:pt x="7282025" y="1516756"/>
                  <a:pt x="7282025" y="1508973"/>
                </a:cubicBezTo>
                <a:cubicBezTo>
                  <a:pt x="7282025" y="1500411"/>
                  <a:pt x="7288588" y="1494185"/>
                  <a:pt x="7294422" y="1494185"/>
                </a:cubicBezTo>
                <a:close/>
                <a:moveTo>
                  <a:pt x="7223591" y="1494185"/>
                </a:moveTo>
                <a:cubicBezTo>
                  <a:pt x="7231613" y="1494185"/>
                  <a:pt x="7237447" y="1500411"/>
                  <a:pt x="7237447" y="1508973"/>
                </a:cubicBezTo>
                <a:cubicBezTo>
                  <a:pt x="7237447" y="1516756"/>
                  <a:pt x="7231613" y="1523761"/>
                  <a:pt x="7223591" y="1523761"/>
                </a:cubicBezTo>
                <a:cubicBezTo>
                  <a:pt x="7217757" y="1523761"/>
                  <a:pt x="7211194" y="1516756"/>
                  <a:pt x="7211194" y="1508973"/>
                </a:cubicBezTo>
                <a:cubicBezTo>
                  <a:pt x="7211194" y="1500411"/>
                  <a:pt x="7217757" y="1494185"/>
                  <a:pt x="7223591" y="1494185"/>
                </a:cubicBezTo>
                <a:close/>
                <a:moveTo>
                  <a:pt x="7152761" y="1494185"/>
                </a:moveTo>
                <a:cubicBezTo>
                  <a:pt x="7160783" y="1494185"/>
                  <a:pt x="7166617" y="1500411"/>
                  <a:pt x="7166617" y="1508973"/>
                </a:cubicBezTo>
                <a:cubicBezTo>
                  <a:pt x="7166617" y="1516756"/>
                  <a:pt x="7160783" y="1523761"/>
                  <a:pt x="7152761" y="1523761"/>
                </a:cubicBezTo>
                <a:cubicBezTo>
                  <a:pt x="7144739" y="1523761"/>
                  <a:pt x="7140364" y="1516756"/>
                  <a:pt x="7140364" y="1508973"/>
                </a:cubicBezTo>
                <a:cubicBezTo>
                  <a:pt x="7140364" y="1500411"/>
                  <a:pt x="7144739" y="1494185"/>
                  <a:pt x="7152761" y="1494185"/>
                </a:cubicBezTo>
                <a:close/>
                <a:moveTo>
                  <a:pt x="7084322" y="1494185"/>
                </a:moveTo>
                <a:cubicBezTo>
                  <a:pt x="7092106" y="1494185"/>
                  <a:pt x="7099111" y="1500411"/>
                  <a:pt x="7099111" y="1508973"/>
                </a:cubicBezTo>
                <a:cubicBezTo>
                  <a:pt x="7099111" y="1516756"/>
                  <a:pt x="7092106" y="1523761"/>
                  <a:pt x="7084322" y="1523761"/>
                </a:cubicBezTo>
                <a:cubicBezTo>
                  <a:pt x="7075760" y="1523761"/>
                  <a:pt x="7069533" y="1516756"/>
                  <a:pt x="7069533" y="1508973"/>
                </a:cubicBezTo>
                <a:cubicBezTo>
                  <a:pt x="7069533" y="1500411"/>
                  <a:pt x="7075760" y="1494185"/>
                  <a:pt x="7084322" y="1494185"/>
                </a:cubicBezTo>
                <a:close/>
                <a:moveTo>
                  <a:pt x="7013492" y="1494185"/>
                </a:moveTo>
                <a:cubicBezTo>
                  <a:pt x="7021275" y="1494185"/>
                  <a:pt x="7028280" y="1500411"/>
                  <a:pt x="7028280" y="1508973"/>
                </a:cubicBezTo>
                <a:cubicBezTo>
                  <a:pt x="7028280" y="1516756"/>
                  <a:pt x="7021275" y="1523761"/>
                  <a:pt x="7013492" y="1523761"/>
                </a:cubicBezTo>
                <a:cubicBezTo>
                  <a:pt x="7004930" y="1523761"/>
                  <a:pt x="6998704" y="1516756"/>
                  <a:pt x="6998704" y="1508973"/>
                </a:cubicBezTo>
                <a:cubicBezTo>
                  <a:pt x="6998704" y="1500411"/>
                  <a:pt x="7004930" y="1494185"/>
                  <a:pt x="7013492" y="1494185"/>
                </a:cubicBezTo>
                <a:close/>
                <a:moveTo>
                  <a:pt x="6939085" y="1494185"/>
                </a:moveTo>
                <a:cubicBezTo>
                  <a:pt x="6946378" y="1494185"/>
                  <a:pt x="6950753" y="1500411"/>
                  <a:pt x="6950753" y="1508973"/>
                </a:cubicBezTo>
                <a:cubicBezTo>
                  <a:pt x="6950753" y="1516756"/>
                  <a:pt x="6946378" y="1523761"/>
                  <a:pt x="6939085" y="1523761"/>
                </a:cubicBezTo>
                <a:cubicBezTo>
                  <a:pt x="6931063" y="1523761"/>
                  <a:pt x="6924500" y="1516756"/>
                  <a:pt x="6924500" y="1508973"/>
                </a:cubicBezTo>
                <a:cubicBezTo>
                  <a:pt x="6924500" y="1500411"/>
                  <a:pt x="6931063" y="1494185"/>
                  <a:pt x="6939085" y="1494185"/>
                </a:cubicBezTo>
                <a:close/>
                <a:moveTo>
                  <a:pt x="83229" y="1426727"/>
                </a:moveTo>
                <a:cubicBezTo>
                  <a:pt x="90521" y="1426727"/>
                  <a:pt x="97085" y="1431102"/>
                  <a:pt x="97085" y="1439124"/>
                </a:cubicBezTo>
                <a:cubicBezTo>
                  <a:pt x="97085" y="1446417"/>
                  <a:pt x="90521" y="1452980"/>
                  <a:pt x="83229" y="1452980"/>
                </a:cubicBezTo>
                <a:cubicBezTo>
                  <a:pt x="76665" y="1452980"/>
                  <a:pt x="70831" y="1446417"/>
                  <a:pt x="70831" y="1439124"/>
                </a:cubicBezTo>
                <a:cubicBezTo>
                  <a:pt x="70831" y="1432561"/>
                  <a:pt x="76665" y="1426727"/>
                  <a:pt x="83229" y="1426727"/>
                </a:cubicBezTo>
                <a:close/>
                <a:moveTo>
                  <a:pt x="11993" y="1426727"/>
                </a:moveTo>
                <a:cubicBezTo>
                  <a:pt x="20237" y="1426727"/>
                  <a:pt x="26234" y="1432561"/>
                  <a:pt x="26234" y="1439124"/>
                </a:cubicBezTo>
                <a:cubicBezTo>
                  <a:pt x="26234" y="1446417"/>
                  <a:pt x="20237" y="1452980"/>
                  <a:pt x="11993" y="1452980"/>
                </a:cubicBezTo>
                <a:cubicBezTo>
                  <a:pt x="5996" y="1452980"/>
                  <a:pt x="0" y="1446417"/>
                  <a:pt x="0" y="1439124"/>
                </a:cubicBezTo>
                <a:cubicBezTo>
                  <a:pt x="0" y="1432561"/>
                  <a:pt x="5996" y="1426727"/>
                  <a:pt x="11993" y="1426727"/>
                </a:cubicBezTo>
                <a:close/>
                <a:moveTo>
                  <a:pt x="7370084" y="1423353"/>
                </a:moveTo>
                <a:cubicBezTo>
                  <a:pt x="7376647" y="1423353"/>
                  <a:pt x="7382481" y="1429580"/>
                  <a:pt x="7382481" y="1438142"/>
                </a:cubicBezTo>
                <a:cubicBezTo>
                  <a:pt x="7382481" y="1445926"/>
                  <a:pt x="7376647" y="1452931"/>
                  <a:pt x="7370084" y="1452931"/>
                </a:cubicBezTo>
                <a:cubicBezTo>
                  <a:pt x="7362791" y="1452931"/>
                  <a:pt x="7356228" y="1445926"/>
                  <a:pt x="7356228" y="1438142"/>
                </a:cubicBezTo>
                <a:cubicBezTo>
                  <a:pt x="7356228" y="1429580"/>
                  <a:pt x="7362791" y="1423353"/>
                  <a:pt x="7370084" y="1423353"/>
                </a:cubicBezTo>
                <a:close/>
                <a:moveTo>
                  <a:pt x="7294422" y="1423353"/>
                </a:moveTo>
                <a:cubicBezTo>
                  <a:pt x="7302444" y="1423353"/>
                  <a:pt x="7308278" y="1429580"/>
                  <a:pt x="7308278" y="1438142"/>
                </a:cubicBezTo>
                <a:cubicBezTo>
                  <a:pt x="7308278" y="1445926"/>
                  <a:pt x="7302444" y="1452931"/>
                  <a:pt x="7294422" y="1452931"/>
                </a:cubicBezTo>
                <a:cubicBezTo>
                  <a:pt x="7288588" y="1452931"/>
                  <a:pt x="7282025" y="1445926"/>
                  <a:pt x="7282025" y="1438142"/>
                </a:cubicBezTo>
                <a:cubicBezTo>
                  <a:pt x="7282025" y="1429580"/>
                  <a:pt x="7288588" y="1423353"/>
                  <a:pt x="7294422" y="1423353"/>
                </a:cubicBezTo>
                <a:close/>
                <a:moveTo>
                  <a:pt x="7223591" y="1423353"/>
                </a:moveTo>
                <a:cubicBezTo>
                  <a:pt x="7231613" y="1423353"/>
                  <a:pt x="7237447" y="1429580"/>
                  <a:pt x="7237447" y="1438142"/>
                </a:cubicBezTo>
                <a:cubicBezTo>
                  <a:pt x="7237447" y="1445926"/>
                  <a:pt x="7231613" y="1452931"/>
                  <a:pt x="7223591" y="1452931"/>
                </a:cubicBezTo>
                <a:cubicBezTo>
                  <a:pt x="7217757" y="1452931"/>
                  <a:pt x="7211194" y="1445926"/>
                  <a:pt x="7211194" y="1438142"/>
                </a:cubicBezTo>
                <a:cubicBezTo>
                  <a:pt x="7211194" y="1429580"/>
                  <a:pt x="7215569" y="1423353"/>
                  <a:pt x="7223591" y="1423353"/>
                </a:cubicBezTo>
                <a:close/>
                <a:moveTo>
                  <a:pt x="7155152" y="1423353"/>
                </a:moveTo>
                <a:cubicBezTo>
                  <a:pt x="7163714" y="1423353"/>
                  <a:pt x="7169940" y="1429580"/>
                  <a:pt x="7169940" y="1438142"/>
                </a:cubicBezTo>
                <a:cubicBezTo>
                  <a:pt x="7169940" y="1445926"/>
                  <a:pt x="7163714" y="1452931"/>
                  <a:pt x="7155152" y="1452931"/>
                </a:cubicBezTo>
                <a:cubicBezTo>
                  <a:pt x="7146590" y="1452931"/>
                  <a:pt x="7141920" y="1445926"/>
                  <a:pt x="7141920" y="1438142"/>
                </a:cubicBezTo>
                <a:cubicBezTo>
                  <a:pt x="7140364" y="1429580"/>
                  <a:pt x="7146590" y="1423353"/>
                  <a:pt x="7155152" y="1423353"/>
                </a:cubicBezTo>
                <a:close/>
                <a:moveTo>
                  <a:pt x="7084322" y="1423353"/>
                </a:moveTo>
                <a:cubicBezTo>
                  <a:pt x="7092106" y="1423353"/>
                  <a:pt x="7099111" y="1429580"/>
                  <a:pt x="7099111" y="1438142"/>
                </a:cubicBezTo>
                <a:cubicBezTo>
                  <a:pt x="7099111" y="1445926"/>
                  <a:pt x="7092106" y="1452931"/>
                  <a:pt x="7084322" y="1452931"/>
                </a:cubicBezTo>
                <a:cubicBezTo>
                  <a:pt x="7075760" y="1452931"/>
                  <a:pt x="7069533" y="1445926"/>
                  <a:pt x="7069533" y="1438142"/>
                </a:cubicBezTo>
                <a:cubicBezTo>
                  <a:pt x="7069533" y="1429580"/>
                  <a:pt x="7075760" y="1423353"/>
                  <a:pt x="7084322" y="1423353"/>
                </a:cubicBezTo>
                <a:close/>
                <a:moveTo>
                  <a:pt x="7013492" y="1423353"/>
                </a:moveTo>
                <a:cubicBezTo>
                  <a:pt x="7021275" y="1423353"/>
                  <a:pt x="7028280" y="1429580"/>
                  <a:pt x="7028280" y="1438142"/>
                </a:cubicBezTo>
                <a:cubicBezTo>
                  <a:pt x="7028280" y="1445926"/>
                  <a:pt x="7021275" y="1452931"/>
                  <a:pt x="7013492" y="1452931"/>
                </a:cubicBezTo>
                <a:cubicBezTo>
                  <a:pt x="7004930" y="1452931"/>
                  <a:pt x="6998704" y="1445926"/>
                  <a:pt x="6998704" y="1438142"/>
                </a:cubicBezTo>
                <a:cubicBezTo>
                  <a:pt x="6998704" y="1429580"/>
                  <a:pt x="7004930" y="1423353"/>
                  <a:pt x="7013492" y="1423353"/>
                </a:cubicBezTo>
                <a:close/>
                <a:moveTo>
                  <a:pt x="6939085" y="1423353"/>
                </a:moveTo>
                <a:cubicBezTo>
                  <a:pt x="6946378" y="1423353"/>
                  <a:pt x="6950753" y="1429580"/>
                  <a:pt x="6950753" y="1438142"/>
                </a:cubicBezTo>
                <a:cubicBezTo>
                  <a:pt x="6950753" y="1445926"/>
                  <a:pt x="6946378" y="1452931"/>
                  <a:pt x="6939085" y="1452931"/>
                </a:cubicBezTo>
                <a:cubicBezTo>
                  <a:pt x="6931063" y="1452931"/>
                  <a:pt x="6924500" y="1445926"/>
                  <a:pt x="6924500" y="1438142"/>
                </a:cubicBezTo>
                <a:cubicBezTo>
                  <a:pt x="6924500" y="1429580"/>
                  <a:pt x="6931063" y="1423353"/>
                  <a:pt x="6939085" y="1423353"/>
                </a:cubicBezTo>
                <a:close/>
                <a:moveTo>
                  <a:pt x="6867525" y="1423353"/>
                </a:moveTo>
                <a:cubicBezTo>
                  <a:pt x="6874088" y="1423353"/>
                  <a:pt x="6879922" y="1429580"/>
                  <a:pt x="6879922" y="1438142"/>
                </a:cubicBezTo>
                <a:cubicBezTo>
                  <a:pt x="6879922" y="1445926"/>
                  <a:pt x="6874088" y="1452931"/>
                  <a:pt x="6867525" y="1452931"/>
                </a:cubicBezTo>
                <a:cubicBezTo>
                  <a:pt x="6860232" y="1452931"/>
                  <a:pt x="6853669" y="1445926"/>
                  <a:pt x="6853669" y="1438142"/>
                </a:cubicBezTo>
                <a:cubicBezTo>
                  <a:pt x="6853669" y="1429580"/>
                  <a:pt x="6860232" y="1423353"/>
                  <a:pt x="6867525" y="1423353"/>
                </a:cubicBezTo>
                <a:close/>
                <a:moveTo>
                  <a:pt x="6796696" y="1423353"/>
                </a:moveTo>
                <a:cubicBezTo>
                  <a:pt x="6803259" y="1423353"/>
                  <a:pt x="6809093" y="1429580"/>
                  <a:pt x="6809093" y="1438142"/>
                </a:cubicBezTo>
                <a:cubicBezTo>
                  <a:pt x="6809093" y="1445926"/>
                  <a:pt x="6803259" y="1452931"/>
                  <a:pt x="6796696" y="1452931"/>
                </a:cubicBezTo>
                <a:cubicBezTo>
                  <a:pt x="6789403" y="1452931"/>
                  <a:pt x="6782840" y="1445926"/>
                  <a:pt x="6782840" y="1438142"/>
                </a:cubicBezTo>
                <a:cubicBezTo>
                  <a:pt x="6782840" y="1429580"/>
                  <a:pt x="6789403" y="1423353"/>
                  <a:pt x="6796696" y="1423353"/>
                </a:cubicBezTo>
                <a:close/>
                <a:moveTo>
                  <a:pt x="155518" y="1355896"/>
                </a:moveTo>
                <a:cubicBezTo>
                  <a:pt x="161352" y="1355896"/>
                  <a:pt x="167916" y="1360271"/>
                  <a:pt x="167916" y="1368293"/>
                </a:cubicBezTo>
                <a:cubicBezTo>
                  <a:pt x="167916" y="1375586"/>
                  <a:pt x="161352" y="1382149"/>
                  <a:pt x="155518" y="1382149"/>
                </a:cubicBezTo>
                <a:cubicBezTo>
                  <a:pt x="147496" y="1382149"/>
                  <a:pt x="141662" y="1375586"/>
                  <a:pt x="141662" y="1368293"/>
                </a:cubicBezTo>
                <a:cubicBezTo>
                  <a:pt x="141662" y="1360271"/>
                  <a:pt x="147496" y="1355896"/>
                  <a:pt x="155518" y="1355896"/>
                </a:cubicBezTo>
                <a:close/>
                <a:moveTo>
                  <a:pt x="83230" y="1355896"/>
                </a:moveTo>
                <a:cubicBezTo>
                  <a:pt x="90523" y="1355896"/>
                  <a:pt x="97086" y="1360271"/>
                  <a:pt x="97086" y="1368293"/>
                </a:cubicBezTo>
                <a:cubicBezTo>
                  <a:pt x="97086" y="1375586"/>
                  <a:pt x="90523" y="1382149"/>
                  <a:pt x="83230" y="1382149"/>
                </a:cubicBezTo>
                <a:cubicBezTo>
                  <a:pt x="76667" y="1382149"/>
                  <a:pt x="70832" y="1375586"/>
                  <a:pt x="70832" y="1368293"/>
                </a:cubicBezTo>
                <a:cubicBezTo>
                  <a:pt x="70832" y="1360271"/>
                  <a:pt x="76667" y="1355896"/>
                  <a:pt x="83230" y="1355896"/>
                </a:cubicBezTo>
                <a:close/>
                <a:moveTo>
                  <a:pt x="11994" y="1355896"/>
                </a:moveTo>
                <a:cubicBezTo>
                  <a:pt x="20239" y="1355896"/>
                  <a:pt x="26235" y="1360271"/>
                  <a:pt x="26235" y="1368293"/>
                </a:cubicBezTo>
                <a:cubicBezTo>
                  <a:pt x="26235" y="1375586"/>
                  <a:pt x="20239" y="1382149"/>
                  <a:pt x="11994" y="1382149"/>
                </a:cubicBezTo>
                <a:cubicBezTo>
                  <a:pt x="5998" y="1382149"/>
                  <a:pt x="2" y="1375586"/>
                  <a:pt x="2" y="1368293"/>
                </a:cubicBezTo>
                <a:cubicBezTo>
                  <a:pt x="2" y="1360271"/>
                  <a:pt x="5998" y="1355896"/>
                  <a:pt x="11994" y="1355896"/>
                </a:cubicBezTo>
                <a:close/>
                <a:moveTo>
                  <a:pt x="7294422" y="1352524"/>
                </a:moveTo>
                <a:cubicBezTo>
                  <a:pt x="7302444" y="1352524"/>
                  <a:pt x="7308278" y="1359087"/>
                  <a:pt x="7308278" y="1367109"/>
                </a:cubicBezTo>
                <a:cubicBezTo>
                  <a:pt x="7308278" y="1374402"/>
                  <a:pt x="7302444" y="1378777"/>
                  <a:pt x="7294422" y="1378777"/>
                </a:cubicBezTo>
                <a:cubicBezTo>
                  <a:pt x="7288588" y="1378777"/>
                  <a:pt x="7282025" y="1374402"/>
                  <a:pt x="7282025" y="1367109"/>
                </a:cubicBezTo>
                <a:cubicBezTo>
                  <a:pt x="7282025" y="1359087"/>
                  <a:pt x="7288588" y="1352524"/>
                  <a:pt x="7294422" y="1352524"/>
                </a:cubicBezTo>
                <a:close/>
                <a:moveTo>
                  <a:pt x="7223591" y="1352524"/>
                </a:moveTo>
                <a:cubicBezTo>
                  <a:pt x="7231613" y="1352524"/>
                  <a:pt x="7237447" y="1359087"/>
                  <a:pt x="7237447" y="1367109"/>
                </a:cubicBezTo>
                <a:cubicBezTo>
                  <a:pt x="7237447" y="1374402"/>
                  <a:pt x="7231613" y="1378777"/>
                  <a:pt x="7223591" y="1378777"/>
                </a:cubicBezTo>
                <a:cubicBezTo>
                  <a:pt x="7215569" y="1378777"/>
                  <a:pt x="7211194" y="1374402"/>
                  <a:pt x="7211194" y="1367109"/>
                </a:cubicBezTo>
                <a:cubicBezTo>
                  <a:pt x="7211194" y="1359087"/>
                  <a:pt x="7215569" y="1352524"/>
                  <a:pt x="7223591" y="1352524"/>
                </a:cubicBezTo>
                <a:close/>
                <a:moveTo>
                  <a:pt x="7155152" y="1352524"/>
                </a:moveTo>
                <a:cubicBezTo>
                  <a:pt x="7163714" y="1352524"/>
                  <a:pt x="7169940" y="1359087"/>
                  <a:pt x="7169940" y="1367109"/>
                </a:cubicBezTo>
                <a:cubicBezTo>
                  <a:pt x="7169940" y="1374402"/>
                  <a:pt x="7163714" y="1378777"/>
                  <a:pt x="7155152" y="1378777"/>
                </a:cubicBezTo>
                <a:cubicBezTo>
                  <a:pt x="7146590" y="1378777"/>
                  <a:pt x="7140364" y="1374402"/>
                  <a:pt x="7140364" y="1367109"/>
                </a:cubicBezTo>
                <a:cubicBezTo>
                  <a:pt x="7140364" y="1359087"/>
                  <a:pt x="7146590" y="1352524"/>
                  <a:pt x="7155152" y="1352524"/>
                </a:cubicBezTo>
                <a:close/>
                <a:moveTo>
                  <a:pt x="7084322" y="1352524"/>
                </a:moveTo>
                <a:cubicBezTo>
                  <a:pt x="7092106" y="1352524"/>
                  <a:pt x="7099111" y="1359087"/>
                  <a:pt x="7099111" y="1367109"/>
                </a:cubicBezTo>
                <a:cubicBezTo>
                  <a:pt x="7099111" y="1374402"/>
                  <a:pt x="7092106" y="1378777"/>
                  <a:pt x="7084322" y="1378777"/>
                </a:cubicBezTo>
                <a:cubicBezTo>
                  <a:pt x="7075760" y="1378777"/>
                  <a:pt x="7069533" y="1374402"/>
                  <a:pt x="7069533" y="1367109"/>
                </a:cubicBezTo>
                <a:cubicBezTo>
                  <a:pt x="7069533" y="1359087"/>
                  <a:pt x="7075760" y="1352524"/>
                  <a:pt x="7084322" y="1352524"/>
                </a:cubicBezTo>
                <a:close/>
                <a:moveTo>
                  <a:pt x="7013492" y="1352524"/>
                </a:moveTo>
                <a:cubicBezTo>
                  <a:pt x="7021275" y="1352524"/>
                  <a:pt x="7028280" y="1359087"/>
                  <a:pt x="7028280" y="1367109"/>
                </a:cubicBezTo>
                <a:cubicBezTo>
                  <a:pt x="7028280" y="1374402"/>
                  <a:pt x="7021275" y="1378777"/>
                  <a:pt x="7013492" y="1378777"/>
                </a:cubicBezTo>
                <a:cubicBezTo>
                  <a:pt x="7004930" y="1378777"/>
                  <a:pt x="6998704" y="1374402"/>
                  <a:pt x="6998704" y="1367109"/>
                </a:cubicBezTo>
                <a:cubicBezTo>
                  <a:pt x="6998704" y="1359087"/>
                  <a:pt x="7004930" y="1352524"/>
                  <a:pt x="7013492" y="1352524"/>
                </a:cubicBezTo>
                <a:close/>
                <a:moveTo>
                  <a:pt x="6939085" y="1352524"/>
                </a:moveTo>
                <a:cubicBezTo>
                  <a:pt x="6946378" y="1352524"/>
                  <a:pt x="6950753" y="1359354"/>
                  <a:pt x="6950753" y="1367701"/>
                </a:cubicBezTo>
                <a:cubicBezTo>
                  <a:pt x="6950753" y="1375290"/>
                  <a:pt x="6946378" y="1382120"/>
                  <a:pt x="6939085" y="1382120"/>
                </a:cubicBezTo>
                <a:cubicBezTo>
                  <a:pt x="6931063" y="1382120"/>
                  <a:pt x="6924500" y="1375290"/>
                  <a:pt x="6924500" y="1367701"/>
                </a:cubicBezTo>
                <a:cubicBezTo>
                  <a:pt x="6924500" y="1359354"/>
                  <a:pt x="6931063" y="1352524"/>
                  <a:pt x="6939085" y="1352524"/>
                </a:cubicBezTo>
                <a:close/>
                <a:moveTo>
                  <a:pt x="6867525" y="1352524"/>
                </a:moveTo>
                <a:cubicBezTo>
                  <a:pt x="6874088" y="1352524"/>
                  <a:pt x="6879922" y="1359354"/>
                  <a:pt x="6879922" y="1367701"/>
                </a:cubicBezTo>
                <a:cubicBezTo>
                  <a:pt x="6879922" y="1375290"/>
                  <a:pt x="6874088" y="1382120"/>
                  <a:pt x="6867525" y="1382120"/>
                </a:cubicBezTo>
                <a:cubicBezTo>
                  <a:pt x="6860232" y="1382120"/>
                  <a:pt x="6853669" y="1375290"/>
                  <a:pt x="6853669" y="1367701"/>
                </a:cubicBezTo>
                <a:cubicBezTo>
                  <a:pt x="6853669" y="1359354"/>
                  <a:pt x="6860232" y="1352524"/>
                  <a:pt x="6867525" y="1352524"/>
                </a:cubicBezTo>
                <a:close/>
                <a:moveTo>
                  <a:pt x="6796696" y="1352524"/>
                </a:moveTo>
                <a:cubicBezTo>
                  <a:pt x="6803259" y="1352524"/>
                  <a:pt x="6809093" y="1359354"/>
                  <a:pt x="6809093" y="1367701"/>
                </a:cubicBezTo>
                <a:cubicBezTo>
                  <a:pt x="6809093" y="1375290"/>
                  <a:pt x="6803259" y="1382120"/>
                  <a:pt x="6796696" y="1382120"/>
                </a:cubicBezTo>
                <a:cubicBezTo>
                  <a:pt x="6789403" y="1382120"/>
                  <a:pt x="6782840" y="1375290"/>
                  <a:pt x="6782840" y="1367701"/>
                </a:cubicBezTo>
                <a:cubicBezTo>
                  <a:pt x="6782840" y="1359354"/>
                  <a:pt x="6789403" y="1352524"/>
                  <a:pt x="6796696" y="1352524"/>
                </a:cubicBezTo>
                <a:close/>
                <a:moveTo>
                  <a:pt x="6724405" y="1352524"/>
                </a:moveTo>
                <a:cubicBezTo>
                  <a:pt x="6732427" y="1352524"/>
                  <a:pt x="6738261" y="1359354"/>
                  <a:pt x="6738261" y="1367701"/>
                </a:cubicBezTo>
                <a:cubicBezTo>
                  <a:pt x="6738261" y="1375290"/>
                  <a:pt x="6732427" y="1382120"/>
                  <a:pt x="6724405" y="1382120"/>
                </a:cubicBezTo>
                <a:cubicBezTo>
                  <a:pt x="6718571" y="1382120"/>
                  <a:pt x="6712008" y="1375290"/>
                  <a:pt x="6712008" y="1367701"/>
                </a:cubicBezTo>
                <a:cubicBezTo>
                  <a:pt x="6712008" y="1359354"/>
                  <a:pt x="6718571" y="1352524"/>
                  <a:pt x="6724405" y="1352524"/>
                </a:cubicBezTo>
                <a:close/>
                <a:moveTo>
                  <a:pt x="6653576" y="1352524"/>
                </a:moveTo>
                <a:cubicBezTo>
                  <a:pt x="6660869" y="1352524"/>
                  <a:pt x="6667432" y="1359354"/>
                  <a:pt x="6667432" y="1367701"/>
                </a:cubicBezTo>
                <a:cubicBezTo>
                  <a:pt x="6667432" y="1375290"/>
                  <a:pt x="6660869" y="1382120"/>
                  <a:pt x="6653576" y="1382120"/>
                </a:cubicBezTo>
                <a:cubicBezTo>
                  <a:pt x="6647013" y="1382120"/>
                  <a:pt x="6641179" y="1375290"/>
                  <a:pt x="6641179" y="1367701"/>
                </a:cubicBezTo>
                <a:cubicBezTo>
                  <a:pt x="6641179" y="1359354"/>
                  <a:pt x="6647013" y="1352524"/>
                  <a:pt x="6653576" y="1352524"/>
                </a:cubicBezTo>
                <a:close/>
                <a:moveTo>
                  <a:pt x="7223591" y="1281693"/>
                </a:moveTo>
                <a:cubicBezTo>
                  <a:pt x="7231613" y="1281693"/>
                  <a:pt x="7237447" y="1288256"/>
                  <a:pt x="7237447" y="1295549"/>
                </a:cubicBezTo>
                <a:cubicBezTo>
                  <a:pt x="7237447" y="1302112"/>
                  <a:pt x="7231613" y="1307946"/>
                  <a:pt x="7223591" y="1307946"/>
                </a:cubicBezTo>
                <a:cubicBezTo>
                  <a:pt x="7215569" y="1307946"/>
                  <a:pt x="7211194" y="1302112"/>
                  <a:pt x="7211194" y="1295549"/>
                </a:cubicBezTo>
                <a:cubicBezTo>
                  <a:pt x="7211194" y="1288256"/>
                  <a:pt x="7215569" y="1281693"/>
                  <a:pt x="7223591" y="1281693"/>
                </a:cubicBezTo>
                <a:close/>
                <a:moveTo>
                  <a:pt x="7155152" y="1281693"/>
                </a:moveTo>
                <a:cubicBezTo>
                  <a:pt x="7163714" y="1281693"/>
                  <a:pt x="7169940" y="1288256"/>
                  <a:pt x="7169940" y="1295549"/>
                </a:cubicBezTo>
                <a:cubicBezTo>
                  <a:pt x="7169940" y="1302112"/>
                  <a:pt x="7163714" y="1307946"/>
                  <a:pt x="7155152" y="1307946"/>
                </a:cubicBezTo>
                <a:cubicBezTo>
                  <a:pt x="7146590" y="1307946"/>
                  <a:pt x="7140364" y="1302112"/>
                  <a:pt x="7140364" y="1295549"/>
                </a:cubicBezTo>
                <a:cubicBezTo>
                  <a:pt x="7140364" y="1288256"/>
                  <a:pt x="7146590" y="1281693"/>
                  <a:pt x="7155152" y="1281693"/>
                </a:cubicBezTo>
                <a:close/>
                <a:moveTo>
                  <a:pt x="7084322" y="1281693"/>
                </a:moveTo>
                <a:cubicBezTo>
                  <a:pt x="7092106" y="1281693"/>
                  <a:pt x="7099111" y="1288256"/>
                  <a:pt x="7099111" y="1295549"/>
                </a:cubicBezTo>
                <a:cubicBezTo>
                  <a:pt x="7099111" y="1302112"/>
                  <a:pt x="7092106" y="1307946"/>
                  <a:pt x="7084322" y="1307946"/>
                </a:cubicBezTo>
                <a:cubicBezTo>
                  <a:pt x="7075760" y="1307946"/>
                  <a:pt x="7069533" y="1303571"/>
                  <a:pt x="7069533" y="1295549"/>
                </a:cubicBezTo>
                <a:cubicBezTo>
                  <a:pt x="7069533" y="1288256"/>
                  <a:pt x="7075760" y="1281693"/>
                  <a:pt x="7084322" y="1281693"/>
                </a:cubicBezTo>
                <a:close/>
                <a:moveTo>
                  <a:pt x="7013492" y="1281693"/>
                </a:moveTo>
                <a:cubicBezTo>
                  <a:pt x="7021275" y="1281693"/>
                  <a:pt x="7028280" y="1288256"/>
                  <a:pt x="7028280" y="1295549"/>
                </a:cubicBezTo>
                <a:cubicBezTo>
                  <a:pt x="7028280" y="1303571"/>
                  <a:pt x="7021275" y="1307946"/>
                  <a:pt x="7013492" y="1307946"/>
                </a:cubicBezTo>
                <a:cubicBezTo>
                  <a:pt x="7004930" y="1307946"/>
                  <a:pt x="6998704" y="1303571"/>
                  <a:pt x="6998704" y="1295549"/>
                </a:cubicBezTo>
                <a:cubicBezTo>
                  <a:pt x="6998704" y="1288256"/>
                  <a:pt x="7004930" y="1281693"/>
                  <a:pt x="7013492" y="1281693"/>
                </a:cubicBezTo>
                <a:close/>
                <a:moveTo>
                  <a:pt x="6939085" y="1281693"/>
                </a:moveTo>
                <a:cubicBezTo>
                  <a:pt x="6946378" y="1281693"/>
                  <a:pt x="6950753" y="1288256"/>
                  <a:pt x="6950753" y="1295549"/>
                </a:cubicBezTo>
                <a:cubicBezTo>
                  <a:pt x="6950753" y="1303571"/>
                  <a:pt x="6946378" y="1307946"/>
                  <a:pt x="6939085" y="1307946"/>
                </a:cubicBezTo>
                <a:cubicBezTo>
                  <a:pt x="6931063" y="1307946"/>
                  <a:pt x="6924500" y="1303571"/>
                  <a:pt x="6924500" y="1295549"/>
                </a:cubicBezTo>
                <a:cubicBezTo>
                  <a:pt x="6924500" y="1288256"/>
                  <a:pt x="6931063" y="1281693"/>
                  <a:pt x="6939085" y="1281693"/>
                </a:cubicBezTo>
                <a:close/>
                <a:moveTo>
                  <a:pt x="6867525" y="1281693"/>
                </a:moveTo>
                <a:cubicBezTo>
                  <a:pt x="6874088" y="1281693"/>
                  <a:pt x="6879922" y="1288256"/>
                  <a:pt x="6879922" y="1295549"/>
                </a:cubicBezTo>
                <a:cubicBezTo>
                  <a:pt x="6879922" y="1303571"/>
                  <a:pt x="6874088" y="1307946"/>
                  <a:pt x="6867525" y="1307946"/>
                </a:cubicBezTo>
                <a:cubicBezTo>
                  <a:pt x="6860232" y="1307946"/>
                  <a:pt x="6853669" y="1303571"/>
                  <a:pt x="6853669" y="1295549"/>
                </a:cubicBezTo>
                <a:cubicBezTo>
                  <a:pt x="6853669" y="1288256"/>
                  <a:pt x="6860232" y="1281693"/>
                  <a:pt x="6867525" y="1281693"/>
                </a:cubicBezTo>
                <a:close/>
                <a:moveTo>
                  <a:pt x="6796696" y="1281693"/>
                </a:moveTo>
                <a:cubicBezTo>
                  <a:pt x="6803259" y="1281693"/>
                  <a:pt x="6809093" y="1288256"/>
                  <a:pt x="6809093" y="1295549"/>
                </a:cubicBezTo>
                <a:cubicBezTo>
                  <a:pt x="6809093" y="1303571"/>
                  <a:pt x="6803259" y="1307946"/>
                  <a:pt x="6796696" y="1307946"/>
                </a:cubicBezTo>
                <a:cubicBezTo>
                  <a:pt x="6789403" y="1307946"/>
                  <a:pt x="6782840" y="1303571"/>
                  <a:pt x="6782840" y="1295549"/>
                </a:cubicBezTo>
                <a:cubicBezTo>
                  <a:pt x="6782840" y="1288256"/>
                  <a:pt x="6789403" y="1281693"/>
                  <a:pt x="6796696" y="1281693"/>
                </a:cubicBezTo>
                <a:close/>
                <a:moveTo>
                  <a:pt x="6724405" y="1281693"/>
                </a:moveTo>
                <a:cubicBezTo>
                  <a:pt x="6732427" y="1281693"/>
                  <a:pt x="6738261" y="1288256"/>
                  <a:pt x="6738261" y="1295549"/>
                </a:cubicBezTo>
                <a:cubicBezTo>
                  <a:pt x="6738261" y="1303571"/>
                  <a:pt x="6732427" y="1307946"/>
                  <a:pt x="6724405" y="1307946"/>
                </a:cubicBezTo>
                <a:cubicBezTo>
                  <a:pt x="6718571" y="1307946"/>
                  <a:pt x="6712008" y="1303571"/>
                  <a:pt x="6712008" y="1295549"/>
                </a:cubicBezTo>
                <a:cubicBezTo>
                  <a:pt x="6712008" y="1288256"/>
                  <a:pt x="6718571" y="1281693"/>
                  <a:pt x="6724405" y="1281693"/>
                </a:cubicBezTo>
                <a:close/>
                <a:moveTo>
                  <a:pt x="6653576" y="1281693"/>
                </a:moveTo>
                <a:cubicBezTo>
                  <a:pt x="6660869" y="1281693"/>
                  <a:pt x="6667432" y="1288256"/>
                  <a:pt x="6667432" y="1295549"/>
                </a:cubicBezTo>
                <a:cubicBezTo>
                  <a:pt x="6667432" y="1303571"/>
                  <a:pt x="6660869" y="1307946"/>
                  <a:pt x="6653576" y="1307946"/>
                </a:cubicBezTo>
                <a:cubicBezTo>
                  <a:pt x="6647013" y="1307946"/>
                  <a:pt x="6641179" y="1303571"/>
                  <a:pt x="6641179" y="1295549"/>
                </a:cubicBezTo>
                <a:cubicBezTo>
                  <a:pt x="6641179" y="1288256"/>
                  <a:pt x="6647013" y="1281693"/>
                  <a:pt x="6653576" y="1281693"/>
                </a:cubicBezTo>
                <a:close/>
                <a:moveTo>
                  <a:pt x="6582745" y="1281693"/>
                </a:moveTo>
                <a:cubicBezTo>
                  <a:pt x="6590038" y="1281693"/>
                  <a:pt x="6596601" y="1288256"/>
                  <a:pt x="6596601" y="1295549"/>
                </a:cubicBezTo>
                <a:cubicBezTo>
                  <a:pt x="6596601" y="1303571"/>
                  <a:pt x="6590038" y="1307946"/>
                  <a:pt x="6582745" y="1307946"/>
                </a:cubicBezTo>
                <a:cubicBezTo>
                  <a:pt x="6574723" y="1307946"/>
                  <a:pt x="6570348" y="1303571"/>
                  <a:pt x="6570348" y="1295549"/>
                </a:cubicBezTo>
                <a:cubicBezTo>
                  <a:pt x="6570348" y="1288256"/>
                  <a:pt x="6574723" y="1281693"/>
                  <a:pt x="6582745" y="1281693"/>
                </a:cubicBezTo>
                <a:close/>
                <a:moveTo>
                  <a:pt x="6510933" y="1281693"/>
                </a:moveTo>
                <a:cubicBezTo>
                  <a:pt x="6518717" y="1281693"/>
                  <a:pt x="6525722" y="1288256"/>
                  <a:pt x="6525722" y="1295549"/>
                </a:cubicBezTo>
                <a:cubicBezTo>
                  <a:pt x="6525722" y="1303571"/>
                  <a:pt x="6518717" y="1307946"/>
                  <a:pt x="6510933" y="1307946"/>
                </a:cubicBezTo>
                <a:cubicBezTo>
                  <a:pt x="6502371" y="1307946"/>
                  <a:pt x="6496144" y="1303571"/>
                  <a:pt x="6496144" y="1295549"/>
                </a:cubicBezTo>
                <a:cubicBezTo>
                  <a:pt x="6496144" y="1288256"/>
                  <a:pt x="6502371" y="1281693"/>
                  <a:pt x="6510933" y="1281693"/>
                </a:cubicBezTo>
                <a:close/>
                <a:moveTo>
                  <a:pt x="6440492" y="1281693"/>
                </a:moveTo>
                <a:cubicBezTo>
                  <a:pt x="6448081" y="1281693"/>
                  <a:pt x="6454911" y="1288256"/>
                  <a:pt x="6454911" y="1295549"/>
                </a:cubicBezTo>
                <a:cubicBezTo>
                  <a:pt x="6454911" y="1303571"/>
                  <a:pt x="6448081" y="1307946"/>
                  <a:pt x="6440492" y="1307946"/>
                </a:cubicBezTo>
                <a:cubicBezTo>
                  <a:pt x="6432145" y="1307946"/>
                  <a:pt x="6425315" y="1303571"/>
                  <a:pt x="6425315" y="1295549"/>
                </a:cubicBezTo>
                <a:cubicBezTo>
                  <a:pt x="6425315" y="1288256"/>
                  <a:pt x="6432145" y="1281693"/>
                  <a:pt x="6440492" y="1281693"/>
                </a:cubicBezTo>
                <a:close/>
                <a:moveTo>
                  <a:pt x="6369273" y="1281693"/>
                </a:moveTo>
                <a:cubicBezTo>
                  <a:pt x="6377835" y="1281693"/>
                  <a:pt x="6384062" y="1288698"/>
                  <a:pt x="6384062" y="1296482"/>
                </a:cubicBezTo>
                <a:cubicBezTo>
                  <a:pt x="6384062" y="1305044"/>
                  <a:pt x="6377835" y="1311271"/>
                  <a:pt x="6369273" y="1311271"/>
                </a:cubicBezTo>
                <a:cubicBezTo>
                  <a:pt x="6361489" y="1311271"/>
                  <a:pt x="6354484" y="1305044"/>
                  <a:pt x="6354484" y="1296482"/>
                </a:cubicBezTo>
                <a:cubicBezTo>
                  <a:pt x="6354484" y="1288698"/>
                  <a:pt x="6361489" y="1281693"/>
                  <a:pt x="6369273" y="1281693"/>
                </a:cubicBezTo>
                <a:close/>
                <a:moveTo>
                  <a:pt x="5799257" y="1281693"/>
                </a:moveTo>
                <a:cubicBezTo>
                  <a:pt x="5807819" y="1281693"/>
                  <a:pt x="5814045" y="1288698"/>
                  <a:pt x="5814045" y="1296482"/>
                </a:cubicBezTo>
                <a:cubicBezTo>
                  <a:pt x="5814045" y="1305044"/>
                  <a:pt x="5807819" y="1311271"/>
                  <a:pt x="5799257" y="1311271"/>
                </a:cubicBezTo>
                <a:cubicBezTo>
                  <a:pt x="5791474" y="1311271"/>
                  <a:pt x="5784469" y="1305044"/>
                  <a:pt x="5784469" y="1296482"/>
                </a:cubicBezTo>
                <a:cubicBezTo>
                  <a:pt x="5784469" y="1288698"/>
                  <a:pt x="5791474" y="1281693"/>
                  <a:pt x="5799257" y="1281693"/>
                </a:cubicBezTo>
                <a:close/>
                <a:moveTo>
                  <a:pt x="5724122" y="1281693"/>
                </a:moveTo>
                <a:cubicBezTo>
                  <a:pt x="5732144" y="1281693"/>
                  <a:pt x="5736519" y="1288698"/>
                  <a:pt x="5736519" y="1296482"/>
                </a:cubicBezTo>
                <a:cubicBezTo>
                  <a:pt x="5736519" y="1305044"/>
                  <a:pt x="5732144" y="1311271"/>
                  <a:pt x="5724122" y="1311271"/>
                </a:cubicBezTo>
                <a:cubicBezTo>
                  <a:pt x="5716100" y="1311271"/>
                  <a:pt x="5710266" y="1305044"/>
                  <a:pt x="5710266" y="1296482"/>
                </a:cubicBezTo>
                <a:cubicBezTo>
                  <a:pt x="5710266" y="1288698"/>
                  <a:pt x="5716100" y="1281693"/>
                  <a:pt x="5724122" y="1281693"/>
                </a:cubicBezTo>
                <a:close/>
                <a:moveTo>
                  <a:pt x="5653291" y="1281693"/>
                </a:moveTo>
                <a:cubicBezTo>
                  <a:pt x="5659125" y="1281693"/>
                  <a:pt x="5665688" y="1288698"/>
                  <a:pt x="5665688" y="1296482"/>
                </a:cubicBezTo>
                <a:cubicBezTo>
                  <a:pt x="5665688" y="1305044"/>
                  <a:pt x="5659125" y="1311271"/>
                  <a:pt x="5653291" y="1311271"/>
                </a:cubicBezTo>
                <a:cubicBezTo>
                  <a:pt x="5645269" y="1311271"/>
                  <a:pt x="5639435" y="1305044"/>
                  <a:pt x="5639435" y="1296482"/>
                </a:cubicBezTo>
                <a:cubicBezTo>
                  <a:pt x="5639435" y="1288698"/>
                  <a:pt x="5645269" y="1281693"/>
                  <a:pt x="5653291" y="1281693"/>
                </a:cubicBezTo>
                <a:close/>
                <a:moveTo>
                  <a:pt x="5582461" y="1281693"/>
                </a:moveTo>
                <a:cubicBezTo>
                  <a:pt x="5588295" y="1281693"/>
                  <a:pt x="5594858" y="1288698"/>
                  <a:pt x="5594858" y="1296482"/>
                </a:cubicBezTo>
                <a:cubicBezTo>
                  <a:pt x="5594858" y="1305044"/>
                  <a:pt x="5588295" y="1311271"/>
                  <a:pt x="5582461" y="1311271"/>
                </a:cubicBezTo>
                <a:cubicBezTo>
                  <a:pt x="5574439" y="1311271"/>
                  <a:pt x="5568605" y="1305044"/>
                  <a:pt x="5568605" y="1296482"/>
                </a:cubicBezTo>
                <a:cubicBezTo>
                  <a:pt x="5568605" y="1288698"/>
                  <a:pt x="5574439" y="1281693"/>
                  <a:pt x="5582461" y="1281693"/>
                </a:cubicBezTo>
                <a:close/>
                <a:moveTo>
                  <a:pt x="5510171" y="1281693"/>
                </a:moveTo>
                <a:cubicBezTo>
                  <a:pt x="5517464" y="1281693"/>
                  <a:pt x="5524027" y="1288698"/>
                  <a:pt x="5524027" y="1296482"/>
                </a:cubicBezTo>
                <a:cubicBezTo>
                  <a:pt x="5524027" y="1305044"/>
                  <a:pt x="5517464" y="1311271"/>
                  <a:pt x="5510171" y="1311271"/>
                </a:cubicBezTo>
                <a:cubicBezTo>
                  <a:pt x="5503608" y="1311271"/>
                  <a:pt x="5497774" y="1305044"/>
                  <a:pt x="5497774" y="1296482"/>
                </a:cubicBezTo>
                <a:cubicBezTo>
                  <a:pt x="5497774" y="1288698"/>
                  <a:pt x="5503608" y="1281693"/>
                  <a:pt x="5510171" y="1281693"/>
                </a:cubicBezTo>
                <a:close/>
                <a:moveTo>
                  <a:pt x="5438937" y="1281693"/>
                </a:moveTo>
                <a:cubicBezTo>
                  <a:pt x="5447182" y="1281693"/>
                  <a:pt x="5453178" y="1288698"/>
                  <a:pt x="5453178" y="1296482"/>
                </a:cubicBezTo>
                <a:cubicBezTo>
                  <a:pt x="5453178" y="1305044"/>
                  <a:pt x="5447182" y="1311271"/>
                  <a:pt x="5438937" y="1311271"/>
                </a:cubicBezTo>
                <a:cubicBezTo>
                  <a:pt x="5432941" y="1311271"/>
                  <a:pt x="5426945" y="1305044"/>
                  <a:pt x="5426945" y="1296482"/>
                </a:cubicBezTo>
                <a:cubicBezTo>
                  <a:pt x="5426945" y="1288698"/>
                  <a:pt x="5432941" y="1281693"/>
                  <a:pt x="5438937" y="1281693"/>
                </a:cubicBezTo>
                <a:close/>
                <a:moveTo>
                  <a:pt x="5368510" y="1281693"/>
                </a:moveTo>
                <a:cubicBezTo>
                  <a:pt x="5376532" y="1281693"/>
                  <a:pt x="5382366" y="1288698"/>
                  <a:pt x="5382366" y="1296482"/>
                </a:cubicBezTo>
                <a:cubicBezTo>
                  <a:pt x="5382366" y="1305044"/>
                  <a:pt x="5376532" y="1311271"/>
                  <a:pt x="5368510" y="1311271"/>
                </a:cubicBezTo>
                <a:cubicBezTo>
                  <a:pt x="5361218" y="1311271"/>
                  <a:pt x="5356113" y="1305044"/>
                  <a:pt x="5356113" y="1296482"/>
                </a:cubicBezTo>
                <a:cubicBezTo>
                  <a:pt x="5356113" y="1288698"/>
                  <a:pt x="5361218" y="1281693"/>
                  <a:pt x="5368510" y="1281693"/>
                </a:cubicBezTo>
                <a:close/>
                <a:moveTo>
                  <a:pt x="5296699" y="1281693"/>
                </a:moveTo>
                <a:cubicBezTo>
                  <a:pt x="5305261" y="1281693"/>
                  <a:pt x="5311488" y="1288698"/>
                  <a:pt x="5311488" y="1296482"/>
                </a:cubicBezTo>
                <a:cubicBezTo>
                  <a:pt x="5311488" y="1305044"/>
                  <a:pt x="5305261" y="1311271"/>
                  <a:pt x="5296699" y="1311271"/>
                </a:cubicBezTo>
                <a:cubicBezTo>
                  <a:pt x="5288915" y="1311271"/>
                  <a:pt x="5281910" y="1305044"/>
                  <a:pt x="5281910" y="1296482"/>
                </a:cubicBezTo>
                <a:cubicBezTo>
                  <a:pt x="5281910" y="1288698"/>
                  <a:pt x="5288915" y="1281693"/>
                  <a:pt x="5296699" y="1281693"/>
                </a:cubicBezTo>
                <a:close/>
                <a:moveTo>
                  <a:pt x="5225869" y="1281693"/>
                </a:moveTo>
                <a:cubicBezTo>
                  <a:pt x="5234431" y="1281693"/>
                  <a:pt x="5240657" y="1288698"/>
                  <a:pt x="5240657" y="1296482"/>
                </a:cubicBezTo>
                <a:cubicBezTo>
                  <a:pt x="5240657" y="1305044"/>
                  <a:pt x="5234431" y="1311271"/>
                  <a:pt x="5225869" y="1311271"/>
                </a:cubicBezTo>
                <a:cubicBezTo>
                  <a:pt x="5217307" y="1311271"/>
                  <a:pt x="5211081" y="1305044"/>
                  <a:pt x="5211081" y="1296482"/>
                </a:cubicBezTo>
                <a:cubicBezTo>
                  <a:pt x="5211081" y="1288698"/>
                  <a:pt x="5217307" y="1281693"/>
                  <a:pt x="5225869" y="1281693"/>
                </a:cubicBezTo>
                <a:close/>
                <a:moveTo>
                  <a:pt x="5154105" y="1281693"/>
                </a:moveTo>
                <a:cubicBezTo>
                  <a:pt x="5162127" y="1281693"/>
                  <a:pt x="5166502" y="1288698"/>
                  <a:pt x="5166502" y="1296482"/>
                </a:cubicBezTo>
                <a:cubicBezTo>
                  <a:pt x="5166502" y="1305044"/>
                  <a:pt x="5162127" y="1311271"/>
                  <a:pt x="5154105" y="1311271"/>
                </a:cubicBezTo>
                <a:cubicBezTo>
                  <a:pt x="5146083" y="1311271"/>
                  <a:pt x="5140249" y="1305044"/>
                  <a:pt x="5140249" y="1296482"/>
                </a:cubicBezTo>
                <a:cubicBezTo>
                  <a:pt x="5140249" y="1288698"/>
                  <a:pt x="5146083" y="1281693"/>
                  <a:pt x="5154105" y="1281693"/>
                </a:cubicBezTo>
                <a:close/>
                <a:moveTo>
                  <a:pt x="5083276" y="1281693"/>
                </a:moveTo>
                <a:cubicBezTo>
                  <a:pt x="5089110" y="1281693"/>
                  <a:pt x="5095673" y="1288698"/>
                  <a:pt x="5095673" y="1296482"/>
                </a:cubicBezTo>
                <a:cubicBezTo>
                  <a:pt x="5095673" y="1305044"/>
                  <a:pt x="5089110" y="1311271"/>
                  <a:pt x="5083276" y="1311271"/>
                </a:cubicBezTo>
                <a:cubicBezTo>
                  <a:pt x="5075254" y="1311271"/>
                  <a:pt x="5069420" y="1305044"/>
                  <a:pt x="5069420" y="1296482"/>
                </a:cubicBezTo>
                <a:cubicBezTo>
                  <a:pt x="5069420" y="1288698"/>
                  <a:pt x="5075254" y="1281693"/>
                  <a:pt x="5083276" y="1281693"/>
                </a:cubicBezTo>
                <a:close/>
                <a:moveTo>
                  <a:pt x="5012445" y="1281693"/>
                </a:moveTo>
                <a:cubicBezTo>
                  <a:pt x="5018279" y="1281693"/>
                  <a:pt x="5024842" y="1288698"/>
                  <a:pt x="5024842" y="1296482"/>
                </a:cubicBezTo>
                <a:cubicBezTo>
                  <a:pt x="5024842" y="1305044"/>
                  <a:pt x="5018279" y="1311271"/>
                  <a:pt x="5012445" y="1311271"/>
                </a:cubicBezTo>
                <a:cubicBezTo>
                  <a:pt x="5004423" y="1311271"/>
                  <a:pt x="4998589" y="1305044"/>
                  <a:pt x="4998589" y="1296482"/>
                </a:cubicBezTo>
                <a:cubicBezTo>
                  <a:pt x="4998589" y="1288698"/>
                  <a:pt x="5004423" y="1281693"/>
                  <a:pt x="5012445" y="1281693"/>
                </a:cubicBezTo>
                <a:close/>
                <a:moveTo>
                  <a:pt x="4940157" y="1281693"/>
                </a:moveTo>
                <a:cubicBezTo>
                  <a:pt x="4948179" y="1281693"/>
                  <a:pt x="4954013" y="1288698"/>
                  <a:pt x="4954013" y="1296482"/>
                </a:cubicBezTo>
                <a:cubicBezTo>
                  <a:pt x="4954013" y="1305044"/>
                  <a:pt x="4948179" y="1311271"/>
                  <a:pt x="4940157" y="1311271"/>
                </a:cubicBezTo>
                <a:cubicBezTo>
                  <a:pt x="4934323" y="1311271"/>
                  <a:pt x="4927760" y="1305044"/>
                  <a:pt x="4927760" y="1296482"/>
                </a:cubicBezTo>
                <a:cubicBezTo>
                  <a:pt x="4927760" y="1288698"/>
                  <a:pt x="4934323" y="1281693"/>
                  <a:pt x="4940157" y="1281693"/>
                </a:cubicBezTo>
                <a:close/>
                <a:moveTo>
                  <a:pt x="4865953" y="1281693"/>
                </a:moveTo>
                <a:cubicBezTo>
                  <a:pt x="4873975" y="1281693"/>
                  <a:pt x="4879809" y="1288698"/>
                  <a:pt x="4879809" y="1296482"/>
                </a:cubicBezTo>
                <a:cubicBezTo>
                  <a:pt x="4879809" y="1305044"/>
                  <a:pt x="4873975" y="1311271"/>
                  <a:pt x="4865953" y="1311271"/>
                </a:cubicBezTo>
                <a:cubicBezTo>
                  <a:pt x="4860119" y="1311271"/>
                  <a:pt x="4853556" y="1305044"/>
                  <a:pt x="4853556" y="1296482"/>
                </a:cubicBezTo>
                <a:cubicBezTo>
                  <a:pt x="4853556" y="1288698"/>
                  <a:pt x="4860119" y="1281693"/>
                  <a:pt x="4865953" y="1281693"/>
                </a:cubicBezTo>
                <a:close/>
                <a:moveTo>
                  <a:pt x="4795122" y="1281693"/>
                </a:moveTo>
                <a:cubicBezTo>
                  <a:pt x="4803144" y="1281693"/>
                  <a:pt x="4808978" y="1288698"/>
                  <a:pt x="4808978" y="1296482"/>
                </a:cubicBezTo>
                <a:cubicBezTo>
                  <a:pt x="4808978" y="1305044"/>
                  <a:pt x="4803144" y="1311271"/>
                  <a:pt x="4795122" y="1311271"/>
                </a:cubicBezTo>
                <a:cubicBezTo>
                  <a:pt x="4787830" y="1311271"/>
                  <a:pt x="4782725" y="1305044"/>
                  <a:pt x="4782725" y="1296482"/>
                </a:cubicBezTo>
                <a:cubicBezTo>
                  <a:pt x="4782725" y="1288698"/>
                  <a:pt x="4787830" y="1281693"/>
                  <a:pt x="4795122" y="1281693"/>
                </a:cubicBezTo>
                <a:close/>
                <a:moveTo>
                  <a:pt x="4726684" y="1281693"/>
                </a:moveTo>
                <a:cubicBezTo>
                  <a:pt x="4735246" y="1281693"/>
                  <a:pt x="4741472" y="1288698"/>
                  <a:pt x="4741472" y="1296482"/>
                </a:cubicBezTo>
                <a:cubicBezTo>
                  <a:pt x="4741472" y="1305044"/>
                  <a:pt x="4735246" y="1311271"/>
                  <a:pt x="4726684" y="1311271"/>
                </a:cubicBezTo>
                <a:cubicBezTo>
                  <a:pt x="4718122" y="1311271"/>
                  <a:pt x="4711896" y="1305044"/>
                  <a:pt x="4711896" y="1296482"/>
                </a:cubicBezTo>
                <a:cubicBezTo>
                  <a:pt x="4711896" y="1288698"/>
                  <a:pt x="4718122" y="1281693"/>
                  <a:pt x="4726684" y="1281693"/>
                </a:cubicBezTo>
                <a:close/>
                <a:moveTo>
                  <a:pt x="4655853" y="1281693"/>
                </a:moveTo>
                <a:cubicBezTo>
                  <a:pt x="4663637" y="1281693"/>
                  <a:pt x="4670642" y="1286798"/>
                  <a:pt x="4670642" y="1294090"/>
                </a:cubicBezTo>
                <a:cubicBezTo>
                  <a:pt x="4670642" y="1302112"/>
                  <a:pt x="4663637" y="1307946"/>
                  <a:pt x="4655853" y="1307946"/>
                </a:cubicBezTo>
                <a:cubicBezTo>
                  <a:pt x="4647291" y="1307946"/>
                  <a:pt x="4641064" y="1302112"/>
                  <a:pt x="4641064" y="1294090"/>
                </a:cubicBezTo>
                <a:cubicBezTo>
                  <a:pt x="4641064" y="1286798"/>
                  <a:pt x="4647291" y="1281693"/>
                  <a:pt x="4655853" y="1281693"/>
                </a:cubicBezTo>
                <a:close/>
                <a:moveTo>
                  <a:pt x="4585023" y="1281693"/>
                </a:moveTo>
                <a:cubicBezTo>
                  <a:pt x="4592806" y="1281693"/>
                  <a:pt x="4599811" y="1286798"/>
                  <a:pt x="4599811" y="1294090"/>
                </a:cubicBezTo>
                <a:cubicBezTo>
                  <a:pt x="4599811" y="1302112"/>
                  <a:pt x="4592806" y="1307946"/>
                  <a:pt x="4585023" y="1307946"/>
                </a:cubicBezTo>
                <a:cubicBezTo>
                  <a:pt x="4576461" y="1307946"/>
                  <a:pt x="4570235" y="1302112"/>
                  <a:pt x="4570235" y="1294090"/>
                </a:cubicBezTo>
                <a:cubicBezTo>
                  <a:pt x="4570235" y="1286798"/>
                  <a:pt x="4576461" y="1281693"/>
                  <a:pt x="4585023" y="1281693"/>
                </a:cubicBezTo>
                <a:close/>
                <a:moveTo>
                  <a:pt x="226355" y="1281693"/>
                </a:moveTo>
                <a:cubicBezTo>
                  <a:pt x="232189" y="1281693"/>
                  <a:pt x="238753" y="1288523"/>
                  <a:pt x="238753" y="1296871"/>
                </a:cubicBezTo>
                <a:cubicBezTo>
                  <a:pt x="238753" y="1304461"/>
                  <a:pt x="232189" y="1311291"/>
                  <a:pt x="226355" y="1311291"/>
                </a:cubicBezTo>
                <a:cubicBezTo>
                  <a:pt x="218333" y="1311291"/>
                  <a:pt x="212499" y="1304461"/>
                  <a:pt x="212499" y="1296871"/>
                </a:cubicBezTo>
                <a:cubicBezTo>
                  <a:pt x="212499" y="1288523"/>
                  <a:pt x="218333" y="1281693"/>
                  <a:pt x="226355" y="1281693"/>
                </a:cubicBezTo>
                <a:close/>
                <a:moveTo>
                  <a:pt x="155522" y="1281693"/>
                </a:moveTo>
                <a:cubicBezTo>
                  <a:pt x="161356" y="1281693"/>
                  <a:pt x="167919" y="1288523"/>
                  <a:pt x="167919" y="1296871"/>
                </a:cubicBezTo>
                <a:cubicBezTo>
                  <a:pt x="167919" y="1304461"/>
                  <a:pt x="161356" y="1311291"/>
                  <a:pt x="155522" y="1311291"/>
                </a:cubicBezTo>
                <a:cubicBezTo>
                  <a:pt x="147500" y="1311291"/>
                  <a:pt x="141666" y="1304461"/>
                  <a:pt x="141666" y="1296871"/>
                </a:cubicBezTo>
                <a:cubicBezTo>
                  <a:pt x="141666" y="1288523"/>
                  <a:pt x="147500" y="1281693"/>
                  <a:pt x="155522" y="1281693"/>
                </a:cubicBezTo>
                <a:close/>
                <a:moveTo>
                  <a:pt x="83234" y="1281693"/>
                </a:moveTo>
                <a:cubicBezTo>
                  <a:pt x="90526" y="1281693"/>
                  <a:pt x="97090" y="1288523"/>
                  <a:pt x="97090" y="1296871"/>
                </a:cubicBezTo>
                <a:cubicBezTo>
                  <a:pt x="97090" y="1304461"/>
                  <a:pt x="90526" y="1311291"/>
                  <a:pt x="83234" y="1311291"/>
                </a:cubicBezTo>
                <a:cubicBezTo>
                  <a:pt x="76670" y="1311291"/>
                  <a:pt x="70836" y="1304461"/>
                  <a:pt x="70836" y="1296871"/>
                </a:cubicBezTo>
                <a:cubicBezTo>
                  <a:pt x="70836" y="1288523"/>
                  <a:pt x="76670" y="1281693"/>
                  <a:pt x="83234" y="1281693"/>
                </a:cubicBezTo>
                <a:close/>
                <a:moveTo>
                  <a:pt x="11998" y="1281693"/>
                </a:moveTo>
                <a:cubicBezTo>
                  <a:pt x="20243" y="1281693"/>
                  <a:pt x="26239" y="1288523"/>
                  <a:pt x="26239" y="1296871"/>
                </a:cubicBezTo>
                <a:cubicBezTo>
                  <a:pt x="26239" y="1304461"/>
                  <a:pt x="20243" y="1311291"/>
                  <a:pt x="11998" y="1311291"/>
                </a:cubicBezTo>
                <a:cubicBezTo>
                  <a:pt x="6002" y="1311291"/>
                  <a:pt x="5" y="1304461"/>
                  <a:pt x="5" y="1296871"/>
                </a:cubicBezTo>
                <a:cubicBezTo>
                  <a:pt x="5" y="1288523"/>
                  <a:pt x="4503" y="1281693"/>
                  <a:pt x="11998" y="1281693"/>
                </a:cubicBezTo>
                <a:close/>
                <a:moveTo>
                  <a:pt x="7084322" y="1210863"/>
                </a:moveTo>
                <a:cubicBezTo>
                  <a:pt x="7092106" y="1210863"/>
                  <a:pt x="7099111" y="1217426"/>
                  <a:pt x="7099111" y="1224719"/>
                </a:cubicBezTo>
                <a:cubicBezTo>
                  <a:pt x="7099111" y="1231282"/>
                  <a:pt x="7092106" y="1237116"/>
                  <a:pt x="7084322" y="1237116"/>
                </a:cubicBezTo>
                <a:cubicBezTo>
                  <a:pt x="7075760" y="1237116"/>
                  <a:pt x="7069533" y="1231282"/>
                  <a:pt x="7069533" y="1224719"/>
                </a:cubicBezTo>
                <a:cubicBezTo>
                  <a:pt x="7069533" y="1217426"/>
                  <a:pt x="7075760" y="1210863"/>
                  <a:pt x="7084322" y="1210863"/>
                </a:cubicBezTo>
                <a:close/>
                <a:moveTo>
                  <a:pt x="7013492" y="1210863"/>
                </a:moveTo>
                <a:cubicBezTo>
                  <a:pt x="7021275" y="1210863"/>
                  <a:pt x="7028280" y="1217426"/>
                  <a:pt x="7028280" y="1224719"/>
                </a:cubicBezTo>
                <a:cubicBezTo>
                  <a:pt x="7028280" y="1231282"/>
                  <a:pt x="7021275" y="1237116"/>
                  <a:pt x="7013492" y="1237116"/>
                </a:cubicBezTo>
                <a:cubicBezTo>
                  <a:pt x="7004930" y="1237116"/>
                  <a:pt x="6998704" y="1231282"/>
                  <a:pt x="6998704" y="1224719"/>
                </a:cubicBezTo>
                <a:cubicBezTo>
                  <a:pt x="6998704" y="1217426"/>
                  <a:pt x="7004930" y="1210863"/>
                  <a:pt x="7013492" y="1210863"/>
                </a:cubicBezTo>
                <a:close/>
                <a:moveTo>
                  <a:pt x="6939085" y="1210863"/>
                </a:moveTo>
                <a:cubicBezTo>
                  <a:pt x="6946378" y="1210863"/>
                  <a:pt x="6950753" y="1217426"/>
                  <a:pt x="6950753" y="1224719"/>
                </a:cubicBezTo>
                <a:cubicBezTo>
                  <a:pt x="6950753" y="1231282"/>
                  <a:pt x="6946378" y="1237116"/>
                  <a:pt x="6939085" y="1237116"/>
                </a:cubicBezTo>
                <a:cubicBezTo>
                  <a:pt x="6931063" y="1237116"/>
                  <a:pt x="6924500" y="1231282"/>
                  <a:pt x="6924500" y="1224719"/>
                </a:cubicBezTo>
                <a:cubicBezTo>
                  <a:pt x="6924500" y="1217426"/>
                  <a:pt x="6931063" y="1210863"/>
                  <a:pt x="6939085" y="1210863"/>
                </a:cubicBezTo>
                <a:close/>
                <a:moveTo>
                  <a:pt x="6867525" y="1210863"/>
                </a:moveTo>
                <a:cubicBezTo>
                  <a:pt x="6874088" y="1210863"/>
                  <a:pt x="6879922" y="1217426"/>
                  <a:pt x="6879922" y="1224719"/>
                </a:cubicBezTo>
                <a:cubicBezTo>
                  <a:pt x="6879922" y="1231282"/>
                  <a:pt x="6874088" y="1237116"/>
                  <a:pt x="6867525" y="1237116"/>
                </a:cubicBezTo>
                <a:cubicBezTo>
                  <a:pt x="6860232" y="1237116"/>
                  <a:pt x="6853669" y="1231282"/>
                  <a:pt x="6853669" y="1224719"/>
                </a:cubicBezTo>
                <a:cubicBezTo>
                  <a:pt x="6853669" y="1217426"/>
                  <a:pt x="6860232" y="1210863"/>
                  <a:pt x="6867525" y="1210863"/>
                </a:cubicBezTo>
                <a:close/>
                <a:moveTo>
                  <a:pt x="6796696" y="1210863"/>
                </a:moveTo>
                <a:cubicBezTo>
                  <a:pt x="6803259" y="1210863"/>
                  <a:pt x="6809093" y="1217426"/>
                  <a:pt x="6809093" y="1224719"/>
                </a:cubicBezTo>
                <a:cubicBezTo>
                  <a:pt x="6809093" y="1231282"/>
                  <a:pt x="6803259" y="1237116"/>
                  <a:pt x="6796696" y="1237116"/>
                </a:cubicBezTo>
                <a:cubicBezTo>
                  <a:pt x="6789403" y="1237116"/>
                  <a:pt x="6782840" y="1231282"/>
                  <a:pt x="6782840" y="1224719"/>
                </a:cubicBezTo>
                <a:cubicBezTo>
                  <a:pt x="6782840" y="1217426"/>
                  <a:pt x="6789403" y="1210863"/>
                  <a:pt x="6796696" y="1210863"/>
                </a:cubicBezTo>
                <a:close/>
                <a:moveTo>
                  <a:pt x="6724405" y="1210863"/>
                </a:moveTo>
                <a:cubicBezTo>
                  <a:pt x="6732427" y="1210863"/>
                  <a:pt x="6738261" y="1217426"/>
                  <a:pt x="6738261" y="1224719"/>
                </a:cubicBezTo>
                <a:cubicBezTo>
                  <a:pt x="6738261" y="1231282"/>
                  <a:pt x="6732427" y="1237116"/>
                  <a:pt x="6724405" y="1237116"/>
                </a:cubicBezTo>
                <a:cubicBezTo>
                  <a:pt x="6718571" y="1237116"/>
                  <a:pt x="6712008" y="1231282"/>
                  <a:pt x="6712008" y="1224719"/>
                </a:cubicBezTo>
                <a:cubicBezTo>
                  <a:pt x="6712008" y="1217426"/>
                  <a:pt x="6718571" y="1210863"/>
                  <a:pt x="6724405" y="1210863"/>
                </a:cubicBezTo>
                <a:close/>
                <a:moveTo>
                  <a:pt x="6653576" y="1210863"/>
                </a:moveTo>
                <a:cubicBezTo>
                  <a:pt x="6660869" y="1210863"/>
                  <a:pt x="6667432" y="1217426"/>
                  <a:pt x="6667432" y="1224719"/>
                </a:cubicBezTo>
                <a:cubicBezTo>
                  <a:pt x="6667432" y="1231282"/>
                  <a:pt x="6660869" y="1237116"/>
                  <a:pt x="6653576" y="1237116"/>
                </a:cubicBezTo>
                <a:cubicBezTo>
                  <a:pt x="6647013" y="1237116"/>
                  <a:pt x="6641179" y="1231282"/>
                  <a:pt x="6641179" y="1224719"/>
                </a:cubicBezTo>
                <a:cubicBezTo>
                  <a:pt x="6641179" y="1217426"/>
                  <a:pt x="6647013" y="1210863"/>
                  <a:pt x="6653576" y="1210863"/>
                </a:cubicBezTo>
                <a:close/>
                <a:moveTo>
                  <a:pt x="6582745" y="1210863"/>
                </a:moveTo>
                <a:cubicBezTo>
                  <a:pt x="6590038" y="1210863"/>
                  <a:pt x="6596601" y="1217426"/>
                  <a:pt x="6596601" y="1224719"/>
                </a:cubicBezTo>
                <a:cubicBezTo>
                  <a:pt x="6596601" y="1231282"/>
                  <a:pt x="6590038" y="1237116"/>
                  <a:pt x="6582745" y="1237116"/>
                </a:cubicBezTo>
                <a:cubicBezTo>
                  <a:pt x="6574723" y="1237116"/>
                  <a:pt x="6570348" y="1231282"/>
                  <a:pt x="6570348" y="1224719"/>
                </a:cubicBezTo>
                <a:cubicBezTo>
                  <a:pt x="6570348" y="1217426"/>
                  <a:pt x="6574723" y="1210863"/>
                  <a:pt x="6582745" y="1210863"/>
                </a:cubicBezTo>
                <a:close/>
                <a:moveTo>
                  <a:pt x="6510933" y="1210863"/>
                </a:moveTo>
                <a:cubicBezTo>
                  <a:pt x="6518717" y="1210863"/>
                  <a:pt x="6525722" y="1217426"/>
                  <a:pt x="6525722" y="1224719"/>
                </a:cubicBezTo>
                <a:cubicBezTo>
                  <a:pt x="6525722" y="1231282"/>
                  <a:pt x="6518717" y="1237116"/>
                  <a:pt x="6510933" y="1237116"/>
                </a:cubicBezTo>
                <a:cubicBezTo>
                  <a:pt x="6502371" y="1237116"/>
                  <a:pt x="6496144" y="1231282"/>
                  <a:pt x="6496144" y="1224719"/>
                </a:cubicBezTo>
                <a:cubicBezTo>
                  <a:pt x="6496144" y="1217426"/>
                  <a:pt x="6502371" y="1210863"/>
                  <a:pt x="6510933" y="1210863"/>
                </a:cubicBezTo>
                <a:close/>
                <a:moveTo>
                  <a:pt x="6440492" y="1210863"/>
                </a:moveTo>
                <a:cubicBezTo>
                  <a:pt x="6448081" y="1210863"/>
                  <a:pt x="6454911" y="1217426"/>
                  <a:pt x="6454911" y="1224719"/>
                </a:cubicBezTo>
                <a:cubicBezTo>
                  <a:pt x="6454911" y="1231282"/>
                  <a:pt x="6448081" y="1237116"/>
                  <a:pt x="6440492" y="1237116"/>
                </a:cubicBezTo>
                <a:cubicBezTo>
                  <a:pt x="6432145" y="1237116"/>
                  <a:pt x="6425315" y="1232741"/>
                  <a:pt x="6425315" y="1224719"/>
                </a:cubicBezTo>
                <a:cubicBezTo>
                  <a:pt x="6425315" y="1217426"/>
                  <a:pt x="6432145" y="1210863"/>
                  <a:pt x="6440492" y="1210863"/>
                </a:cubicBezTo>
                <a:close/>
                <a:moveTo>
                  <a:pt x="6368340" y="1210863"/>
                </a:moveTo>
                <a:cubicBezTo>
                  <a:pt x="6376362" y="1210863"/>
                  <a:pt x="6380737" y="1217426"/>
                  <a:pt x="6380737" y="1224719"/>
                </a:cubicBezTo>
                <a:cubicBezTo>
                  <a:pt x="6380737" y="1232741"/>
                  <a:pt x="6376362" y="1237116"/>
                  <a:pt x="6368340" y="1237116"/>
                </a:cubicBezTo>
                <a:cubicBezTo>
                  <a:pt x="6361047" y="1237116"/>
                  <a:pt x="6354484" y="1232741"/>
                  <a:pt x="6354484" y="1224719"/>
                </a:cubicBezTo>
                <a:cubicBezTo>
                  <a:pt x="6354484" y="1217426"/>
                  <a:pt x="6361047" y="1210863"/>
                  <a:pt x="6368340" y="1210863"/>
                </a:cubicBezTo>
                <a:close/>
                <a:moveTo>
                  <a:pt x="6297511" y="1210863"/>
                </a:moveTo>
                <a:cubicBezTo>
                  <a:pt x="6304074" y="1210863"/>
                  <a:pt x="6309908" y="1217426"/>
                  <a:pt x="6309908" y="1224719"/>
                </a:cubicBezTo>
                <a:cubicBezTo>
                  <a:pt x="6309908" y="1232741"/>
                  <a:pt x="6304074" y="1237116"/>
                  <a:pt x="6297511" y="1237116"/>
                </a:cubicBezTo>
                <a:cubicBezTo>
                  <a:pt x="6290218" y="1237116"/>
                  <a:pt x="6283655" y="1232741"/>
                  <a:pt x="6283655" y="1224719"/>
                </a:cubicBezTo>
                <a:cubicBezTo>
                  <a:pt x="6283655" y="1217426"/>
                  <a:pt x="6290218" y="1210863"/>
                  <a:pt x="6297511" y="1210863"/>
                </a:cubicBezTo>
                <a:close/>
                <a:moveTo>
                  <a:pt x="6226679" y="1210863"/>
                </a:moveTo>
                <a:cubicBezTo>
                  <a:pt x="6233242" y="1210863"/>
                  <a:pt x="6239076" y="1217426"/>
                  <a:pt x="6239076" y="1224719"/>
                </a:cubicBezTo>
                <a:cubicBezTo>
                  <a:pt x="6239076" y="1232741"/>
                  <a:pt x="6233242" y="1237116"/>
                  <a:pt x="6226679" y="1237116"/>
                </a:cubicBezTo>
                <a:cubicBezTo>
                  <a:pt x="6219386" y="1237116"/>
                  <a:pt x="6212823" y="1232741"/>
                  <a:pt x="6212823" y="1224719"/>
                </a:cubicBezTo>
                <a:cubicBezTo>
                  <a:pt x="6212823" y="1217426"/>
                  <a:pt x="6219386" y="1210863"/>
                  <a:pt x="6226679" y="1210863"/>
                </a:cubicBezTo>
                <a:close/>
                <a:moveTo>
                  <a:pt x="6154391" y="1210863"/>
                </a:moveTo>
                <a:cubicBezTo>
                  <a:pt x="6161684" y="1210863"/>
                  <a:pt x="6168247" y="1217426"/>
                  <a:pt x="6168247" y="1224719"/>
                </a:cubicBezTo>
                <a:cubicBezTo>
                  <a:pt x="6168247" y="1232741"/>
                  <a:pt x="6161684" y="1237116"/>
                  <a:pt x="6154391" y="1237116"/>
                </a:cubicBezTo>
                <a:cubicBezTo>
                  <a:pt x="6147828" y="1237116"/>
                  <a:pt x="6141994" y="1232741"/>
                  <a:pt x="6141994" y="1224719"/>
                </a:cubicBezTo>
                <a:cubicBezTo>
                  <a:pt x="6141994" y="1217426"/>
                  <a:pt x="6147828" y="1210863"/>
                  <a:pt x="6154391" y="1210863"/>
                </a:cubicBezTo>
                <a:close/>
                <a:moveTo>
                  <a:pt x="6083559" y="1210863"/>
                </a:moveTo>
                <a:cubicBezTo>
                  <a:pt x="6090852" y="1210863"/>
                  <a:pt x="6097415" y="1217426"/>
                  <a:pt x="6097415" y="1224719"/>
                </a:cubicBezTo>
                <a:cubicBezTo>
                  <a:pt x="6097415" y="1232741"/>
                  <a:pt x="6090852" y="1237116"/>
                  <a:pt x="6083559" y="1237116"/>
                </a:cubicBezTo>
                <a:cubicBezTo>
                  <a:pt x="6076996" y="1237116"/>
                  <a:pt x="6071162" y="1232741"/>
                  <a:pt x="6071162" y="1224719"/>
                </a:cubicBezTo>
                <a:cubicBezTo>
                  <a:pt x="6071162" y="1217426"/>
                  <a:pt x="6076996" y="1210863"/>
                  <a:pt x="6083559" y="1210863"/>
                </a:cubicBezTo>
                <a:close/>
                <a:moveTo>
                  <a:pt x="6009356" y="1210863"/>
                </a:moveTo>
                <a:cubicBezTo>
                  <a:pt x="6016649" y="1210863"/>
                  <a:pt x="6023212" y="1217426"/>
                  <a:pt x="6023212" y="1224719"/>
                </a:cubicBezTo>
                <a:cubicBezTo>
                  <a:pt x="6023212" y="1232741"/>
                  <a:pt x="6016649" y="1237116"/>
                  <a:pt x="6009356" y="1237116"/>
                </a:cubicBezTo>
                <a:cubicBezTo>
                  <a:pt x="6001334" y="1237116"/>
                  <a:pt x="5996959" y="1232741"/>
                  <a:pt x="5996959" y="1224719"/>
                </a:cubicBezTo>
                <a:cubicBezTo>
                  <a:pt x="5996959" y="1217426"/>
                  <a:pt x="6001334" y="1210863"/>
                  <a:pt x="6009356" y="1210863"/>
                </a:cubicBezTo>
                <a:close/>
                <a:moveTo>
                  <a:pt x="5940548" y="1210863"/>
                </a:moveTo>
                <a:cubicBezTo>
                  <a:pt x="5948896" y="1210863"/>
                  <a:pt x="5955726" y="1217426"/>
                  <a:pt x="5955726" y="1224719"/>
                </a:cubicBezTo>
                <a:cubicBezTo>
                  <a:pt x="5955726" y="1232741"/>
                  <a:pt x="5948896" y="1237116"/>
                  <a:pt x="5940548" y="1237116"/>
                </a:cubicBezTo>
                <a:cubicBezTo>
                  <a:pt x="5932960" y="1237116"/>
                  <a:pt x="5926130" y="1232741"/>
                  <a:pt x="5926130" y="1224719"/>
                </a:cubicBezTo>
                <a:cubicBezTo>
                  <a:pt x="5926130" y="1217426"/>
                  <a:pt x="5932960" y="1210863"/>
                  <a:pt x="5940548" y="1210863"/>
                </a:cubicBezTo>
                <a:close/>
                <a:moveTo>
                  <a:pt x="5870088" y="1210863"/>
                </a:moveTo>
                <a:cubicBezTo>
                  <a:pt x="5878650" y="1210863"/>
                  <a:pt x="5884877" y="1217426"/>
                  <a:pt x="5884877" y="1224719"/>
                </a:cubicBezTo>
                <a:cubicBezTo>
                  <a:pt x="5884877" y="1232741"/>
                  <a:pt x="5878650" y="1237116"/>
                  <a:pt x="5870088" y="1237116"/>
                </a:cubicBezTo>
                <a:cubicBezTo>
                  <a:pt x="5862304" y="1237116"/>
                  <a:pt x="5855299" y="1232741"/>
                  <a:pt x="5855299" y="1224719"/>
                </a:cubicBezTo>
                <a:cubicBezTo>
                  <a:pt x="5855299" y="1217426"/>
                  <a:pt x="5862304" y="1210863"/>
                  <a:pt x="5870088" y="1210863"/>
                </a:cubicBezTo>
                <a:close/>
                <a:moveTo>
                  <a:pt x="5799257" y="1210863"/>
                </a:moveTo>
                <a:cubicBezTo>
                  <a:pt x="5807819" y="1210863"/>
                  <a:pt x="5814045" y="1217426"/>
                  <a:pt x="5814045" y="1224719"/>
                </a:cubicBezTo>
                <a:cubicBezTo>
                  <a:pt x="5814045" y="1232741"/>
                  <a:pt x="5807819" y="1237116"/>
                  <a:pt x="5799257" y="1237116"/>
                </a:cubicBezTo>
                <a:cubicBezTo>
                  <a:pt x="5791474" y="1237116"/>
                  <a:pt x="5784469" y="1232741"/>
                  <a:pt x="5784469" y="1224719"/>
                </a:cubicBezTo>
                <a:cubicBezTo>
                  <a:pt x="5784469" y="1217426"/>
                  <a:pt x="5791474" y="1210863"/>
                  <a:pt x="5799257" y="1210863"/>
                </a:cubicBezTo>
                <a:close/>
                <a:moveTo>
                  <a:pt x="5724122" y="1210863"/>
                </a:moveTo>
                <a:cubicBezTo>
                  <a:pt x="5732144" y="1210863"/>
                  <a:pt x="5736519" y="1217868"/>
                  <a:pt x="5736519" y="1225651"/>
                </a:cubicBezTo>
                <a:cubicBezTo>
                  <a:pt x="5736519" y="1234213"/>
                  <a:pt x="5732144" y="1240439"/>
                  <a:pt x="5724122" y="1240439"/>
                </a:cubicBezTo>
                <a:cubicBezTo>
                  <a:pt x="5716100" y="1240439"/>
                  <a:pt x="5710266" y="1234213"/>
                  <a:pt x="5710266" y="1225651"/>
                </a:cubicBezTo>
                <a:cubicBezTo>
                  <a:pt x="5710266" y="1217868"/>
                  <a:pt x="5716100" y="1210863"/>
                  <a:pt x="5724122" y="1210863"/>
                </a:cubicBezTo>
                <a:close/>
                <a:moveTo>
                  <a:pt x="5653291" y="1210863"/>
                </a:moveTo>
                <a:cubicBezTo>
                  <a:pt x="5659125" y="1210863"/>
                  <a:pt x="5665688" y="1217868"/>
                  <a:pt x="5665688" y="1225651"/>
                </a:cubicBezTo>
                <a:cubicBezTo>
                  <a:pt x="5665688" y="1234213"/>
                  <a:pt x="5659125" y="1240439"/>
                  <a:pt x="5653291" y="1240439"/>
                </a:cubicBezTo>
                <a:cubicBezTo>
                  <a:pt x="5645269" y="1240439"/>
                  <a:pt x="5639435" y="1234213"/>
                  <a:pt x="5639435" y="1225651"/>
                </a:cubicBezTo>
                <a:cubicBezTo>
                  <a:pt x="5639435" y="1217868"/>
                  <a:pt x="5645269" y="1210863"/>
                  <a:pt x="5653291" y="1210863"/>
                </a:cubicBezTo>
                <a:close/>
                <a:moveTo>
                  <a:pt x="5582461" y="1210863"/>
                </a:moveTo>
                <a:cubicBezTo>
                  <a:pt x="5588295" y="1210863"/>
                  <a:pt x="5594858" y="1217868"/>
                  <a:pt x="5594858" y="1225651"/>
                </a:cubicBezTo>
                <a:cubicBezTo>
                  <a:pt x="5594858" y="1234213"/>
                  <a:pt x="5588295" y="1240439"/>
                  <a:pt x="5582461" y="1240439"/>
                </a:cubicBezTo>
                <a:cubicBezTo>
                  <a:pt x="5574439" y="1240439"/>
                  <a:pt x="5568605" y="1234213"/>
                  <a:pt x="5568605" y="1225651"/>
                </a:cubicBezTo>
                <a:cubicBezTo>
                  <a:pt x="5568605" y="1217868"/>
                  <a:pt x="5574439" y="1210863"/>
                  <a:pt x="5582461" y="1210863"/>
                </a:cubicBezTo>
                <a:close/>
                <a:moveTo>
                  <a:pt x="5510171" y="1210863"/>
                </a:moveTo>
                <a:cubicBezTo>
                  <a:pt x="5517464" y="1210863"/>
                  <a:pt x="5524027" y="1217868"/>
                  <a:pt x="5524027" y="1225651"/>
                </a:cubicBezTo>
                <a:cubicBezTo>
                  <a:pt x="5524027" y="1234213"/>
                  <a:pt x="5517464" y="1240439"/>
                  <a:pt x="5510171" y="1240439"/>
                </a:cubicBezTo>
                <a:cubicBezTo>
                  <a:pt x="5503608" y="1240439"/>
                  <a:pt x="5497774" y="1234213"/>
                  <a:pt x="5497774" y="1225651"/>
                </a:cubicBezTo>
                <a:cubicBezTo>
                  <a:pt x="5497774" y="1217868"/>
                  <a:pt x="5503608" y="1210863"/>
                  <a:pt x="5510171" y="1210863"/>
                </a:cubicBezTo>
                <a:close/>
                <a:moveTo>
                  <a:pt x="5438937" y="1210863"/>
                </a:moveTo>
                <a:cubicBezTo>
                  <a:pt x="5447182" y="1210863"/>
                  <a:pt x="5453178" y="1217868"/>
                  <a:pt x="5453178" y="1225651"/>
                </a:cubicBezTo>
                <a:cubicBezTo>
                  <a:pt x="5453178" y="1234213"/>
                  <a:pt x="5447182" y="1240439"/>
                  <a:pt x="5438937" y="1240439"/>
                </a:cubicBezTo>
                <a:cubicBezTo>
                  <a:pt x="5431442" y="1240439"/>
                  <a:pt x="5426945" y="1234213"/>
                  <a:pt x="5426945" y="1225651"/>
                </a:cubicBezTo>
                <a:cubicBezTo>
                  <a:pt x="5426945" y="1217868"/>
                  <a:pt x="5431442" y="1210863"/>
                  <a:pt x="5438937" y="1210863"/>
                </a:cubicBezTo>
                <a:close/>
                <a:moveTo>
                  <a:pt x="5367530" y="1210863"/>
                </a:moveTo>
                <a:cubicBezTo>
                  <a:pt x="5376092" y="1210863"/>
                  <a:pt x="5382318" y="1217868"/>
                  <a:pt x="5382318" y="1225651"/>
                </a:cubicBezTo>
                <a:cubicBezTo>
                  <a:pt x="5382318" y="1234213"/>
                  <a:pt x="5376092" y="1240439"/>
                  <a:pt x="5367530" y="1240439"/>
                </a:cubicBezTo>
                <a:cubicBezTo>
                  <a:pt x="5359747" y="1240439"/>
                  <a:pt x="5352742" y="1234213"/>
                  <a:pt x="5352742" y="1225651"/>
                </a:cubicBezTo>
                <a:cubicBezTo>
                  <a:pt x="5352742" y="1217868"/>
                  <a:pt x="5359747" y="1210863"/>
                  <a:pt x="5367530" y="1210863"/>
                </a:cubicBezTo>
                <a:close/>
                <a:moveTo>
                  <a:pt x="5296699" y="1210863"/>
                </a:moveTo>
                <a:cubicBezTo>
                  <a:pt x="5305261" y="1210863"/>
                  <a:pt x="5311488" y="1217868"/>
                  <a:pt x="5311488" y="1225651"/>
                </a:cubicBezTo>
                <a:cubicBezTo>
                  <a:pt x="5311488" y="1234213"/>
                  <a:pt x="5305261" y="1240439"/>
                  <a:pt x="5296699" y="1240439"/>
                </a:cubicBezTo>
                <a:cubicBezTo>
                  <a:pt x="5288915" y="1240439"/>
                  <a:pt x="5281910" y="1234213"/>
                  <a:pt x="5281910" y="1225651"/>
                </a:cubicBezTo>
                <a:cubicBezTo>
                  <a:pt x="5281910" y="1217868"/>
                  <a:pt x="5288915" y="1210863"/>
                  <a:pt x="5296699" y="1210863"/>
                </a:cubicBezTo>
                <a:close/>
                <a:moveTo>
                  <a:pt x="5225869" y="1210863"/>
                </a:moveTo>
                <a:cubicBezTo>
                  <a:pt x="5234431" y="1210863"/>
                  <a:pt x="5240657" y="1217868"/>
                  <a:pt x="5240657" y="1225651"/>
                </a:cubicBezTo>
                <a:cubicBezTo>
                  <a:pt x="5240657" y="1234213"/>
                  <a:pt x="5234431" y="1240439"/>
                  <a:pt x="5225869" y="1240439"/>
                </a:cubicBezTo>
                <a:cubicBezTo>
                  <a:pt x="5217307" y="1240439"/>
                  <a:pt x="5211081" y="1234213"/>
                  <a:pt x="5211081" y="1225651"/>
                </a:cubicBezTo>
                <a:cubicBezTo>
                  <a:pt x="5211081" y="1217868"/>
                  <a:pt x="5217307" y="1210863"/>
                  <a:pt x="5225869" y="1210863"/>
                </a:cubicBezTo>
                <a:close/>
                <a:moveTo>
                  <a:pt x="5154105" y="1210863"/>
                </a:moveTo>
                <a:cubicBezTo>
                  <a:pt x="5162127" y="1210863"/>
                  <a:pt x="5166502" y="1217868"/>
                  <a:pt x="5166502" y="1225651"/>
                </a:cubicBezTo>
                <a:cubicBezTo>
                  <a:pt x="5166502" y="1234213"/>
                  <a:pt x="5162127" y="1240439"/>
                  <a:pt x="5154105" y="1240439"/>
                </a:cubicBezTo>
                <a:cubicBezTo>
                  <a:pt x="5146083" y="1240439"/>
                  <a:pt x="5140249" y="1234213"/>
                  <a:pt x="5140249" y="1225651"/>
                </a:cubicBezTo>
                <a:cubicBezTo>
                  <a:pt x="5140249" y="1217868"/>
                  <a:pt x="5146083" y="1210863"/>
                  <a:pt x="5154105" y="1210863"/>
                </a:cubicBezTo>
                <a:close/>
                <a:moveTo>
                  <a:pt x="5083276" y="1210863"/>
                </a:moveTo>
                <a:cubicBezTo>
                  <a:pt x="5089110" y="1210863"/>
                  <a:pt x="5095673" y="1217868"/>
                  <a:pt x="5095673" y="1225651"/>
                </a:cubicBezTo>
                <a:cubicBezTo>
                  <a:pt x="5095673" y="1234213"/>
                  <a:pt x="5089110" y="1240439"/>
                  <a:pt x="5083276" y="1240439"/>
                </a:cubicBezTo>
                <a:cubicBezTo>
                  <a:pt x="5075254" y="1240439"/>
                  <a:pt x="5069420" y="1234213"/>
                  <a:pt x="5069420" y="1225651"/>
                </a:cubicBezTo>
                <a:cubicBezTo>
                  <a:pt x="5069420" y="1217868"/>
                  <a:pt x="5075254" y="1210863"/>
                  <a:pt x="5083276" y="1210863"/>
                </a:cubicBezTo>
                <a:close/>
                <a:moveTo>
                  <a:pt x="5012445" y="1210863"/>
                </a:moveTo>
                <a:cubicBezTo>
                  <a:pt x="5018279" y="1210863"/>
                  <a:pt x="5024842" y="1217868"/>
                  <a:pt x="5024842" y="1225651"/>
                </a:cubicBezTo>
                <a:cubicBezTo>
                  <a:pt x="5024842" y="1234213"/>
                  <a:pt x="5018279" y="1240439"/>
                  <a:pt x="5012445" y="1240439"/>
                </a:cubicBezTo>
                <a:cubicBezTo>
                  <a:pt x="5004423" y="1240439"/>
                  <a:pt x="4998589" y="1234213"/>
                  <a:pt x="4998589" y="1225651"/>
                </a:cubicBezTo>
                <a:cubicBezTo>
                  <a:pt x="4998589" y="1217868"/>
                  <a:pt x="5004423" y="1210863"/>
                  <a:pt x="5012445" y="1210863"/>
                </a:cubicBezTo>
                <a:close/>
                <a:moveTo>
                  <a:pt x="4940157" y="1210863"/>
                </a:moveTo>
                <a:cubicBezTo>
                  <a:pt x="4948179" y="1210863"/>
                  <a:pt x="4954013" y="1217868"/>
                  <a:pt x="4954013" y="1225651"/>
                </a:cubicBezTo>
                <a:cubicBezTo>
                  <a:pt x="4954013" y="1234213"/>
                  <a:pt x="4948179" y="1240439"/>
                  <a:pt x="4940157" y="1240439"/>
                </a:cubicBezTo>
                <a:cubicBezTo>
                  <a:pt x="4934323" y="1240439"/>
                  <a:pt x="4927760" y="1234213"/>
                  <a:pt x="4927760" y="1225651"/>
                </a:cubicBezTo>
                <a:cubicBezTo>
                  <a:pt x="4927760" y="1217868"/>
                  <a:pt x="4934323" y="1210863"/>
                  <a:pt x="4940157" y="1210863"/>
                </a:cubicBezTo>
                <a:close/>
                <a:moveTo>
                  <a:pt x="4865953" y="1210863"/>
                </a:moveTo>
                <a:cubicBezTo>
                  <a:pt x="4873975" y="1210863"/>
                  <a:pt x="4879809" y="1217868"/>
                  <a:pt x="4879809" y="1225651"/>
                </a:cubicBezTo>
                <a:cubicBezTo>
                  <a:pt x="4879809" y="1234213"/>
                  <a:pt x="4873975" y="1240439"/>
                  <a:pt x="4865953" y="1240439"/>
                </a:cubicBezTo>
                <a:cubicBezTo>
                  <a:pt x="4860119" y="1240439"/>
                  <a:pt x="4853556" y="1234213"/>
                  <a:pt x="4853556" y="1225651"/>
                </a:cubicBezTo>
                <a:cubicBezTo>
                  <a:pt x="4853556" y="1217868"/>
                  <a:pt x="4860119" y="1210863"/>
                  <a:pt x="4865953" y="1210863"/>
                </a:cubicBezTo>
                <a:close/>
                <a:moveTo>
                  <a:pt x="4795122" y="1210863"/>
                </a:moveTo>
                <a:cubicBezTo>
                  <a:pt x="4803144" y="1210863"/>
                  <a:pt x="4808978" y="1217868"/>
                  <a:pt x="4808978" y="1225651"/>
                </a:cubicBezTo>
                <a:cubicBezTo>
                  <a:pt x="4808978" y="1234213"/>
                  <a:pt x="4803144" y="1240439"/>
                  <a:pt x="4795122" y="1240439"/>
                </a:cubicBezTo>
                <a:cubicBezTo>
                  <a:pt x="4787830" y="1240439"/>
                  <a:pt x="4782725" y="1234213"/>
                  <a:pt x="4782725" y="1225651"/>
                </a:cubicBezTo>
                <a:cubicBezTo>
                  <a:pt x="4782725" y="1217868"/>
                  <a:pt x="4787830" y="1210863"/>
                  <a:pt x="4795122" y="1210863"/>
                </a:cubicBezTo>
                <a:close/>
                <a:moveTo>
                  <a:pt x="4726684" y="1210863"/>
                </a:moveTo>
                <a:cubicBezTo>
                  <a:pt x="4735246" y="1210863"/>
                  <a:pt x="4741472" y="1217868"/>
                  <a:pt x="4741472" y="1225651"/>
                </a:cubicBezTo>
                <a:cubicBezTo>
                  <a:pt x="4741472" y="1234213"/>
                  <a:pt x="4735246" y="1240439"/>
                  <a:pt x="4726684" y="1240439"/>
                </a:cubicBezTo>
                <a:cubicBezTo>
                  <a:pt x="4718122" y="1240439"/>
                  <a:pt x="4711896" y="1234213"/>
                  <a:pt x="4711896" y="1225651"/>
                </a:cubicBezTo>
                <a:cubicBezTo>
                  <a:pt x="4711896" y="1217868"/>
                  <a:pt x="4718122" y="1210863"/>
                  <a:pt x="4726684" y="1210863"/>
                </a:cubicBezTo>
                <a:close/>
                <a:moveTo>
                  <a:pt x="4655853" y="1210863"/>
                </a:moveTo>
                <a:cubicBezTo>
                  <a:pt x="4663637" y="1210863"/>
                  <a:pt x="4670642" y="1217868"/>
                  <a:pt x="4670642" y="1225651"/>
                </a:cubicBezTo>
                <a:cubicBezTo>
                  <a:pt x="4670642" y="1234213"/>
                  <a:pt x="4663637" y="1240439"/>
                  <a:pt x="4655853" y="1240439"/>
                </a:cubicBezTo>
                <a:cubicBezTo>
                  <a:pt x="4647291" y="1240439"/>
                  <a:pt x="4641064" y="1234213"/>
                  <a:pt x="4641064" y="1225651"/>
                </a:cubicBezTo>
                <a:cubicBezTo>
                  <a:pt x="4641064" y="1217868"/>
                  <a:pt x="4647291" y="1210863"/>
                  <a:pt x="4655853" y="1210863"/>
                </a:cubicBezTo>
                <a:close/>
                <a:moveTo>
                  <a:pt x="4585023" y="1210863"/>
                </a:moveTo>
                <a:cubicBezTo>
                  <a:pt x="4592806" y="1210863"/>
                  <a:pt x="4599811" y="1217868"/>
                  <a:pt x="4599811" y="1225651"/>
                </a:cubicBezTo>
                <a:cubicBezTo>
                  <a:pt x="4599811" y="1234213"/>
                  <a:pt x="4592806" y="1240439"/>
                  <a:pt x="4585023" y="1240439"/>
                </a:cubicBezTo>
                <a:cubicBezTo>
                  <a:pt x="4576461" y="1240439"/>
                  <a:pt x="4570235" y="1234213"/>
                  <a:pt x="4570235" y="1225651"/>
                </a:cubicBezTo>
                <a:cubicBezTo>
                  <a:pt x="4570235" y="1217868"/>
                  <a:pt x="4576461" y="1210863"/>
                  <a:pt x="4585023" y="1210863"/>
                </a:cubicBezTo>
                <a:close/>
                <a:moveTo>
                  <a:pt x="4513260" y="1210863"/>
                </a:moveTo>
                <a:cubicBezTo>
                  <a:pt x="4520553" y="1210863"/>
                  <a:pt x="4525657" y="1217868"/>
                  <a:pt x="4525657" y="1225651"/>
                </a:cubicBezTo>
                <a:cubicBezTo>
                  <a:pt x="4525657" y="1234213"/>
                  <a:pt x="4520553" y="1240439"/>
                  <a:pt x="4513260" y="1240439"/>
                </a:cubicBezTo>
                <a:cubicBezTo>
                  <a:pt x="4505238" y="1240439"/>
                  <a:pt x="4499404" y="1234213"/>
                  <a:pt x="4499404" y="1225651"/>
                </a:cubicBezTo>
                <a:cubicBezTo>
                  <a:pt x="4499404" y="1217868"/>
                  <a:pt x="4505238" y="1210863"/>
                  <a:pt x="4513260" y="1210863"/>
                </a:cubicBezTo>
                <a:close/>
                <a:moveTo>
                  <a:pt x="4439056" y="1210863"/>
                </a:moveTo>
                <a:cubicBezTo>
                  <a:pt x="4445619" y="1210863"/>
                  <a:pt x="4451453" y="1217868"/>
                  <a:pt x="4451453" y="1225651"/>
                </a:cubicBezTo>
                <a:cubicBezTo>
                  <a:pt x="4451453" y="1234213"/>
                  <a:pt x="4445619" y="1240439"/>
                  <a:pt x="4439056" y="1240439"/>
                </a:cubicBezTo>
                <a:cubicBezTo>
                  <a:pt x="4431763" y="1240439"/>
                  <a:pt x="4425200" y="1234213"/>
                  <a:pt x="4425200" y="1225651"/>
                </a:cubicBezTo>
                <a:cubicBezTo>
                  <a:pt x="4425200" y="1217868"/>
                  <a:pt x="4431763" y="1210863"/>
                  <a:pt x="4439056" y="1210863"/>
                </a:cubicBezTo>
                <a:close/>
                <a:moveTo>
                  <a:pt x="4366768" y="1210863"/>
                </a:moveTo>
                <a:cubicBezTo>
                  <a:pt x="4374790" y="1210863"/>
                  <a:pt x="4380624" y="1217868"/>
                  <a:pt x="4380624" y="1225651"/>
                </a:cubicBezTo>
                <a:cubicBezTo>
                  <a:pt x="4380624" y="1234213"/>
                  <a:pt x="4374790" y="1240439"/>
                  <a:pt x="4366768" y="1240439"/>
                </a:cubicBezTo>
                <a:cubicBezTo>
                  <a:pt x="4360934" y="1240439"/>
                  <a:pt x="4354371" y="1234213"/>
                  <a:pt x="4354371" y="1225651"/>
                </a:cubicBezTo>
                <a:cubicBezTo>
                  <a:pt x="4354371" y="1217868"/>
                  <a:pt x="4360934" y="1210863"/>
                  <a:pt x="4366768" y="1210863"/>
                </a:cubicBezTo>
                <a:close/>
                <a:moveTo>
                  <a:pt x="4295937" y="1210863"/>
                </a:moveTo>
                <a:cubicBezTo>
                  <a:pt x="4303959" y="1210863"/>
                  <a:pt x="4309793" y="1217868"/>
                  <a:pt x="4309793" y="1225651"/>
                </a:cubicBezTo>
                <a:cubicBezTo>
                  <a:pt x="4309793" y="1234213"/>
                  <a:pt x="4303959" y="1240439"/>
                  <a:pt x="4295937" y="1240439"/>
                </a:cubicBezTo>
                <a:cubicBezTo>
                  <a:pt x="4290103" y="1240439"/>
                  <a:pt x="4283540" y="1234213"/>
                  <a:pt x="4283540" y="1225651"/>
                </a:cubicBezTo>
                <a:cubicBezTo>
                  <a:pt x="4283540" y="1217868"/>
                  <a:pt x="4290103" y="1210863"/>
                  <a:pt x="4295937" y="1210863"/>
                </a:cubicBezTo>
                <a:close/>
                <a:moveTo>
                  <a:pt x="368953" y="1210863"/>
                </a:moveTo>
                <a:cubicBezTo>
                  <a:pt x="377515" y="1210863"/>
                  <a:pt x="383742" y="1217868"/>
                  <a:pt x="383742" y="1225651"/>
                </a:cubicBezTo>
                <a:cubicBezTo>
                  <a:pt x="383742" y="1234213"/>
                  <a:pt x="377515" y="1240439"/>
                  <a:pt x="368953" y="1240439"/>
                </a:cubicBezTo>
                <a:cubicBezTo>
                  <a:pt x="361170" y="1240439"/>
                  <a:pt x="354165" y="1234213"/>
                  <a:pt x="354165" y="1225651"/>
                </a:cubicBezTo>
                <a:cubicBezTo>
                  <a:pt x="354165" y="1217868"/>
                  <a:pt x="361170" y="1210863"/>
                  <a:pt x="368953" y="1210863"/>
                </a:cubicBezTo>
                <a:close/>
                <a:moveTo>
                  <a:pt x="297189" y="1210863"/>
                </a:moveTo>
                <a:cubicBezTo>
                  <a:pt x="305211" y="1210863"/>
                  <a:pt x="309586" y="1217868"/>
                  <a:pt x="309586" y="1225651"/>
                </a:cubicBezTo>
                <a:cubicBezTo>
                  <a:pt x="309586" y="1234213"/>
                  <a:pt x="305211" y="1240439"/>
                  <a:pt x="297189" y="1240439"/>
                </a:cubicBezTo>
                <a:cubicBezTo>
                  <a:pt x="289897" y="1240439"/>
                  <a:pt x="283334" y="1234213"/>
                  <a:pt x="283334" y="1225651"/>
                </a:cubicBezTo>
                <a:cubicBezTo>
                  <a:pt x="283334" y="1217868"/>
                  <a:pt x="289897" y="1210863"/>
                  <a:pt x="297189" y="1210863"/>
                </a:cubicBezTo>
                <a:close/>
                <a:moveTo>
                  <a:pt x="226361" y="1210863"/>
                </a:moveTo>
                <a:cubicBezTo>
                  <a:pt x="232195" y="1210863"/>
                  <a:pt x="238759" y="1217868"/>
                  <a:pt x="238759" y="1225651"/>
                </a:cubicBezTo>
                <a:cubicBezTo>
                  <a:pt x="238759" y="1234213"/>
                  <a:pt x="232195" y="1240439"/>
                  <a:pt x="226361" y="1240439"/>
                </a:cubicBezTo>
                <a:cubicBezTo>
                  <a:pt x="218338" y="1240439"/>
                  <a:pt x="212504" y="1234213"/>
                  <a:pt x="212504" y="1225651"/>
                </a:cubicBezTo>
                <a:cubicBezTo>
                  <a:pt x="212504" y="1217868"/>
                  <a:pt x="218338" y="1210863"/>
                  <a:pt x="226361" y="1210863"/>
                </a:cubicBezTo>
                <a:close/>
                <a:moveTo>
                  <a:pt x="155527" y="1210863"/>
                </a:moveTo>
                <a:cubicBezTo>
                  <a:pt x="161361" y="1210863"/>
                  <a:pt x="167924" y="1217868"/>
                  <a:pt x="167924" y="1225651"/>
                </a:cubicBezTo>
                <a:cubicBezTo>
                  <a:pt x="167924" y="1234213"/>
                  <a:pt x="161361" y="1240439"/>
                  <a:pt x="155527" y="1240439"/>
                </a:cubicBezTo>
                <a:cubicBezTo>
                  <a:pt x="147505" y="1240439"/>
                  <a:pt x="141671" y="1234213"/>
                  <a:pt x="141671" y="1225651"/>
                </a:cubicBezTo>
                <a:cubicBezTo>
                  <a:pt x="141671" y="1217868"/>
                  <a:pt x="147505" y="1210863"/>
                  <a:pt x="155527" y="1210863"/>
                </a:cubicBezTo>
                <a:close/>
                <a:moveTo>
                  <a:pt x="83239" y="1210863"/>
                </a:moveTo>
                <a:cubicBezTo>
                  <a:pt x="90531" y="1210863"/>
                  <a:pt x="97095" y="1217868"/>
                  <a:pt x="97095" y="1225651"/>
                </a:cubicBezTo>
                <a:cubicBezTo>
                  <a:pt x="97095" y="1234213"/>
                  <a:pt x="90531" y="1240439"/>
                  <a:pt x="83239" y="1240439"/>
                </a:cubicBezTo>
                <a:cubicBezTo>
                  <a:pt x="76675" y="1240439"/>
                  <a:pt x="70841" y="1234213"/>
                  <a:pt x="70841" y="1225651"/>
                </a:cubicBezTo>
                <a:cubicBezTo>
                  <a:pt x="70841" y="1217868"/>
                  <a:pt x="76675" y="1210863"/>
                  <a:pt x="83239" y="1210863"/>
                </a:cubicBezTo>
                <a:close/>
                <a:moveTo>
                  <a:pt x="12003" y="1210863"/>
                </a:moveTo>
                <a:cubicBezTo>
                  <a:pt x="20248" y="1210863"/>
                  <a:pt x="26244" y="1217868"/>
                  <a:pt x="26244" y="1225651"/>
                </a:cubicBezTo>
                <a:cubicBezTo>
                  <a:pt x="26244" y="1234213"/>
                  <a:pt x="20248" y="1240439"/>
                  <a:pt x="12003" y="1240439"/>
                </a:cubicBezTo>
                <a:cubicBezTo>
                  <a:pt x="4508" y="1240439"/>
                  <a:pt x="10" y="1234213"/>
                  <a:pt x="10" y="1225651"/>
                </a:cubicBezTo>
                <a:cubicBezTo>
                  <a:pt x="10" y="1217868"/>
                  <a:pt x="4508" y="1210863"/>
                  <a:pt x="12003" y="1210863"/>
                </a:cubicBezTo>
                <a:close/>
                <a:moveTo>
                  <a:pt x="7013492" y="1140032"/>
                </a:moveTo>
                <a:cubicBezTo>
                  <a:pt x="7021275" y="1140032"/>
                  <a:pt x="7028280" y="1146595"/>
                  <a:pt x="7028280" y="1152429"/>
                </a:cubicBezTo>
                <a:cubicBezTo>
                  <a:pt x="7028280" y="1160451"/>
                  <a:pt x="7021275" y="1166286"/>
                  <a:pt x="7013492" y="1166286"/>
                </a:cubicBezTo>
                <a:cubicBezTo>
                  <a:pt x="7004930" y="1166286"/>
                  <a:pt x="6998704" y="1160451"/>
                  <a:pt x="6998704" y="1152429"/>
                </a:cubicBezTo>
                <a:cubicBezTo>
                  <a:pt x="6998704" y="1146595"/>
                  <a:pt x="7004930" y="1140032"/>
                  <a:pt x="7013492" y="1140032"/>
                </a:cubicBezTo>
                <a:close/>
                <a:moveTo>
                  <a:pt x="6939085" y="1140032"/>
                </a:moveTo>
                <a:cubicBezTo>
                  <a:pt x="6946378" y="1140032"/>
                  <a:pt x="6950753" y="1146595"/>
                  <a:pt x="6950753" y="1152429"/>
                </a:cubicBezTo>
                <a:cubicBezTo>
                  <a:pt x="6950753" y="1160451"/>
                  <a:pt x="6946378" y="1166286"/>
                  <a:pt x="6939085" y="1166286"/>
                </a:cubicBezTo>
                <a:cubicBezTo>
                  <a:pt x="6931063" y="1166286"/>
                  <a:pt x="6924500" y="1160451"/>
                  <a:pt x="6924500" y="1152429"/>
                </a:cubicBezTo>
                <a:cubicBezTo>
                  <a:pt x="6924500" y="1146595"/>
                  <a:pt x="6931063" y="1140032"/>
                  <a:pt x="6939085" y="1140032"/>
                </a:cubicBezTo>
                <a:close/>
                <a:moveTo>
                  <a:pt x="6867525" y="1140032"/>
                </a:moveTo>
                <a:cubicBezTo>
                  <a:pt x="6874088" y="1140032"/>
                  <a:pt x="6879922" y="1146595"/>
                  <a:pt x="6879922" y="1153888"/>
                </a:cubicBezTo>
                <a:cubicBezTo>
                  <a:pt x="6879922" y="1160451"/>
                  <a:pt x="6874088" y="1166286"/>
                  <a:pt x="6867525" y="1166286"/>
                </a:cubicBezTo>
                <a:cubicBezTo>
                  <a:pt x="6860232" y="1166286"/>
                  <a:pt x="6853669" y="1160451"/>
                  <a:pt x="6853669" y="1153888"/>
                </a:cubicBezTo>
                <a:cubicBezTo>
                  <a:pt x="6853669" y="1146595"/>
                  <a:pt x="6860232" y="1140032"/>
                  <a:pt x="6867525" y="1140032"/>
                </a:cubicBezTo>
                <a:close/>
                <a:moveTo>
                  <a:pt x="6796696" y="1140032"/>
                </a:moveTo>
                <a:cubicBezTo>
                  <a:pt x="6803259" y="1140032"/>
                  <a:pt x="6809093" y="1146595"/>
                  <a:pt x="6809093" y="1153888"/>
                </a:cubicBezTo>
                <a:cubicBezTo>
                  <a:pt x="6809093" y="1160451"/>
                  <a:pt x="6803259" y="1166286"/>
                  <a:pt x="6796696" y="1166286"/>
                </a:cubicBezTo>
                <a:cubicBezTo>
                  <a:pt x="6789403" y="1166286"/>
                  <a:pt x="6782840" y="1160451"/>
                  <a:pt x="6782840" y="1153888"/>
                </a:cubicBezTo>
                <a:cubicBezTo>
                  <a:pt x="6782840" y="1146595"/>
                  <a:pt x="6789403" y="1140032"/>
                  <a:pt x="6796696" y="1140032"/>
                </a:cubicBezTo>
                <a:close/>
                <a:moveTo>
                  <a:pt x="6724405" y="1140032"/>
                </a:moveTo>
                <a:cubicBezTo>
                  <a:pt x="6732427" y="1140032"/>
                  <a:pt x="6738261" y="1146595"/>
                  <a:pt x="6738261" y="1153888"/>
                </a:cubicBezTo>
                <a:cubicBezTo>
                  <a:pt x="6738261" y="1160451"/>
                  <a:pt x="6732427" y="1166286"/>
                  <a:pt x="6724405" y="1166286"/>
                </a:cubicBezTo>
                <a:cubicBezTo>
                  <a:pt x="6718571" y="1166286"/>
                  <a:pt x="6712008" y="1160451"/>
                  <a:pt x="6712008" y="1153888"/>
                </a:cubicBezTo>
                <a:cubicBezTo>
                  <a:pt x="6712008" y="1146595"/>
                  <a:pt x="6718571" y="1140032"/>
                  <a:pt x="6724405" y="1140032"/>
                </a:cubicBezTo>
                <a:close/>
                <a:moveTo>
                  <a:pt x="6653576" y="1140032"/>
                </a:moveTo>
                <a:cubicBezTo>
                  <a:pt x="6660869" y="1140032"/>
                  <a:pt x="6667432" y="1146595"/>
                  <a:pt x="6667432" y="1153888"/>
                </a:cubicBezTo>
                <a:cubicBezTo>
                  <a:pt x="6667432" y="1160451"/>
                  <a:pt x="6660869" y="1166286"/>
                  <a:pt x="6653576" y="1166286"/>
                </a:cubicBezTo>
                <a:cubicBezTo>
                  <a:pt x="6645554" y="1166286"/>
                  <a:pt x="6641179" y="1160451"/>
                  <a:pt x="6641179" y="1153888"/>
                </a:cubicBezTo>
                <a:cubicBezTo>
                  <a:pt x="6641179" y="1146595"/>
                  <a:pt x="6645554" y="1140032"/>
                  <a:pt x="6653576" y="1140032"/>
                </a:cubicBezTo>
                <a:close/>
                <a:moveTo>
                  <a:pt x="6581764" y="1140032"/>
                </a:moveTo>
                <a:cubicBezTo>
                  <a:pt x="6589547" y="1140032"/>
                  <a:pt x="6596552" y="1146595"/>
                  <a:pt x="6596552" y="1153888"/>
                </a:cubicBezTo>
                <a:cubicBezTo>
                  <a:pt x="6596552" y="1160451"/>
                  <a:pt x="6589547" y="1166286"/>
                  <a:pt x="6581764" y="1166286"/>
                </a:cubicBezTo>
                <a:cubicBezTo>
                  <a:pt x="6573202" y="1166286"/>
                  <a:pt x="6566976" y="1160451"/>
                  <a:pt x="6566976" y="1153888"/>
                </a:cubicBezTo>
                <a:cubicBezTo>
                  <a:pt x="6566976" y="1146595"/>
                  <a:pt x="6573202" y="1140032"/>
                  <a:pt x="6581764" y="1140032"/>
                </a:cubicBezTo>
                <a:close/>
                <a:moveTo>
                  <a:pt x="6510933" y="1140032"/>
                </a:moveTo>
                <a:cubicBezTo>
                  <a:pt x="6518717" y="1140032"/>
                  <a:pt x="6525722" y="1146595"/>
                  <a:pt x="6525722" y="1153888"/>
                </a:cubicBezTo>
                <a:cubicBezTo>
                  <a:pt x="6525722" y="1160451"/>
                  <a:pt x="6518717" y="1166286"/>
                  <a:pt x="6510933" y="1166286"/>
                </a:cubicBezTo>
                <a:cubicBezTo>
                  <a:pt x="6502371" y="1166286"/>
                  <a:pt x="6496144" y="1160451"/>
                  <a:pt x="6496144" y="1153888"/>
                </a:cubicBezTo>
                <a:cubicBezTo>
                  <a:pt x="6496144" y="1146595"/>
                  <a:pt x="6502371" y="1140032"/>
                  <a:pt x="6510933" y="1140032"/>
                </a:cubicBezTo>
                <a:close/>
                <a:moveTo>
                  <a:pt x="6440492" y="1140032"/>
                </a:moveTo>
                <a:cubicBezTo>
                  <a:pt x="6448081" y="1140032"/>
                  <a:pt x="6454911" y="1146595"/>
                  <a:pt x="6454911" y="1153888"/>
                </a:cubicBezTo>
                <a:cubicBezTo>
                  <a:pt x="6454911" y="1160451"/>
                  <a:pt x="6448081" y="1166286"/>
                  <a:pt x="6440492" y="1166286"/>
                </a:cubicBezTo>
                <a:cubicBezTo>
                  <a:pt x="6432145" y="1166286"/>
                  <a:pt x="6425315" y="1160451"/>
                  <a:pt x="6425315" y="1153888"/>
                </a:cubicBezTo>
                <a:cubicBezTo>
                  <a:pt x="6425315" y="1146595"/>
                  <a:pt x="6432145" y="1140032"/>
                  <a:pt x="6440492" y="1140032"/>
                </a:cubicBezTo>
                <a:close/>
                <a:moveTo>
                  <a:pt x="6368340" y="1140032"/>
                </a:moveTo>
                <a:cubicBezTo>
                  <a:pt x="6376362" y="1140032"/>
                  <a:pt x="6380737" y="1146595"/>
                  <a:pt x="6380737" y="1153888"/>
                </a:cubicBezTo>
                <a:cubicBezTo>
                  <a:pt x="6380737" y="1160451"/>
                  <a:pt x="6376362" y="1166286"/>
                  <a:pt x="6368340" y="1166286"/>
                </a:cubicBezTo>
                <a:cubicBezTo>
                  <a:pt x="6361047" y="1166286"/>
                  <a:pt x="6354484" y="1160451"/>
                  <a:pt x="6354484" y="1153888"/>
                </a:cubicBezTo>
                <a:cubicBezTo>
                  <a:pt x="6354484" y="1146595"/>
                  <a:pt x="6361047" y="1140032"/>
                  <a:pt x="6368340" y="1140032"/>
                </a:cubicBezTo>
                <a:close/>
                <a:moveTo>
                  <a:pt x="6297511" y="1140032"/>
                </a:moveTo>
                <a:cubicBezTo>
                  <a:pt x="6304074" y="1140032"/>
                  <a:pt x="6309908" y="1146595"/>
                  <a:pt x="6309908" y="1153888"/>
                </a:cubicBezTo>
                <a:cubicBezTo>
                  <a:pt x="6309908" y="1160451"/>
                  <a:pt x="6304074" y="1166286"/>
                  <a:pt x="6297511" y="1166286"/>
                </a:cubicBezTo>
                <a:cubicBezTo>
                  <a:pt x="6290218" y="1166286"/>
                  <a:pt x="6283655" y="1160451"/>
                  <a:pt x="6283655" y="1153888"/>
                </a:cubicBezTo>
                <a:cubicBezTo>
                  <a:pt x="6283655" y="1146595"/>
                  <a:pt x="6290218" y="1140032"/>
                  <a:pt x="6297511" y="1140032"/>
                </a:cubicBezTo>
                <a:close/>
                <a:moveTo>
                  <a:pt x="6226679" y="1140032"/>
                </a:moveTo>
                <a:cubicBezTo>
                  <a:pt x="6233242" y="1140032"/>
                  <a:pt x="6239076" y="1146595"/>
                  <a:pt x="6239076" y="1153888"/>
                </a:cubicBezTo>
                <a:cubicBezTo>
                  <a:pt x="6239076" y="1160451"/>
                  <a:pt x="6233242" y="1166286"/>
                  <a:pt x="6226679" y="1166286"/>
                </a:cubicBezTo>
                <a:cubicBezTo>
                  <a:pt x="6219386" y="1166286"/>
                  <a:pt x="6212823" y="1160451"/>
                  <a:pt x="6212823" y="1153888"/>
                </a:cubicBezTo>
                <a:cubicBezTo>
                  <a:pt x="6212823" y="1146595"/>
                  <a:pt x="6219386" y="1140032"/>
                  <a:pt x="6226679" y="1140032"/>
                </a:cubicBezTo>
                <a:close/>
                <a:moveTo>
                  <a:pt x="6154391" y="1140032"/>
                </a:moveTo>
                <a:cubicBezTo>
                  <a:pt x="6161684" y="1140032"/>
                  <a:pt x="6168247" y="1146595"/>
                  <a:pt x="6168247" y="1153888"/>
                </a:cubicBezTo>
                <a:cubicBezTo>
                  <a:pt x="6168247" y="1160451"/>
                  <a:pt x="6161684" y="1166286"/>
                  <a:pt x="6154391" y="1166286"/>
                </a:cubicBezTo>
                <a:cubicBezTo>
                  <a:pt x="6147828" y="1166286"/>
                  <a:pt x="6141994" y="1160451"/>
                  <a:pt x="6141994" y="1153888"/>
                </a:cubicBezTo>
                <a:cubicBezTo>
                  <a:pt x="6141994" y="1146595"/>
                  <a:pt x="6147828" y="1140032"/>
                  <a:pt x="6154391" y="1140032"/>
                </a:cubicBezTo>
                <a:close/>
                <a:moveTo>
                  <a:pt x="6083559" y="1140032"/>
                </a:moveTo>
                <a:cubicBezTo>
                  <a:pt x="6090852" y="1140032"/>
                  <a:pt x="6097415" y="1146595"/>
                  <a:pt x="6097415" y="1153888"/>
                </a:cubicBezTo>
                <a:cubicBezTo>
                  <a:pt x="6097415" y="1160451"/>
                  <a:pt x="6090852" y="1166286"/>
                  <a:pt x="6083559" y="1166286"/>
                </a:cubicBezTo>
                <a:cubicBezTo>
                  <a:pt x="6076996" y="1166286"/>
                  <a:pt x="6071162" y="1160451"/>
                  <a:pt x="6071162" y="1153888"/>
                </a:cubicBezTo>
                <a:cubicBezTo>
                  <a:pt x="6071162" y="1146595"/>
                  <a:pt x="6076996" y="1140032"/>
                  <a:pt x="6083559" y="1140032"/>
                </a:cubicBezTo>
                <a:close/>
                <a:moveTo>
                  <a:pt x="6009356" y="1140032"/>
                </a:moveTo>
                <a:cubicBezTo>
                  <a:pt x="6016649" y="1140032"/>
                  <a:pt x="6023212" y="1146595"/>
                  <a:pt x="6023212" y="1153888"/>
                </a:cubicBezTo>
                <a:cubicBezTo>
                  <a:pt x="6023212" y="1160451"/>
                  <a:pt x="6016649" y="1166286"/>
                  <a:pt x="6009356" y="1166286"/>
                </a:cubicBezTo>
                <a:cubicBezTo>
                  <a:pt x="6001334" y="1166286"/>
                  <a:pt x="5996959" y="1160451"/>
                  <a:pt x="5996959" y="1153888"/>
                </a:cubicBezTo>
                <a:cubicBezTo>
                  <a:pt x="5996959" y="1146595"/>
                  <a:pt x="6001334" y="1140032"/>
                  <a:pt x="6009356" y="1140032"/>
                </a:cubicBezTo>
                <a:close/>
                <a:moveTo>
                  <a:pt x="5940548" y="1140032"/>
                </a:moveTo>
                <a:cubicBezTo>
                  <a:pt x="5948896" y="1140032"/>
                  <a:pt x="5955726" y="1146595"/>
                  <a:pt x="5955726" y="1153888"/>
                </a:cubicBezTo>
                <a:cubicBezTo>
                  <a:pt x="5955726" y="1160451"/>
                  <a:pt x="5948896" y="1166286"/>
                  <a:pt x="5940548" y="1166286"/>
                </a:cubicBezTo>
                <a:cubicBezTo>
                  <a:pt x="5932960" y="1166286"/>
                  <a:pt x="5926130" y="1160451"/>
                  <a:pt x="5926130" y="1153888"/>
                </a:cubicBezTo>
                <a:cubicBezTo>
                  <a:pt x="5926130" y="1146595"/>
                  <a:pt x="5932960" y="1140032"/>
                  <a:pt x="5940548" y="1140032"/>
                </a:cubicBezTo>
                <a:close/>
                <a:moveTo>
                  <a:pt x="5870088" y="1140032"/>
                </a:moveTo>
                <a:cubicBezTo>
                  <a:pt x="5878650" y="1140032"/>
                  <a:pt x="5884877" y="1146595"/>
                  <a:pt x="5884877" y="1153888"/>
                </a:cubicBezTo>
                <a:cubicBezTo>
                  <a:pt x="5884877" y="1160451"/>
                  <a:pt x="5878650" y="1166286"/>
                  <a:pt x="5870088" y="1166286"/>
                </a:cubicBezTo>
                <a:cubicBezTo>
                  <a:pt x="5862304" y="1166286"/>
                  <a:pt x="5855299" y="1161910"/>
                  <a:pt x="5855299" y="1153888"/>
                </a:cubicBezTo>
                <a:cubicBezTo>
                  <a:pt x="5855299" y="1146595"/>
                  <a:pt x="5862304" y="1140032"/>
                  <a:pt x="5870088" y="1140032"/>
                </a:cubicBezTo>
                <a:close/>
                <a:moveTo>
                  <a:pt x="5799257" y="1140032"/>
                </a:moveTo>
                <a:cubicBezTo>
                  <a:pt x="5807819" y="1140032"/>
                  <a:pt x="5814045" y="1146595"/>
                  <a:pt x="5814045" y="1153888"/>
                </a:cubicBezTo>
                <a:cubicBezTo>
                  <a:pt x="5814045" y="1161910"/>
                  <a:pt x="5807819" y="1166286"/>
                  <a:pt x="5799257" y="1166286"/>
                </a:cubicBezTo>
                <a:cubicBezTo>
                  <a:pt x="5791474" y="1166286"/>
                  <a:pt x="5784469" y="1161910"/>
                  <a:pt x="5784469" y="1153888"/>
                </a:cubicBezTo>
                <a:cubicBezTo>
                  <a:pt x="5784469" y="1146595"/>
                  <a:pt x="5791474" y="1140032"/>
                  <a:pt x="5799257" y="1140032"/>
                </a:cubicBezTo>
                <a:close/>
                <a:moveTo>
                  <a:pt x="5724122" y="1140032"/>
                </a:moveTo>
                <a:cubicBezTo>
                  <a:pt x="5732144" y="1140032"/>
                  <a:pt x="5736519" y="1146595"/>
                  <a:pt x="5736519" y="1153888"/>
                </a:cubicBezTo>
                <a:cubicBezTo>
                  <a:pt x="5736519" y="1161910"/>
                  <a:pt x="5732144" y="1166286"/>
                  <a:pt x="5724122" y="1166286"/>
                </a:cubicBezTo>
                <a:cubicBezTo>
                  <a:pt x="5716100" y="1166286"/>
                  <a:pt x="5710266" y="1161910"/>
                  <a:pt x="5710266" y="1153888"/>
                </a:cubicBezTo>
                <a:cubicBezTo>
                  <a:pt x="5710266" y="1146595"/>
                  <a:pt x="5716100" y="1140032"/>
                  <a:pt x="5724122" y="1140032"/>
                </a:cubicBezTo>
                <a:close/>
                <a:moveTo>
                  <a:pt x="5653291" y="1140032"/>
                </a:moveTo>
                <a:cubicBezTo>
                  <a:pt x="5659125" y="1140032"/>
                  <a:pt x="5665688" y="1146595"/>
                  <a:pt x="5665688" y="1153888"/>
                </a:cubicBezTo>
                <a:cubicBezTo>
                  <a:pt x="5665688" y="1161910"/>
                  <a:pt x="5659125" y="1166286"/>
                  <a:pt x="5653291" y="1166286"/>
                </a:cubicBezTo>
                <a:cubicBezTo>
                  <a:pt x="5645269" y="1166286"/>
                  <a:pt x="5639435" y="1161910"/>
                  <a:pt x="5639435" y="1153888"/>
                </a:cubicBezTo>
                <a:cubicBezTo>
                  <a:pt x="5639435" y="1146595"/>
                  <a:pt x="5645269" y="1140032"/>
                  <a:pt x="5653291" y="1140032"/>
                </a:cubicBezTo>
                <a:close/>
                <a:moveTo>
                  <a:pt x="5581002" y="1140032"/>
                </a:moveTo>
                <a:cubicBezTo>
                  <a:pt x="5588295" y="1140032"/>
                  <a:pt x="5594858" y="1146595"/>
                  <a:pt x="5594858" y="1153888"/>
                </a:cubicBezTo>
                <a:cubicBezTo>
                  <a:pt x="5594858" y="1161910"/>
                  <a:pt x="5588295" y="1166286"/>
                  <a:pt x="5581002" y="1166286"/>
                </a:cubicBezTo>
                <a:cubicBezTo>
                  <a:pt x="5574439" y="1166286"/>
                  <a:pt x="5568605" y="1161910"/>
                  <a:pt x="5568605" y="1153888"/>
                </a:cubicBezTo>
                <a:cubicBezTo>
                  <a:pt x="5568605" y="1146595"/>
                  <a:pt x="5574439" y="1140032"/>
                  <a:pt x="5581002" y="1140032"/>
                </a:cubicBezTo>
                <a:close/>
                <a:moveTo>
                  <a:pt x="5510171" y="1140032"/>
                </a:moveTo>
                <a:cubicBezTo>
                  <a:pt x="5517464" y="1140032"/>
                  <a:pt x="5524027" y="1146595"/>
                  <a:pt x="5524027" y="1153888"/>
                </a:cubicBezTo>
                <a:cubicBezTo>
                  <a:pt x="5524027" y="1161910"/>
                  <a:pt x="5517464" y="1166286"/>
                  <a:pt x="5510171" y="1166286"/>
                </a:cubicBezTo>
                <a:cubicBezTo>
                  <a:pt x="5503608" y="1166286"/>
                  <a:pt x="5497774" y="1161910"/>
                  <a:pt x="5497774" y="1153888"/>
                </a:cubicBezTo>
                <a:cubicBezTo>
                  <a:pt x="5497774" y="1146595"/>
                  <a:pt x="5503608" y="1140032"/>
                  <a:pt x="5510171" y="1140032"/>
                </a:cubicBezTo>
                <a:close/>
                <a:moveTo>
                  <a:pt x="5438937" y="1140032"/>
                </a:moveTo>
                <a:cubicBezTo>
                  <a:pt x="5447182" y="1140032"/>
                  <a:pt x="5453178" y="1146595"/>
                  <a:pt x="5453178" y="1153888"/>
                </a:cubicBezTo>
                <a:cubicBezTo>
                  <a:pt x="5453178" y="1161910"/>
                  <a:pt x="5447182" y="1166286"/>
                  <a:pt x="5438937" y="1166286"/>
                </a:cubicBezTo>
                <a:cubicBezTo>
                  <a:pt x="5431442" y="1166286"/>
                  <a:pt x="5426945" y="1161910"/>
                  <a:pt x="5426945" y="1153888"/>
                </a:cubicBezTo>
                <a:cubicBezTo>
                  <a:pt x="5426945" y="1146595"/>
                  <a:pt x="5431442" y="1140032"/>
                  <a:pt x="5438937" y="1140032"/>
                </a:cubicBezTo>
                <a:close/>
                <a:moveTo>
                  <a:pt x="5367530" y="1140032"/>
                </a:moveTo>
                <a:cubicBezTo>
                  <a:pt x="5376092" y="1140032"/>
                  <a:pt x="5382318" y="1146595"/>
                  <a:pt x="5382318" y="1153888"/>
                </a:cubicBezTo>
                <a:cubicBezTo>
                  <a:pt x="5382318" y="1161910"/>
                  <a:pt x="5376092" y="1166286"/>
                  <a:pt x="5367530" y="1166286"/>
                </a:cubicBezTo>
                <a:cubicBezTo>
                  <a:pt x="5359747" y="1166286"/>
                  <a:pt x="5352742" y="1161910"/>
                  <a:pt x="5352742" y="1153888"/>
                </a:cubicBezTo>
                <a:cubicBezTo>
                  <a:pt x="5352742" y="1146595"/>
                  <a:pt x="5359747" y="1140032"/>
                  <a:pt x="5367530" y="1140032"/>
                </a:cubicBezTo>
                <a:close/>
                <a:moveTo>
                  <a:pt x="5296699" y="1140032"/>
                </a:moveTo>
                <a:cubicBezTo>
                  <a:pt x="5305261" y="1140032"/>
                  <a:pt x="5311488" y="1146595"/>
                  <a:pt x="5311488" y="1153888"/>
                </a:cubicBezTo>
                <a:cubicBezTo>
                  <a:pt x="5311488" y="1161910"/>
                  <a:pt x="5305261" y="1166286"/>
                  <a:pt x="5296699" y="1166286"/>
                </a:cubicBezTo>
                <a:cubicBezTo>
                  <a:pt x="5288915" y="1166286"/>
                  <a:pt x="5281910" y="1161910"/>
                  <a:pt x="5281910" y="1153888"/>
                </a:cubicBezTo>
                <a:cubicBezTo>
                  <a:pt x="5281910" y="1146595"/>
                  <a:pt x="5288915" y="1140032"/>
                  <a:pt x="5296699" y="1140032"/>
                </a:cubicBezTo>
                <a:close/>
                <a:moveTo>
                  <a:pt x="5225869" y="1140032"/>
                </a:moveTo>
                <a:cubicBezTo>
                  <a:pt x="5234431" y="1140032"/>
                  <a:pt x="5240657" y="1146595"/>
                  <a:pt x="5240657" y="1153888"/>
                </a:cubicBezTo>
                <a:cubicBezTo>
                  <a:pt x="5240657" y="1161910"/>
                  <a:pt x="5234431" y="1166286"/>
                  <a:pt x="5225869" y="1166286"/>
                </a:cubicBezTo>
                <a:cubicBezTo>
                  <a:pt x="5217307" y="1166286"/>
                  <a:pt x="5211081" y="1161910"/>
                  <a:pt x="5211081" y="1153888"/>
                </a:cubicBezTo>
                <a:cubicBezTo>
                  <a:pt x="5211081" y="1146595"/>
                  <a:pt x="5217307" y="1140032"/>
                  <a:pt x="5225869" y="1140032"/>
                </a:cubicBezTo>
                <a:close/>
                <a:moveTo>
                  <a:pt x="5154105" y="1140032"/>
                </a:moveTo>
                <a:cubicBezTo>
                  <a:pt x="5162127" y="1140032"/>
                  <a:pt x="5166502" y="1147037"/>
                  <a:pt x="5166502" y="1154821"/>
                </a:cubicBezTo>
                <a:cubicBezTo>
                  <a:pt x="5166502" y="1163383"/>
                  <a:pt x="5162127" y="1169610"/>
                  <a:pt x="5154105" y="1169610"/>
                </a:cubicBezTo>
                <a:cubicBezTo>
                  <a:pt x="5146083" y="1169610"/>
                  <a:pt x="5140249" y="1163383"/>
                  <a:pt x="5140249" y="1154821"/>
                </a:cubicBezTo>
                <a:cubicBezTo>
                  <a:pt x="5140249" y="1147037"/>
                  <a:pt x="5146083" y="1140032"/>
                  <a:pt x="5154105" y="1140032"/>
                </a:cubicBezTo>
                <a:close/>
                <a:moveTo>
                  <a:pt x="5083276" y="1140032"/>
                </a:moveTo>
                <a:cubicBezTo>
                  <a:pt x="5089110" y="1140032"/>
                  <a:pt x="5095673" y="1147037"/>
                  <a:pt x="5095673" y="1154821"/>
                </a:cubicBezTo>
                <a:cubicBezTo>
                  <a:pt x="5095673" y="1163383"/>
                  <a:pt x="5089110" y="1169610"/>
                  <a:pt x="5083276" y="1169610"/>
                </a:cubicBezTo>
                <a:cubicBezTo>
                  <a:pt x="5075254" y="1169610"/>
                  <a:pt x="5069420" y="1163383"/>
                  <a:pt x="5069420" y="1154821"/>
                </a:cubicBezTo>
                <a:cubicBezTo>
                  <a:pt x="5069420" y="1147037"/>
                  <a:pt x="5075254" y="1140032"/>
                  <a:pt x="5083276" y="1140032"/>
                </a:cubicBezTo>
                <a:close/>
                <a:moveTo>
                  <a:pt x="5012445" y="1140032"/>
                </a:moveTo>
                <a:cubicBezTo>
                  <a:pt x="5018279" y="1140032"/>
                  <a:pt x="5024842" y="1147037"/>
                  <a:pt x="5024842" y="1154821"/>
                </a:cubicBezTo>
                <a:cubicBezTo>
                  <a:pt x="5024842" y="1163383"/>
                  <a:pt x="5018279" y="1169610"/>
                  <a:pt x="5012445" y="1169610"/>
                </a:cubicBezTo>
                <a:cubicBezTo>
                  <a:pt x="5004423" y="1169610"/>
                  <a:pt x="4998589" y="1163383"/>
                  <a:pt x="4998589" y="1154821"/>
                </a:cubicBezTo>
                <a:cubicBezTo>
                  <a:pt x="4998589" y="1147037"/>
                  <a:pt x="5004423" y="1140032"/>
                  <a:pt x="5012445" y="1140032"/>
                </a:cubicBezTo>
                <a:close/>
                <a:moveTo>
                  <a:pt x="4940157" y="1140032"/>
                </a:moveTo>
                <a:cubicBezTo>
                  <a:pt x="4948179" y="1140032"/>
                  <a:pt x="4954013" y="1147037"/>
                  <a:pt x="4954013" y="1154821"/>
                </a:cubicBezTo>
                <a:cubicBezTo>
                  <a:pt x="4954013" y="1163383"/>
                  <a:pt x="4948179" y="1169610"/>
                  <a:pt x="4940157" y="1169610"/>
                </a:cubicBezTo>
                <a:cubicBezTo>
                  <a:pt x="4934323" y="1169610"/>
                  <a:pt x="4927760" y="1163383"/>
                  <a:pt x="4927760" y="1154821"/>
                </a:cubicBezTo>
                <a:cubicBezTo>
                  <a:pt x="4927760" y="1147037"/>
                  <a:pt x="4934323" y="1140032"/>
                  <a:pt x="4940157" y="1140032"/>
                </a:cubicBezTo>
                <a:close/>
                <a:moveTo>
                  <a:pt x="4865953" y="1140032"/>
                </a:moveTo>
                <a:cubicBezTo>
                  <a:pt x="4873975" y="1140032"/>
                  <a:pt x="4879809" y="1147037"/>
                  <a:pt x="4879809" y="1154821"/>
                </a:cubicBezTo>
                <a:cubicBezTo>
                  <a:pt x="4879809" y="1163383"/>
                  <a:pt x="4873975" y="1169610"/>
                  <a:pt x="4865953" y="1169610"/>
                </a:cubicBezTo>
                <a:cubicBezTo>
                  <a:pt x="4860119" y="1169610"/>
                  <a:pt x="4853556" y="1163383"/>
                  <a:pt x="4853556" y="1154821"/>
                </a:cubicBezTo>
                <a:cubicBezTo>
                  <a:pt x="4853556" y="1147037"/>
                  <a:pt x="4860119" y="1140032"/>
                  <a:pt x="4865953" y="1140032"/>
                </a:cubicBezTo>
                <a:close/>
                <a:moveTo>
                  <a:pt x="4795122" y="1140032"/>
                </a:moveTo>
                <a:cubicBezTo>
                  <a:pt x="4803144" y="1140032"/>
                  <a:pt x="4808978" y="1147037"/>
                  <a:pt x="4808978" y="1154821"/>
                </a:cubicBezTo>
                <a:cubicBezTo>
                  <a:pt x="4808978" y="1163383"/>
                  <a:pt x="4803144" y="1169610"/>
                  <a:pt x="4795122" y="1169610"/>
                </a:cubicBezTo>
                <a:cubicBezTo>
                  <a:pt x="4787830" y="1169610"/>
                  <a:pt x="4782725" y="1163383"/>
                  <a:pt x="4782725" y="1154821"/>
                </a:cubicBezTo>
                <a:cubicBezTo>
                  <a:pt x="4782725" y="1147037"/>
                  <a:pt x="4787830" y="1140032"/>
                  <a:pt x="4795122" y="1140032"/>
                </a:cubicBezTo>
                <a:close/>
                <a:moveTo>
                  <a:pt x="4726684" y="1140032"/>
                </a:moveTo>
                <a:cubicBezTo>
                  <a:pt x="4735246" y="1140032"/>
                  <a:pt x="4741472" y="1147037"/>
                  <a:pt x="4741472" y="1154821"/>
                </a:cubicBezTo>
                <a:cubicBezTo>
                  <a:pt x="4741472" y="1163383"/>
                  <a:pt x="4735246" y="1169610"/>
                  <a:pt x="4726684" y="1169610"/>
                </a:cubicBezTo>
                <a:cubicBezTo>
                  <a:pt x="4718122" y="1169610"/>
                  <a:pt x="4711896" y="1163383"/>
                  <a:pt x="4711896" y="1154821"/>
                </a:cubicBezTo>
                <a:cubicBezTo>
                  <a:pt x="4711896" y="1147037"/>
                  <a:pt x="4718122" y="1140032"/>
                  <a:pt x="4726684" y="1140032"/>
                </a:cubicBezTo>
                <a:close/>
                <a:moveTo>
                  <a:pt x="4655853" y="1140032"/>
                </a:moveTo>
                <a:cubicBezTo>
                  <a:pt x="4663637" y="1140032"/>
                  <a:pt x="4670642" y="1147037"/>
                  <a:pt x="4670642" y="1154821"/>
                </a:cubicBezTo>
                <a:cubicBezTo>
                  <a:pt x="4670642" y="1163383"/>
                  <a:pt x="4663637" y="1169610"/>
                  <a:pt x="4655853" y="1169610"/>
                </a:cubicBezTo>
                <a:cubicBezTo>
                  <a:pt x="4647291" y="1169610"/>
                  <a:pt x="4641064" y="1163383"/>
                  <a:pt x="4641064" y="1154821"/>
                </a:cubicBezTo>
                <a:cubicBezTo>
                  <a:pt x="4641064" y="1147037"/>
                  <a:pt x="4647291" y="1140032"/>
                  <a:pt x="4655853" y="1140032"/>
                </a:cubicBezTo>
                <a:close/>
                <a:moveTo>
                  <a:pt x="4585023" y="1140032"/>
                </a:moveTo>
                <a:cubicBezTo>
                  <a:pt x="4592806" y="1140032"/>
                  <a:pt x="4599811" y="1147037"/>
                  <a:pt x="4599811" y="1154821"/>
                </a:cubicBezTo>
                <a:cubicBezTo>
                  <a:pt x="4599811" y="1163383"/>
                  <a:pt x="4592806" y="1169610"/>
                  <a:pt x="4585023" y="1169610"/>
                </a:cubicBezTo>
                <a:cubicBezTo>
                  <a:pt x="4576461" y="1169610"/>
                  <a:pt x="4570235" y="1163383"/>
                  <a:pt x="4570235" y="1154821"/>
                </a:cubicBezTo>
                <a:cubicBezTo>
                  <a:pt x="4570235" y="1147037"/>
                  <a:pt x="4576461" y="1140032"/>
                  <a:pt x="4585023" y="1140032"/>
                </a:cubicBezTo>
                <a:close/>
                <a:moveTo>
                  <a:pt x="4513260" y="1140032"/>
                </a:moveTo>
                <a:cubicBezTo>
                  <a:pt x="4520553" y="1140032"/>
                  <a:pt x="4525657" y="1147037"/>
                  <a:pt x="4525657" y="1154821"/>
                </a:cubicBezTo>
                <a:cubicBezTo>
                  <a:pt x="4525657" y="1163383"/>
                  <a:pt x="4520553" y="1169610"/>
                  <a:pt x="4513260" y="1169610"/>
                </a:cubicBezTo>
                <a:cubicBezTo>
                  <a:pt x="4505238" y="1169610"/>
                  <a:pt x="4499404" y="1163383"/>
                  <a:pt x="4499404" y="1154821"/>
                </a:cubicBezTo>
                <a:cubicBezTo>
                  <a:pt x="4499404" y="1147037"/>
                  <a:pt x="4505238" y="1140032"/>
                  <a:pt x="4513260" y="1140032"/>
                </a:cubicBezTo>
                <a:close/>
                <a:moveTo>
                  <a:pt x="4439056" y="1140032"/>
                </a:moveTo>
                <a:cubicBezTo>
                  <a:pt x="4445619" y="1140032"/>
                  <a:pt x="4451453" y="1147037"/>
                  <a:pt x="4451453" y="1154821"/>
                </a:cubicBezTo>
                <a:cubicBezTo>
                  <a:pt x="4451453" y="1163383"/>
                  <a:pt x="4445619" y="1169610"/>
                  <a:pt x="4439056" y="1169610"/>
                </a:cubicBezTo>
                <a:cubicBezTo>
                  <a:pt x="4431763" y="1169610"/>
                  <a:pt x="4425200" y="1163383"/>
                  <a:pt x="4425200" y="1154821"/>
                </a:cubicBezTo>
                <a:cubicBezTo>
                  <a:pt x="4425200" y="1147037"/>
                  <a:pt x="4431763" y="1140032"/>
                  <a:pt x="4439056" y="1140032"/>
                </a:cubicBezTo>
                <a:close/>
                <a:moveTo>
                  <a:pt x="4366768" y="1140032"/>
                </a:moveTo>
                <a:cubicBezTo>
                  <a:pt x="4374790" y="1140032"/>
                  <a:pt x="4380624" y="1147037"/>
                  <a:pt x="4380624" y="1154821"/>
                </a:cubicBezTo>
                <a:cubicBezTo>
                  <a:pt x="4380624" y="1163383"/>
                  <a:pt x="4374790" y="1169610"/>
                  <a:pt x="4366768" y="1169610"/>
                </a:cubicBezTo>
                <a:cubicBezTo>
                  <a:pt x="4360934" y="1169610"/>
                  <a:pt x="4354371" y="1163383"/>
                  <a:pt x="4354371" y="1154821"/>
                </a:cubicBezTo>
                <a:cubicBezTo>
                  <a:pt x="4354371" y="1147037"/>
                  <a:pt x="4360934" y="1140032"/>
                  <a:pt x="4366768" y="1140032"/>
                </a:cubicBezTo>
                <a:close/>
                <a:moveTo>
                  <a:pt x="4295937" y="1140032"/>
                </a:moveTo>
                <a:cubicBezTo>
                  <a:pt x="4303959" y="1140032"/>
                  <a:pt x="4309793" y="1147037"/>
                  <a:pt x="4309793" y="1154821"/>
                </a:cubicBezTo>
                <a:cubicBezTo>
                  <a:pt x="4309793" y="1163383"/>
                  <a:pt x="4303959" y="1169610"/>
                  <a:pt x="4295937" y="1169610"/>
                </a:cubicBezTo>
                <a:cubicBezTo>
                  <a:pt x="4290103" y="1169610"/>
                  <a:pt x="4283540" y="1163383"/>
                  <a:pt x="4283540" y="1154821"/>
                </a:cubicBezTo>
                <a:cubicBezTo>
                  <a:pt x="4283540" y="1147037"/>
                  <a:pt x="4290103" y="1140032"/>
                  <a:pt x="4295937" y="1140032"/>
                </a:cubicBezTo>
                <a:close/>
                <a:moveTo>
                  <a:pt x="4225107" y="1140032"/>
                </a:moveTo>
                <a:cubicBezTo>
                  <a:pt x="4233129" y="1140032"/>
                  <a:pt x="4238963" y="1147037"/>
                  <a:pt x="4238963" y="1154821"/>
                </a:cubicBezTo>
                <a:cubicBezTo>
                  <a:pt x="4238963" y="1163383"/>
                  <a:pt x="4233129" y="1169610"/>
                  <a:pt x="4225107" y="1169610"/>
                </a:cubicBezTo>
                <a:cubicBezTo>
                  <a:pt x="4217085" y="1169610"/>
                  <a:pt x="4212710" y="1163383"/>
                  <a:pt x="4212710" y="1154821"/>
                </a:cubicBezTo>
                <a:cubicBezTo>
                  <a:pt x="4212710" y="1147037"/>
                  <a:pt x="4217085" y="1140032"/>
                  <a:pt x="4225107" y="1140032"/>
                </a:cubicBezTo>
                <a:close/>
                <a:moveTo>
                  <a:pt x="4153295" y="1140032"/>
                </a:moveTo>
                <a:cubicBezTo>
                  <a:pt x="4161078" y="1140032"/>
                  <a:pt x="4168083" y="1147037"/>
                  <a:pt x="4168083" y="1154821"/>
                </a:cubicBezTo>
                <a:cubicBezTo>
                  <a:pt x="4168083" y="1163383"/>
                  <a:pt x="4161078" y="1169610"/>
                  <a:pt x="4153295" y="1169610"/>
                </a:cubicBezTo>
                <a:cubicBezTo>
                  <a:pt x="4144733" y="1169610"/>
                  <a:pt x="4138507" y="1163383"/>
                  <a:pt x="4138507" y="1154821"/>
                </a:cubicBezTo>
                <a:cubicBezTo>
                  <a:pt x="4138507" y="1147037"/>
                  <a:pt x="4144733" y="1140032"/>
                  <a:pt x="4153295" y="1140032"/>
                </a:cubicBezTo>
                <a:close/>
                <a:moveTo>
                  <a:pt x="4082465" y="1140032"/>
                </a:moveTo>
                <a:cubicBezTo>
                  <a:pt x="4090249" y="1140032"/>
                  <a:pt x="4097254" y="1147037"/>
                  <a:pt x="4097254" y="1154821"/>
                </a:cubicBezTo>
                <a:cubicBezTo>
                  <a:pt x="4097254" y="1163383"/>
                  <a:pt x="4090249" y="1169610"/>
                  <a:pt x="4082465" y="1169610"/>
                </a:cubicBezTo>
                <a:cubicBezTo>
                  <a:pt x="4073903" y="1169610"/>
                  <a:pt x="4067676" y="1163383"/>
                  <a:pt x="4067676" y="1154821"/>
                </a:cubicBezTo>
                <a:cubicBezTo>
                  <a:pt x="4067676" y="1147037"/>
                  <a:pt x="4073903" y="1140032"/>
                  <a:pt x="4082465" y="1140032"/>
                </a:cubicBezTo>
                <a:close/>
                <a:moveTo>
                  <a:pt x="439789" y="1140032"/>
                </a:moveTo>
                <a:cubicBezTo>
                  <a:pt x="448351" y="1140032"/>
                  <a:pt x="454579" y="1146595"/>
                  <a:pt x="454579" y="1153888"/>
                </a:cubicBezTo>
                <a:cubicBezTo>
                  <a:pt x="454579" y="1161910"/>
                  <a:pt x="448351" y="1166286"/>
                  <a:pt x="439789" y="1166286"/>
                </a:cubicBezTo>
                <a:cubicBezTo>
                  <a:pt x="432006" y="1166286"/>
                  <a:pt x="425001" y="1161910"/>
                  <a:pt x="425001" y="1153888"/>
                </a:cubicBezTo>
                <a:cubicBezTo>
                  <a:pt x="425001" y="1146595"/>
                  <a:pt x="432006" y="1140032"/>
                  <a:pt x="439789" y="1140032"/>
                </a:cubicBezTo>
                <a:close/>
                <a:moveTo>
                  <a:pt x="368960" y="1140032"/>
                </a:moveTo>
                <a:cubicBezTo>
                  <a:pt x="377521" y="1140032"/>
                  <a:pt x="383747" y="1146595"/>
                  <a:pt x="383747" y="1153888"/>
                </a:cubicBezTo>
                <a:cubicBezTo>
                  <a:pt x="383747" y="1161910"/>
                  <a:pt x="377521" y="1166286"/>
                  <a:pt x="368960" y="1166286"/>
                </a:cubicBezTo>
                <a:cubicBezTo>
                  <a:pt x="361176" y="1166286"/>
                  <a:pt x="354172" y="1161910"/>
                  <a:pt x="354172" y="1153888"/>
                </a:cubicBezTo>
                <a:cubicBezTo>
                  <a:pt x="354172" y="1146595"/>
                  <a:pt x="361176" y="1140032"/>
                  <a:pt x="368960" y="1140032"/>
                </a:cubicBezTo>
                <a:close/>
                <a:moveTo>
                  <a:pt x="297194" y="1140032"/>
                </a:moveTo>
                <a:cubicBezTo>
                  <a:pt x="305217" y="1140032"/>
                  <a:pt x="309592" y="1146595"/>
                  <a:pt x="309592" y="1153888"/>
                </a:cubicBezTo>
                <a:cubicBezTo>
                  <a:pt x="309592" y="1161910"/>
                  <a:pt x="305217" y="1166286"/>
                  <a:pt x="297194" y="1166286"/>
                </a:cubicBezTo>
                <a:cubicBezTo>
                  <a:pt x="289902" y="1166286"/>
                  <a:pt x="283339" y="1161910"/>
                  <a:pt x="283339" y="1153888"/>
                </a:cubicBezTo>
                <a:cubicBezTo>
                  <a:pt x="283339" y="1146595"/>
                  <a:pt x="289902" y="1140032"/>
                  <a:pt x="297194" y="1140032"/>
                </a:cubicBezTo>
                <a:close/>
                <a:moveTo>
                  <a:pt x="226366" y="1140032"/>
                </a:moveTo>
                <a:cubicBezTo>
                  <a:pt x="232201" y="1140032"/>
                  <a:pt x="238764" y="1146595"/>
                  <a:pt x="238764" y="1153888"/>
                </a:cubicBezTo>
                <a:cubicBezTo>
                  <a:pt x="238764" y="1161910"/>
                  <a:pt x="232201" y="1166286"/>
                  <a:pt x="226366" y="1166286"/>
                </a:cubicBezTo>
                <a:cubicBezTo>
                  <a:pt x="218344" y="1166286"/>
                  <a:pt x="212510" y="1161910"/>
                  <a:pt x="212510" y="1153888"/>
                </a:cubicBezTo>
                <a:cubicBezTo>
                  <a:pt x="212510" y="1146595"/>
                  <a:pt x="218344" y="1140032"/>
                  <a:pt x="226366" y="1140032"/>
                </a:cubicBezTo>
                <a:close/>
                <a:moveTo>
                  <a:pt x="155532" y="1140032"/>
                </a:moveTo>
                <a:cubicBezTo>
                  <a:pt x="161366" y="1140032"/>
                  <a:pt x="167930" y="1146595"/>
                  <a:pt x="167930" y="1153888"/>
                </a:cubicBezTo>
                <a:cubicBezTo>
                  <a:pt x="167930" y="1161910"/>
                  <a:pt x="161366" y="1166286"/>
                  <a:pt x="155532" y="1166286"/>
                </a:cubicBezTo>
                <a:cubicBezTo>
                  <a:pt x="147510" y="1166286"/>
                  <a:pt x="141676" y="1161910"/>
                  <a:pt x="141676" y="1153888"/>
                </a:cubicBezTo>
                <a:cubicBezTo>
                  <a:pt x="141676" y="1146595"/>
                  <a:pt x="147510" y="1140032"/>
                  <a:pt x="155532" y="1140032"/>
                </a:cubicBezTo>
                <a:close/>
                <a:moveTo>
                  <a:pt x="83244" y="1140032"/>
                </a:moveTo>
                <a:cubicBezTo>
                  <a:pt x="90536" y="1140032"/>
                  <a:pt x="97100" y="1146595"/>
                  <a:pt x="97100" y="1153888"/>
                </a:cubicBezTo>
                <a:cubicBezTo>
                  <a:pt x="97100" y="1161910"/>
                  <a:pt x="90536" y="1166286"/>
                  <a:pt x="83244" y="1166286"/>
                </a:cubicBezTo>
                <a:cubicBezTo>
                  <a:pt x="76680" y="1166286"/>
                  <a:pt x="70846" y="1161910"/>
                  <a:pt x="70846" y="1153888"/>
                </a:cubicBezTo>
                <a:cubicBezTo>
                  <a:pt x="70846" y="1146595"/>
                  <a:pt x="76680" y="1140032"/>
                  <a:pt x="83244" y="1140032"/>
                </a:cubicBezTo>
                <a:close/>
                <a:moveTo>
                  <a:pt x="12008" y="1140032"/>
                </a:moveTo>
                <a:cubicBezTo>
                  <a:pt x="20253" y="1140032"/>
                  <a:pt x="26249" y="1146595"/>
                  <a:pt x="26249" y="1153888"/>
                </a:cubicBezTo>
                <a:cubicBezTo>
                  <a:pt x="26249" y="1161910"/>
                  <a:pt x="20253" y="1166286"/>
                  <a:pt x="12008" y="1166286"/>
                </a:cubicBezTo>
                <a:cubicBezTo>
                  <a:pt x="4513" y="1166286"/>
                  <a:pt x="16" y="1161910"/>
                  <a:pt x="16" y="1153888"/>
                </a:cubicBezTo>
                <a:cubicBezTo>
                  <a:pt x="16" y="1146595"/>
                  <a:pt x="4513" y="1140032"/>
                  <a:pt x="12008" y="1140032"/>
                </a:cubicBezTo>
                <a:close/>
                <a:moveTo>
                  <a:pt x="6867525" y="1069203"/>
                </a:moveTo>
                <a:cubicBezTo>
                  <a:pt x="6874088" y="1069203"/>
                  <a:pt x="6879922" y="1075037"/>
                  <a:pt x="6879922" y="1081600"/>
                </a:cubicBezTo>
                <a:cubicBezTo>
                  <a:pt x="6879922" y="1088893"/>
                  <a:pt x="6874088" y="1095457"/>
                  <a:pt x="6867525" y="1095457"/>
                </a:cubicBezTo>
                <a:cubicBezTo>
                  <a:pt x="6860232" y="1095457"/>
                  <a:pt x="6853669" y="1088893"/>
                  <a:pt x="6853669" y="1081600"/>
                </a:cubicBezTo>
                <a:cubicBezTo>
                  <a:pt x="6853669" y="1075037"/>
                  <a:pt x="6860232" y="1069203"/>
                  <a:pt x="6867525" y="1069203"/>
                </a:cubicBezTo>
                <a:close/>
                <a:moveTo>
                  <a:pt x="6795237" y="1069203"/>
                </a:moveTo>
                <a:cubicBezTo>
                  <a:pt x="6803259" y="1069203"/>
                  <a:pt x="6809093" y="1075037"/>
                  <a:pt x="6809093" y="1081600"/>
                </a:cubicBezTo>
                <a:cubicBezTo>
                  <a:pt x="6809093" y="1088893"/>
                  <a:pt x="6803259" y="1095457"/>
                  <a:pt x="6796696" y="1095457"/>
                </a:cubicBezTo>
                <a:cubicBezTo>
                  <a:pt x="6789403" y="1095457"/>
                  <a:pt x="6782840" y="1088893"/>
                  <a:pt x="6782840" y="1081600"/>
                </a:cubicBezTo>
                <a:cubicBezTo>
                  <a:pt x="6782840" y="1075037"/>
                  <a:pt x="6789403" y="1069203"/>
                  <a:pt x="6795237" y="1069203"/>
                </a:cubicBezTo>
                <a:close/>
                <a:moveTo>
                  <a:pt x="6724405" y="1069203"/>
                </a:moveTo>
                <a:cubicBezTo>
                  <a:pt x="6732427" y="1069203"/>
                  <a:pt x="6738261" y="1075037"/>
                  <a:pt x="6738261" y="1081600"/>
                </a:cubicBezTo>
                <a:cubicBezTo>
                  <a:pt x="6738261" y="1088893"/>
                  <a:pt x="6732427" y="1095457"/>
                  <a:pt x="6724405" y="1095457"/>
                </a:cubicBezTo>
                <a:cubicBezTo>
                  <a:pt x="6718571" y="1095457"/>
                  <a:pt x="6712008" y="1088893"/>
                  <a:pt x="6712008" y="1081600"/>
                </a:cubicBezTo>
                <a:cubicBezTo>
                  <a:pt x="6712008" y="1075037"/>
                  <a:pt x="6718571" y="1069203"/>
                  <a:pt x="6724405" y="1069203"/>
                </a:cubicBezTo>
                <a:close/>
                <a:moveTo>
                  <a:pt x="6653576" y="1069203"/>
                </a:moveTo>
                <a:cubicBezTo>
                  <a:pt x="6660869" y="1069203"/>
                  <a:pt x="6667432" y="1075037"/>
                  <a:pt x="6667432" y="1081600"/>
                </a:cubicBezTo>
                <a:cubicBezTo>
                  <a:pt x="6667432" y="1088893"/>
                  <a:pt x="6660869" y="1095457"/>
                  <a:pt x="6653576" y="1095457"/>
                </a:cubicBezTo>
                <a:cubicBezTo>
                  <a:pt x="6645554" y="1095457"/>
                  <a:pt x="6641179" y="1088893"/>
                  <a:pt x="6641179" y="1081600"/>
                </a:cubicBezTo>
                <a:cubicBezTo>
                  <a:pt x="6641179" y="1075037"/>
                  <a:pt x="6645554" y="1069203"/>
                  <a:pt x="6653576" y="1069203"/>
                </a:cubicBezTo>
                <a:close/>
                <a:moveTo>
                  <a:pt x="6581764" y="1069203"/>
                </a:moveTo>
                <a:cubicBezTo>
                  <a:pt x="6589547" y="1069203"/>
                  <a:pt x="6596552" y="1075037"/>
                  <a:pt x="6596552" y="1081600"/>
                </a:cubicBezTo>
                <a:cubicBezTo>
                  <a:pt x="6596552" y="1088893"/>
                  <a:pt x="6589547" y="1095457"/>
                  <a:pt x="6581764" y="1095457"/>
                </a:cubicBezTo>
                <a:cubicBezTo>
                  <a:pt x="6573202" y="1095457"/>
                  <a:pt x="6566976" y="1088893"/>
                  <a:pt x="6566976" y="1081600"/>
                </a:cubicBezTo>
                <a:cubicBezTo>
                  <a:pt x="6566976" y="1075037"/>
                  <a:pt x="6573202" y="1069203"/>
                  <a:pt x="6581764" y="1069203"/>
                </a:cubicBezTo>
                <a:close/>
                <a:moveTo>
                  <a:pt x="6510933" y="1069203"/>
                </a:moveTo>
                <a:cubicBezTo>
                  <a:pt x="6518717" y="1069203"/>
                  <a:pt x="6525722" y="1075037"/>
                  <a:pt x="6525722" y="1081600"/>
                </a:cubicBezTo>
                <a:cubicBezTo>
                  <a:pt x="6525722" y="1088893"/>
                  <a:pt x="6518717" y="1095457"/>
                  <a:pt x="6510933" y="1095457"/>
                </a:cubicBezTo>
                <a:cubicBezTo>
                  <a:pt x="6502371" y="1095457"/>
                  <a:pt x="6496144" y="1088893"/>
                  <a:pt x="6496144" y="1081600"/>
                </a:cubicBezTo>
                <a:cubicBezTo>
                  <a:pt x="6496144" y="1075037"/>
                  <a:pt x="6502371" y="1069203"/>
                  <a:pt x="6510933" y="1069203"/>
                </a:cubicBezTo>
                <a:close/>
                <a:moveTo>
                  <a:pt x="6440492" y="1069203"/>
                </a:moveTo>
                <a:cubicBezTo>
                  <a:pt x="6448081" y="1069203"/>
                  <a:pt x="6454911" y="1075037"/>
                  <a:pt x="6454911" y="1081600"/>
                </a:cubicBezTo>
                <a:cubicBezTo>
                  <a:pt x="6454911" y="1088893"/>
                  <a:pt x="6448081" y="1095457"/>
                  <a:pt x="6440492" y="1095457"/>
                </a:cubicBezTo>
                <a:cubicBezTo>
                  <a:pt x="6432145" y="1095457"/>
                  <a:pt x="6425315" y="1088893"/>
                  <a:pt x="6425315" y="1081600"/>
                </a:cubicBezTo>
                <a:cubicBezTo>
                  <a:pt x="6425315" y="1075037"/>
                  <a:pt x="6432145" y="1069203"/>
                  <a:pt x="6440492" y="1069203"/>
                </a:cubicBezTo>
                <a:close/>
                <a:moveTo>
                  <a:pt x="6368340" y="1069203"/>
                </a:moveTo>
                <a:cubicBezTo>
                  <a:pt x="6376362" y="1069203"/>
                  <a:pt x="6380737" y="1075037"/>
                  <a:pt x="6380737" y="1081600"/>
                </a:cubicBezTo>
                <a:cubicBezTo>
                  <a:pt x="6380737" y="1088893"/>
                  <a:pt x="6376362" y="1095457"/>
                  <a:pt x="6368340" y="1095457"/>
                </a:cubicBezTo>
                <a:cubicBezTo>
                  <a:pt x="6361047" y="1095457"/>
                  <a:pt x="6354484" y="1088893"/>
                  <a:pt x="6354484" y="1081600"/>
                </a:cubicBezTo>
                <a:cubicBezTo>
                  <a:pt x="6354484" y="1075037"/>
                  <a:pt x="6361047" y="1069203"/>
                  <a:pt x="6368340" y="1069203"/>
                </a:cubicBezTo>
                <a:close/>
                <a:moveTo>
                  <a:pt x="6297511" y="1069203"/>
                </a:moveTo>
                <a:cubicBezTo>
                  <a:pt x="6304074" y="1069203"/>
                  <a:pt x="6309908" y="1075037"/>
                  <a:pt x="6309908" y="1081600"/>
                </a:cubicBezTo>
                <a:cubicBezTo>
                  <a:pt x="6309908" y="1088893"/>
                  <a:pt x="6304074" y="1095457"/>
                  <a:pt x="6297511" y="1095457"/>
                </a:cubicBezTo>
                <a:cubicBezTo>
                  <a:pt x="6290218" y="1095457"/>
                  <a:pt x="6283655" y="1088893"/>
                  <a:pt x="6283655" y="1081600"/>
                </a:cubicBezTo>
                <a:cubicBezTo>
                  <a:pt x="6283655" y="1075037"/>
                  <a:pt x="6290218" y="1069203"/>
                  <a:pt x="6297511" y="1069203"/>
                </a:cubicBezTo>
                <a:close/>
                <a:moveTo>
                  <a:pt x="6226679" y="1069203"/>
                </a:moveTo>
                <a:cubicBezTo>
                  <a:pt x="6233242" y="1069203"/>
                  <a:pt x="6239076" y="1075037"/>
                  <a:pt x="6239076" y="1081600"/>
                </a:cubicBezTo>
                <a:cubicBezTo>
                  <a:pt x="6239076" y="1088893"/>
                  <a:pt x="6233242" y="1095457"/>
                  <a:pt x="6226679" y="1095457"/>
                </a:cubicBezTo>
                <a:cubicBezTo>
                  <a:pt x="6219386" y="1095457"/>
                  <a:pt x="6212823" y="1088893"/>
                  <a:pt x="6212823" y="1083059"/>
                </a:cubicBezTo>
                <a:cubicBezTo>
                  <a:pt x="6212823" y="1075037"/>
                  <a:pt x="6219386" y="1069203"/>
                  <a:pt x="6226679" y="1069203"/>
                </a:cubicBezTo>
                <a:close/>
                <a:moveTo>
                  <a:pt x="6154391" y="1069203"/>
                </a:moveTo>
                <a:cubicBezTo>
                  <a:pt x="6161684" y="1069203"/>
                  <a:pt x="6168247" y="1075037"/>
                  <a:pt x="6168247" y="1083059"/>
                </a:cubicBezTo>
                <a:cubicBezTo>
                  <a:pt x="6168247" y="1088893"/>
                  <a:pt x="6161684" y="1095457"/>
                  <a:pt x="6154391" y="1095457"/>
                </a:cubicBezTo>
                <a:cubicBezTo>
                  <a:pt x="6147828" y="1095457"/>
                  <a:pt x="6141994" y="1088893"/>
                  <a:pt x="6141994" y="1083059"/>
                </a:cubicBezTo>
                <a:cubicBezTo>
                  <a:pt x="6141994" y="1075037"/>
                  <a:pt x="6147828" y="1069203"/>
                  <a:pt x="6154391" y="1069203"/>
                </a:cubicBezTo>
                <a:close/>
                <a:moveTo>
                  <a:pt x="6083559" y="1069203"/>
                </a:moveTo>
                <a:cubicBezTo>
                  <a:pt x="6090852" y="1069203"/>
                  <a:pt x="6097415" y="1075037"/>
                  <a:pt x="6097415" y="1083059"/>
                </a:cubicBezTo>
                <a:cubicBezTo>
                  <a:pt x="6097415" y="1088893"/>
                  <a:pt x="6090852" y="1095457"/>
                  <a:pt x="6083559" y="1095457"/>
                </a:cubicBezTo>
                <a:cubicBezTo>
                  <a:pt x="6076996" y="1095457"/>
                  <a:pt x="6071162" y="1088893"/>
                  <a:pt x="6071162" y="1083059"/>
                </a:cubicBezTo>
                <a:cubicBezTo>
                  <a:pt x="6071162" y="1075037"/>
                  <a:pt x="6076996" y="1069203"/>
                  <a:pt x="6083559" y="1069203"/>
                </a:cubicBezTo>
                <a:close/>
                <a:moveTo>
                  <a:pt x="6009356" y="1069203"/>
                </a:moveTo>
                <a:cubicBezTo>
                  <a:pt x="6016649" y="1069203"/>
                  <a:pt x="6023212" y="1075037"/>
                  <a:pt x="6023212" y="1083059"/>
                </a:cubicBezTo>
                <a:cubicBezTo>
                  <a:pt x="6023212" y="1088893"/>
                  <a:pt x="6016649" y="1095457"/>
                  <a:pt x="6009356" y="1095457"/>
                </a:cubicBezTo>
                <a:cubicBezTo>
                  <a:pt x="6001334" y="1095457"/>
                  <a:pt x="5996959" y="1088893"/>
                  <a:pt x="5996959" y="1083059"/>
                </a:cubicBezTo>
                <a:cubicBezTo>
                  <a:pt x="5996959" y="1075037"/>
                  <a:pt x="6001334" y="1069203"/>
                  <a:pt x="6009356" y="1069203"/>
                </a:cubicBezTo>
                <a:close/>
                <a:moveTo>
                  <a:pt x="5940548" y="1069203"/>
                </a:moveTo>
                <a:cubicBezTo>
                  <a:pt x="5948896" y="1069203"/>
                  <a:pt x="5955726" y="1075037"/>
                  <a:pt x="5955726" y="1083059"/>
                </a:cubicBezTo>
                <a:cubicBezTo>
                  <a:pt x="5955726" y="1088893"/>
                  <a:pt x="5948896" y="1095457"/>
                  <a:pt x="5940548" y="1095457"/>
                </a:cubicBezTo>
                <a:cubicBezTo>
                  <a:pt x="5932960" y="1095457"/>
                  <a:pt x="5926130" y="1088893"/>
                  <a:pt x="5926130" y="1083059"/>
                </a:cubicBezTo>
                <a:cubicBezTo>
                  <a:pt x="5926130" y="1075037"/>
                  <a:pt x="5932960" y="1069203"/>
                  <a:pt x="5940548" y="1069203"/>
                </a:cubicBezTo>
                <a:close/>
                <a:moveTo>
                  <a:pt x="5870088" y="1069203"/>
                </a:moveTo>
                <a:cubicBezTo>
                  <a:pt x="5878650" y="1069203"/>
                  <a:pt x="5884877" y="1075037"/>
                  <a:pt x="5884877" y="1083059"/>
                </a:cubicBezTo>
                <a:cubicBezTo>
                  <a:pt x="5884877" y="1088893"/>
                  <a:pt x="5878650" y="1095457"/>
                  <a:pt x="5870088" y="1095457"/>
                </a:cubicBezTo>
                <a:cubicBezTo>
                  <a:pt x="5862304" y="1095457"/>
                  <a:pt x="5855299" y="1088893"/>
                  <a:pt x="5855299" y="1083059"/>
                </a:cubicBezTo>
                <a:cubicBezTo>
                  <a:pt x="5855299" y="1075037"/>
                  <a:pt x="5862304" y="1069203"/>
                  <a:pt x="5870088" y="1069203"/>
                </a:cubicBezTo>
                <a:close/>
                <a:moveTo>
                  <a:pt x="5799257" y="1069203"/>
                </a:moveTo>
                <a:cubicBezTo>
                  <a:pt x="5807819" y="1069203"/>
                  <a:pt x="5814045" y="1075037"/>
                  <a:pt x="5814045" y="1083059"/>
                </a:cubicBezTo>
                <a:cubicBezTo>
                  <a:pt x="5814045" y="1088893"/>
                  <a:pt x="5807819" y="1095457"/>
                  <a:pt x="5799257" y="1095457"/>
                </a:cubicBezTo>
                <a:cubicBezTo>
                  <a:pt x="5791474" y="1095457"/>
                  <a:pt x="5784469" y="1088893"/>
                  <a:pt x="5784469" y="1083059"/>
                </a:cubicBezTo>
                <a:cubicBezTo>
                  <a:pt x="5784469" y="1075037"/>
                  <a:pt x="5791474" y="1069203"/>
                  <a:pt x="5799257" y="1069203"/>
                </a:cubicBezTo>
                <a:close/>
                <a:moveTo>
                  <a:pt x="5724122" y="1069203"/>
                </a:moveTo>
                <a:cubicBezTo>
                  <a:pt x="5732144" y="1069203"/>
                  <a:pt x="5736519" y="1075037"/>
                  <a:pt x="5736519" y="1083059"/>
                </a:cubicBezTo>
                <a:cubicBezTo>
                  <a:pt x="5736519" y="1088893"/>
                  <a:pt x="5732144" y="1095457"/>
                  <a:pt x="5724122" y="1095457"/>
                </a:cubicBezTo>
                <a:cubicBezTo>
                  <a:pt x="5716100" y="1095457"/>
                  <a:pt x="5710266" y="1088893"/>
                  <a:pt x="5710266" y="1083059"/>
                </a:cubicBezTo>
                <a:cubicBezTo>
                  <a:pt x="5710266" y="1075037"/>
                  <a:pt x="5716100" y="1069203"/>
                  <a:pt x="5724122" y="1069203"/>
                </a:cubicBezTo>
                <a:close/>
                <a:moveTo>
                  <a:pt x="5653291" y="1069203"/>
                </a:moveTo>
                <a:cubicBezTo>
                  <a:pt x="5659125" y="1069203"/>
                  <a:pt x="5665688" y="1075037"/>
                  <a:pt x="5665688" y="1083059"/>
                </a:cubicBezTo>
                <a:cubicBezTo>
                  <a:pt x="5665688" y="1088893"/>
                  <a:pt x="5659125" y="1095457"/>
                  <a:pt x="5653291" y="1095457"/>
                </a:cubicBezTo>
                <a:cubicBezTo>
                  <a:pt x="5645269" y="1095457"/>
                  <a:pt x="5639435" y="1088893"/>
                  <a:pt x="5639435" y="1083059"/>
                </a:cubicBezTo>
                <a:cubicBezTo>
                  <a:pt x="5639435" y="1075037"/>
                  <a:pt x="5645269" y="1069203"/>
                  <a:pt x="5653291" y="1069203"/>
                </a:cubicBezTo>
                <a:close/>
                <a:moveTo>
                  <a:pt x="5581002" y="1069203"/>
                </a:moveTo>
                <a:cubicBezTo>
                  <a:pt x="5588295" y="1069203"/>
                  <a:pt x="5594858" y="1075037"/>
                  <a:pt x="5594858" y="1083059"/>
                </a:cubicBezTo>
                <a:cubicBezTo>
                  <a:pt x="5594858" y="1088893"/>
                  <a:pt x="5588295" y="1095457"/>
                  <a:pt x="5581002" y="1095457"/>
                </a:cubicBezTo>
                <a:cubicBezTo>
                  <a:pt x="5574439" y="1095457"/>
                  <a:pt x="5568605" y="1088893"/>
                  <a:pt x="5568605" y="1083059"/>
                </a:cubicBezTo>
                <a:cubicBezTo>
                  <a:pt x="5568605" y="1075037"/>
                  <a:pt x="5574439" y="1069203"/>
                  <a:pt x="5581002" y="1069203"/>
                </a:cubicBezTo>
                <a:close/>
                <a:moveTo>
                  <a:pt x="5510171" y="1069203"/>
                </a:moveTo>
                <a:cubicBezTo>
                  <a:pt x="5517464" y="1069203"/>
                  <a:pt x="5524027" y="1075037"/>
                  <a:pt x="5524027" y="1083059"/>
                </a:cubicBezTo>
                <a:cubicBezTo>
                  <a:pt x="5524027" y="1088893"/>
                  <a:pt x="5517464" y="1095457"/>
                  <a:pt x="5510171" y="1095457"/>
                </a:cubicBezTo>
                <a:cubicBezTo>
                  <a:pt x="5503608" y="1095457"/>
                  <a:pt x="5497774" y="1088893"/>
                  <a:pt x="5497774" y="1083059"/>
                </a:cubicBezTo>
                <a:cubicBezTo>
                  <a:pt x="5497774" y="1075037"/>
                  <a:pt x="5503608" y="1069203"/>
                  <a:pt x="5510171" y="1069203"/>
                </a:cubicBezTo>
                <a:close/>
                <a:moveTo>
                  <a:pt x="5438937" y="1069203"/>
                </a:moveTo>
                <a:cubicBezTo>
                  <a:pt x="5447182" y="1069203"/>
                  <a:pt x="5453178" y="1075037"/>
                  <a:pt x="5453178" y="1083059"/>
                </a:cubicBezTo>
                <a:cubicBezTo>
                  <a:pt x="5453178" y="1088893"/>
                  <a:pt x="5447182" y="1095457"/>
                  <a:pt x="5438937" y="1095457"/>
                </a:cubicBezTo>
                <a:cubicBezTo>
                  <a:pt x="5431442" y="1095457"/>
                  <a:pt x="5426945" y="1088893"/>
                  <a:pt x="5426945" y="1083059"/>
                </a:cubicBezTo>
                <a:cubicBezTo>
                  <a:pt x="5426945" y="1075037"/>
                  <a:pt x="5431442" y="1069203"/>
                  <a:pt x="5438937" y="1069203"/>
                </a:cubicBezTo>
                <a:close/>
                <a:moveTo>
                  <a:pt x="5367530" y="1069203"/>
                </a:moveTo>
                <a:cubicBezTo>
                  <a:pt x="5376092" y="1069203"/>
                  <a:pt x="5382318" y="1075037"/>
                  <a:pt x="5382318" y="1083059"/>
                </a:cubicBezTo>
                <a:cubicBezTo>
                  <a:pt x="5382318" y="1088893"/>
                  <a:pt x="5376092" y="1095457"/>
                  <a:pt x="5367530" y="1095457"/>
                </a:cubicBezTo>
                <a:cubicBezTo>
                  <a:pt x="5359747" y="1095457"/>
                  <a:pt x="5352742" y="1088893"/>
                  <a:pt x="5352742" y="1083059"/>
                </a:cubicBezTo>
                <a:cubicBezTo>
                  <a:pt x="5352742" y="1075037"/>
                  <a:pt x="5359747" y="1069203"/>
                  <a:pt x="5367530" y="1069203"/>
                </a:cubicBezTo>
                <a:close/>
                <a:moveTo>
                  <a:pt x="5296699" y="1069203"/>
                </a:moveTo>
                <a:cubicBezTo>
                  <a:pt x="5305261" y="1069203"/>
                  <a:pt x="5311488" y="1075037"/>
                  <a:pt x="5311488" y="1083059"/>
                </a:cubicBezTo>
                <a:cubicBezTo>
                  <a:pt x="5311488" y="1088893"/>
                  <a:pt x="5305261" y="1095457"/>
                  <a:pt x="5296699" y="1095457"/>
                </a:cubicBezTo>
                <a:cubicBezTo>
                  <a:pt x="5288915" y="1095457"/>
                  <a:pt x="5281910" y="1088893"/>
                  <a:pt x="5281910" y="1083059"/>
                </a:cubicBezTo>
                <a:cubicBezTo>
                  <a:pt x="5281910" y="1075037"/>
                  <a:pt x="5288915" y="1069203"/>
                  <a:pt x="5296699" y="1069203"/>
                </a:cubicBezTo>
                <a:close/>
                <a:moveTo>
                  <a:pt x="5225869" y="1069203"/>
                </a:moveTo>
                <a:cubicBezTo>
                  <a:pt x="5234431" y="1069203"/>
                  <a:pt x="5240657" y="1075037"/>
                  <a:pt x="5240657" y="1083059"/>
                </a:cubicBezTo>
                <a:cubicBezTo>
                  <a:pt x="5240657" y="1088893"/>
                  <a:pt x="5234431" y="1095457"/>
                  <a:pt x="5225869" y="1095457"/>
                </a:cubicBezTo>
                <a:cubicBezTo>
                  <a:pt x="5217307" y="1095457"/>
                  <a:pt x="5211081" y="1088893"/>
                  <a:pt x="5211081" y="1083059"/>
                </a:cubicBezTo>
                <a:cubicBezTo>
                  <a:pt x="5211081" y="1075037"/>
                  <a:pt x="5217307" y="1069203"/>
                  <a:pt x="5225869" y="1069203"/>
                </a:cubicBezTo>
                <a:close/>
                <a:moveTo>
                  <a:pt x="5154105" y="1069203"/>
                </a:moveTo>
                <a:cubicBezTo>
                  <a:pt x="5162127" y="1069203"/>
                  <a:pt x="5166502" y="1075037"/>
                  <a:pt x="5166502" y="1083059"/>
                </a:cubicBezTo>
                <a:cubicBezTo>
                  <a:pt x="5166502" y="1091081"/>
                  <a:pt x="5162127" y="1095457"/>
                  <a:pt x="5154105" y="1095457"/>
                </a:cubicBezTo>
                <a:cubicBezTo>
                  <a:pt x="5146083" y="1095457"/>
                  <a:pt x="5140249" y="1091081"/>
                  <a:pt x="5140249" y="1083059"/>
                </a:cubicBezTo>
                <a:cubicBezTo>
                  <a:pt x="5140249" y="1075037"/>
                  <a:pt x="5146083" y="1069203"/>
                  <a:pt x="5154105" y="1069203"/>
                </a:cubicBezTo>
                <a:close/>
                <a:moveTo>
                  <a:pt x="5083276" y="1069203"/>
                </a:moveTo>
                <a:cubicBezTo>
                  <a:pt x="5089110" y="1069203"/>
                  <a:pt x="5095673" y="1075037"/>
                  <a:pt x="5095673" y="1083059"/>
                </a:cubicBezTo>
                <a:cubicBezTo>
                  <a:pt x="5095673" y="1091081"/>
                  <a:pt x="5089110" y="1095457"/>
                  <a:pt x="5083276" y="1095457"/>
                </a:cubicBezTo>
                <a:cubicBezTo>
                  <a:pt x="5075254" y="1095457"/>
                  <a:pt x="5069420" y="1091081"/>
                  <a:pt x="5069420" y="1083059"/>
                </a:cubicBezTo>
                <a:cubicBezTo>
                  <a:pt x="5069420" y="1075037"/>
                  <a:pt x="5075254" y="1069203"/>
                  <a:pt x="5083276" y="1069203"/>
                </a:cubicBezTo>
                <a:close/>
                <a:moveTo>
                  <a:pt x="5012445" y="1069203"/>
                </a:moveTo>
                <a:cubicBezTo>
                  <a:pt x="5018279" y="1069203"/>
                  <a:pt x="5024842" y="1075037"/>
                  <a:pt x="5024842" y="1083059"/>
                </a:cubicBezTo>
                <a:cubicBezTo>
                  <a:pt x="5024842" y="1091081"/>
                  <a:pt x="5018279" y="1095457"/>
                  <a:pt x="5012445" y="1095457"/>
                </a:cubicBezTo>
                <a:cubicBezTo>
                  <a:pt x="5004423" y="1095457"/>
                  <a:pt x="4998589" y="1091081"/>
                  <a:pt x="4998589" y="1083059"/>
                </a:cubicBezTo>
                <a:cubicBezTo>
                  <a:pt x="4998589" y="1075037"/>
                  <a:pt x="5004423" y="1069203"/>
                  <a:pt x="5012445" y="1069203"/>
                </a:cubicBezTo>
                <a:close/>
                <a:moveTo>
                  <a:pt x="4940157" y="1069203"/>
                </a:moveTo>
                <a:cubicBezTo>
                  <a:pt x="4948179" y="1069203"/>
                  <a:pt x="4954013" y="1075037"/>
                  <a:pt x="4954013" y="1083059"/>
                </a:cubicBezTo>
                <a:cubicBezTo>
                  <a:pt x="4954013" y="1091081"/>
                  <a:pt x="4948179" y="1095457"/>
                  <a:pt x="4940157" y="1095457"/>
                </a:cubicBezTo>
                <a:cubicBezTo>
                  <a:pt x="4934323" y="1095457"/>
                  <a:pt x="4927760" y="1091081"/>
                  <a:pt x="4927760" y="1083059"/>
                </a:cubicBezTo>
                <a:cubicBezTo>
                  <a:pt x="4927760" y="1075037"/>
                  <a:pt x="4934323" y="1069203"/>
                  <a:pt x="4940157" y="1069203"/>
                </a:cubicBezTo>
                <a:close/>
                <a:moveTo>
                  <a:pt x="4865953" y="1069203"/>
                </a:moveTo>
                <a:cubicBezTo>
                  <a:pt x="4873975" y="1069203"/>
                  <a:pt x="4879809" y="1075037"/>
                  <a:pt x="4879809" y="1083059"/>
                </a:cubicBezTo>
                <a:cubicBezTo>
                  <a:pt x="4879809" y="1091081"/>
                  <a:pt x="4873975" y="1095457"/>
                  <a:pt x="4865953" y="1095457"/>
                </a:cubicBezTo>
                <a:cubicBezTo>
                  <a:pt x="4860119" y="1095457"/>
                  <a:pt x="4853556" y="1091081"/>
                  <a:pt x="4853556" y="1083059"/>
                </a:cubicBezTo>
                <a:cubicBezTo>
                  <a:pt x="4853556" y="1075037"/>
                  <a:pt x="4860119" y="1069203"/>
                  <a:pt x="4865953" y="1069203"/>
                </a:cubicBezTo>
                <a:close/>
                <a:moveTo>
                  <a:pt x="4795122" y="1069203"/>
                </a:moveTo>
                <a:cubicBezTo>
                  <a:pt x="4803144" y="1069203"/>
                  <a:pt x="4808978" y="1075037"/>
                  <a:pt x="4808978" y="1083059"/>
                </a:cubicBezTo>
                <a:cubicBezTo>
                  <a:pt x="4808978" y="1091081"/>
                  <a:pt x="4803144" y="1095457"/>
                  <a:pt x="4795122" y="1095457"/>
                </a:cubicBezTo>
                <a:cubicBezTo>
                  <a:pt x="4787830" y="1095457"/>
                  <a:pt x="4782725" y="1091081"/>
                  <a:pt x="4782725" y="1083059"/>
                </a:cubicBezTo>
                <a:cubicBezTo>
                  <a:pt x="4782725" y="1075037"/>
                  <a:pt x="4787830" y="1069203"/>
                  <a:pt x="4795122" y="1069203"/>
                </a:cubicBezTo>
                <a:close/>
                <a:moveTo>
                  <a:pt x="4726684" y="1069203"/>
                </a:moveTo>
                <a:cubicBezTo>
                  <a:pt x="4735246" y="1069203"/>
                  <a:pt x="4741472" y="1075037"/>
                  <a:pt x="4741472" y="1083059"/>
                </a:cubicBezTo>
                <a:cubicBezTo>
                  <a:pt x="4741472" y="1091081"/>
                  <a:pt x="4735246" y="1095457"/>
                  <a:pt x="4726684" y="1095457"/>
                </a:cubicBezTo>
                <a:cubicBezTo>
                  <a:pt x="4718122" y="1095457"/>
                  <a:pt x="4711896" y="1091081"/>
                  <a:pt x="4711896" y="1083059"/>
                </a:cubicBezTo>
                <a:cubicBezTo>
                  <a:pt x="4711896" y="1075037"/>
                  <a:pt x="4718122" y="1069203"/>
                  <a:pt x="4726684" y="1069203"/>
                </a:cubicBezTo>
                <a:close/>
                <a:moveTo>
                  <a:pt x="4655853" y="1069203"/>
                </a:moveTo>
                <a:cubicBezTo>
                  <a:pt x="4663637" y="1069203"/>
                  <a:pt x="4670642" y="1075037"/>
                  <a:pt x="4670642" y="1083059"/>
                </a:cubicBezTo>
                <a:cubicBezTo>
                  <a:pt x="4670642" y="1091081"/>
                  <a:pt x="4663637" y="1095457"/>
                  <a:pt x="4655853" y="1095457"/>
                </a:cubicBezTo>
                <a:cubicBezTo>
                  <a:pt x="4647291" y="1095457"/>
                  <a:pt x="4641064" y="1091081"/>
                  <a:pt x="4641064" y="1083059"/>
                </a:cubicBezTo>
                <a:cubicBezTo>
                  <a:pt x="4641064" y="1075037"/>
                  <a:pt x="4647291" y="1069203"/>
                  <a:pt x="4655853" y="1069203"/>
                </a:cubicBezTo>
                <a:close/>
                <a:moveTo>
                  <a:pt x="4585023" y="1069203"/>
                </a:moveTo>
                <a:cubicBezTo>
                  <a:pt x="4592806" y="1069203"/>
                  <a:pt x="4599811" y="1075037"/>
                  <a:pt x="4599811" y="1083059"/>
                </a:cubicBezTo>
                <a:cubicBezTo>
                  <a:pt x="4599811" y="1091081"/>
                  <a:pt x="4592806" y="1095457"/>
                  <a:pt x="4585023" y="1095457"/>
                </a:cubicBezTo>
                <a:cubicBezTo>
                  <a:pt x="4576461" y="1095457"/>
                  <a:pt x="4570235" y="1091081"/>
                  <a:pt x="4570235" y="1083059"/>
                </a:cubicBezTo>
                <a:cubicBezTo>
                  <a:pt x="4570235" y="1075037"/>
                  <a:pt x="4576461" y="1069203"/>
                  <a:pt x="4585023" y="1069203"/>
                </a:cubicBezTo>
                <a:close/>
                <a:moveTo>
                  <a:pt x="4513260" y="1069203"/>
                </a:moveTo>
                <a:cubicBezTo>
                  <a:pt x="4519094" y="1069203"/>
                  <a:pt x="4525657" y="1075430"/>
                  <a:pt x="4525657" y="1083991"/>
                </a:cubicBezTo>
                <a:cubicBezTo>
                  <a:pt x="4525657" y="1092553"/>
                  <a:pt x="4519094" y="1098780"/>
                  <a:pt x="4513260" y="1098780"/>
                </a:cubicBezTo>
                <a:cubicBezTo>
                  <a:pt x="4505238" y="1098780"/>
                  <a:pt x="4499404" y="1092553"/>
                  <a:pt x="4499404" y="1083991"/>
                </a:cubicBezTo>
                <a:cubicBezTo>
                  <a:pt x="4499404" y="1075430"/>
                  <a:pt x="4505238" y="1069203"/>
                  <a:pt x="4513260" y="1069203"/>
                </a:cubicBezTo>
                <a:close/>
                <a:moveTo>
                  <a:pt x="4439056" y="1069203"/>
                </a:moveTo>
                <a:cubicBezTo>
                  <a:pt x="4445619" y="1069203"/>
                  <a:pt x="4451453" y="1075430"/>
                  <a:pt x="4451453" y="1083991"/>
                </a:cubicBezTo>
                <a:cubicBezTo>
                  <a:pt x="4451453" y="1092553"/>
                  <a:pt x="4445619" y="1098780"/>
                  <a:pt x="4439056" y="1098780"/>
                </a:cubicBezTo>
                <a:cubicBezTo>
                  <a:pt x="4431763" y="1098780"/>
                  <a:pt x="4425200" y="1092553"/>
                  <a:pt x="4425200" y="1083991"/>
                </a:cubicBezTo>
                <a:cubicBezTo>
                  <a:pt x="4425200" y="1075430"/>
                  <a:pt x="4431763" y="1069203"/>
                  <a:pt x="4439056" y="1069203"/>
                </a:cubicBezTo>
                <a:close/>
                <a:moveTo>
                  <a:pt x="4366768" y="1069203"/>
                </a:moveTo>
                <a:cubicBezTo>
                  <a:pt x="4374790" y="1069203"/>
                  <a:pt x="4380624" y="1075430"/>
                  <a:pt x="4380624" y="1083991"/>
                </a:cubicBezTo>
                <a:cubicBezTo>
                  <a:pt x="4380624" y="1092553"/>
                  <a:pt x="4374790" y="1098780"/>
                  <a:pt x="4366768" y="1098780"/>
                </a:cubicBezTo>
                <a:cubicBezTo>
                  <a:pt x="4360934" y="1098780"/>
                  <a:pt x="4354371" y="1092553"/>
                  <a:pt x="4354371" y="1083991"/>
                </a:cubicBezTo>
                <a:cubicBezTo>
                  <a:pt x="4354371" y="1075430"/>
                  <a:pt x="4360934" y="1069203"/>
                  <a:pt x="4366768" y="1069203"/>
                </a:cubicBezTo>
                <a:close/>
                <a:moveTo>
                  <a:pt x="4295937" y="1069203"/>
                </a:moveTo>
                <a:cubicBezTo>
                  <a:pt x="4303959" y="1069203"/>
                  <a:pt x="4309793" y="1075430"/>
                  <a:pt x="4309793" y="1083991"/>
                </a:cubicBezTo>
                <a:cubicBezTo>
                  <a:pt x="4309793" y="1092553"/>
                  <a:pt x="4303959" y="1098780"/>
                  <a:pt x="4295937" y="1098780"/>
                </a:cubicBezTo>
                <a:cubicBezTo>
                  <a:pt x="4290103" y="1098780"/>
                  <a:pt x="4283540" y="1092553"/>
                  <a:pt x="4283540" y="1083991"/>
                </a:cubicBezTo>
                <a:cubicBezTo>
                  <a:pt x="4283540" y="1075430"/>
                  <a:pt x="4290103" y="1069203"/>
                  <a:pt x="4295937" y="1069203"/>
                </a:cubicBezTo>
                <a:close/>
                <a:moveTo>
                  <a:pt x="4225107" y="1069203"/>
                </a:moveTo>
                <a:cubicBezTo>
                  <a:pt x="4233129" y="1069203"/>
                  <a:pt x="4238963" y="1075430"/>
                  <a:pt x="4238963" y="1083991"/>
                </a:cubicBezTo>
                <a:cubicBezTo>
                  <a:pt x="4238963" y="1092553"/>
                  <a:pt x="4233129" y="1098780"/>
                  <a:pt x="4225107" y="1098780"/>
                </a:cubicBezTo>
                <a:cubicBezTo>
                  <a:pt x="4217085" y="1098780"/>
                  <a:pt x="4212710" y="1092553"/>
                  <a:pt x="4212710" y="1083991"/>
                </a:cubicBezTo>
                <a:cubicBezTo>
                  <a:pt x="4212710" y="1075430"/>
                  <a:pt x="4217085" y="1069203"/>
                  <a:pt x="4225107" y="1069203"/>
                </a:cubicBezTo>
                <a:close/>
                <a:moveTo>
                  <a:pt x="4153295" y="1069203"/>
                </a:moveTo>
                <a:cubicBezTo>
                  <a:pt x="4161078" y="1069203"/>
                  <a:pt x="4168083" y="1075430"/>
                  <a:pt x="4168083" y="1083991"/>
                </a:cubicBezTo>
                <a:cubicBezTo>
                  <a:pt x="4168083" y="1092553"/>
                  <a:pt x="4161078" y="1098780"/>
                  <a:pt x="4153295" y="1098780"/>
                </a:cubicBezTo>
                <a:cubicBezTo>
                  <a:pt x="4144733" y="1098780"/>
                  <a:pt x="4138507" y="1092553"/>
                  <a:pt x="4138507" y="1083991"/>
                </a:cubicBezTo>
                <a:cubicBezTo>
                  <a:pt x="4138507" y="1075430"/>
                  <a:pt x="4144733" y="1069203"/>
                  <a:pt x="4153295" y="1069203"/>
                </a:cubicBezTo>
                <a:close/>
                <a:moveTo>
                  <a:pt x="4082465" y="1069203"/>
                </a:moveTo>
                <a:cubicBezTo>
                  <a:pt x="4090249" y="1069203"/>
                  <a:pt x="4097254" y="1075430"/>
                  <a:pt x="4097254" y="1083991"/>
                </a:cubicBezTo>
                <a:cubicBezTo>
                  <a:pt x="4097254" y="1092553"/>
                  <a:pt x="4090249" y="1098780"/>
                  <a:pt x="4082465" y="1098780"/>
                </a:cubicBezTo>
                <a:cubicBezTo>
                  <a:pt x="4073903" y="1098780"/>
                  <a:pt x="4067676" y="1092553"/>
                  <a:pt x="4067676" y="1083991"/>
                </a:cubicBezTo>
                <a:cubicBezTo>
                  <a:pt x="4067676" y="1075430"/>
                  <a:pt x="4073903" y="1069203"/>
                  <a:pt x="4082465" y="1069203"/>
                </a:cubicBezTo>
                <a:close/>
                <a:moveTo>
                  <a:pt x="4011635" y="1069203"/>
                </a:moveTo>
                <a:cubicBezTo>
                  <a:pt x="4019418" y="1069203"/>
                  <a:pt x="4026423" y="1075430"/>
                  <a:pt x="4026423" y="1083991"/>
                </a:cubicBezTo>
                <a:cubicBezTo>
                  <a:pt x="4026423" y="1092553"/>
                  <a:pt x="4019418" y="1098780"/>
                  <a:pt x="4011635" y="1098780"/>
                </a:cubicBezTo>
                <a:cubicBezTo>
                  <a:pt x="4003073" y="1098780"/>
                  <a:pt x="3996847" y="1092553"/>
                  <a:pt x="3996847" y="1083991"/>
                </a:cubicBezTo>
                <a:cubicBezTo>
                  <a:pt x="3996847" y="1075430"/>
                  <a:pt x="4003073" y="1069203"/>
                  <a:pt x="4011635" y="1069203"/>
                </a:cubicBezTo>
                <a:close/>
                <a:moveTo>
                  <a:pt x="3939871" y="1069203"/>
                </a:moveTo>
                <a:cubicBezTo>
                  <a:pt x="3947893" y="1069203"/>
                  <a:pt x="3952268" y="1075430"/>
                  <a:pt x="3952268" y="1083991"/>
                </a:cubicBezTo>
                <a:cubicBezTo>
                  <a:pt x="3952268" y="1092553"/>
                  <a:pt x="3947893" y="1098780"/>
                  <a:pt x="3939871" y="1098780"/>
                </a:cubicBezTo>
                <a:cubicBezTo>
                  <a:pt x="3932578" y="1098780"/>
                  <a:pt x="3926015" y="1092553"/>
                  <a:pt x="3926015" y="1083991"/>
                </a:cubicBezTo>
                <a:cubicBezTo>
                  <a:pt x="3926015" y="1075430"/>
                  <a:pt x="3932578" y="1069203"/>
                  <a:pt x="3939871" y="1069203"/>
                </a:cubicBezTo>
                <a:close/>
                <a:moveTo>
                  <a:pt x="582439" y="1069203"/>
                </a:moveTo>
                <a:cubicBezTo>
                  <a:pt x="589732" y="1069203"/>
                  <a:pt x="596295" y="1075766"/>
                  <a:pt x="596295" y="1083059"/>
                </a:cubicBezTo>
                <a:cubicBezTo>
                  <a:pt x="596295" y="1089622"/>
                  <a:pt x="589732" y="1095457"/>
                  <a:pt x="582439" y="1095457"/>
                </a:cubicBezTo>
                <a:cubicBezTo>
                  <a:pt x="574416" y="1095457"/>
                  <a:pt x="570041" y="1089622"/>
                  <a:pt x="570041" y="1083059"/>
                </a:cubicBezTo>
                <a:cubicBezTo>
                  <a:pt x="570041" y="1075766"/>
                  <a:pt x="574416" y="1069203"/>
                  <a:pt x="582439" y="1069203"/>
                </a:cubicBezTo>
                <a:close/>
                <a:moveTo>
                  <a:pt x="513628" y="1069203"/>
                </a:moveTo>
                <a:cubicBezTo>
                  <a:pt x="521977" y="1069203"/>
                  <a:pt x="528807" y="1075766"/>
                  <a:pt x="528807" y="1083059"/>
                </a:cubicBezTo>
                <a:cubicBezTo>
                  <a:pt x="528807" y="1089622"/>
                  <a:pt x="521977" y="1095457"/>
                  <a:pt x="513628" y="1095457"/>
                </a:cubicBezTo>
                <a:cubicBezTo>
                  <a:pt x="506040" y="1095457"/>
                  <a:pt x="499209" y="1089622"/>
                  <a:pt x="499209" y="1083059"/>
                </a:cubicBezTo>
                <a:cubicBezTo>
                  <a:pt x="499209" y="1075766"/>
                  <a:pt x="506040" y="1069203"/>
                  <a:pt x="513628" y="1069203"/>
                </a:cubicBezTo>
                <a:close/>
                <a:moveTo>
                  <a:pt x="439795" y="1069203"/>
                </a:moveTo>
                <a:cubicBezTo>
                  <a:pt x="448358" y="1069203"/>
                  <a:pt x="454585" y="1075766"/>
                  <a:pt x="454585" y="1083059"/>
                </a:cubicBezTo>
                <a:cubicBezTo>
                  <a:pt x="454585" y="1089622"/>
                  <a:pt x="448358" y="1095457"/>
                  <a:pt x="439795" y="1095457"/>
                </a:cubicBezTo>
                <a:cubicBezTo>
                  <a:pt x="432012" y="1095457"/>
                  <a:pt x="425007" y="1089622"/>
                  <a:pt x="425007" y="1083059"/>
                </a:cubicBezTo>
                <a:cubicBezTo>
                  <a:pt x="425007" y="1075766"/>
                  <a:pt x="432012" y="1069203"/>
                  <a:pt x="439795" y="1069203"/>
                </a:cubicBezTo>
                <a:close/>
                <a:moveTo>
                  <a:pt x="368965" y="1069203"/>
                </a:moveTo>
                <a:cubicBezTo>
                  <a:pt x="377527" y="1069203"/>
                  <a:pt x="383754" y="1075766"/>
                  <a:pt x="383754" y="1083059"/>
                </a:cubicBezTo>
                <a:cubicBezTo>
                  <a:pt x="383754" y="1089622"/>
                  <a:pt x="377527" y="1095457"/>
                  <a:pt x="368965" y="1095457"/>
                </a:cubicBezTo>
                <a:cubicBezTo>
                  <a:pt x="361182" y="1095457"/>
                  <a:pt x="354177" y="1089622"/>
                  <a:pt x="354177" y="1083059"/>
                </a:cubicBezTo>
                <a:cubicBezTo>
                  <a:pt x="354177" y="1075766"/>
                  <a:pt x="361182" y="1069203"/>
                  <a:pt x="368965" y="1069203"/>
                </a:cubicBezTo>
                <a:close/>
                <a:moveTo>
                  <a:pt x="297201" y="1069203"/>
                </a:moveTo>
                <a:cubicBezTo>
                  <a:pt x="305223" y="1069203"/>
                  <a:pt x="309599" y="1075766"/>
                  <a:pt x="309599" y="1083059"/>
                </a:cubicBezTo>
                <a:cubicBezTo>
                  <a:pt x="309599" y="1089622"/>
                  <a:pt x="305223" y="1095457"/>
                  <a:pt x="297201" y="1095457"/>
                </a:cubicBezTo>
                <a:cubicBezTo>
                  <a:pt x="289909" y="1095457"/>
                  <a:pt x="283346" y="1089622"/>
                  <a:pt x="283346" y="1083059"/>
                </a:cubicBezTo>
                <a:cubicBezTo>
                  <a:pt x="283346" y="1075766"/>
                  <a:pt x="289909" y="1069203"/>
                  <a:pt x="297201" y="1069203"/>
                </a:cubicBezTo>
                <a:close/>
                <a:moveTo>
                  <a:pt x="226372" y="1069203"/>
                </a:moveTo>
                <a:cubicBezTo>
                  <a:pt x="232207" y="1069203"/>
                  <a:pt x="238771" y="1075766"/>
                  <a:pt x="238771" y="1083059"/>
                </a:cubicBezTo>
                <a:cubicBezTo>
                  <a:pt x="238771" y="1089622"/>
                  <a:pt x="232207" y="1095457"/>
                  <a:pt x="226372" y="1095457"/>
                </a:cubicBezTo>
                <a:cubicBezTo>
                  <a:pt x="218350" y="1095457"/>
                  <a:pt x="212516" y="1089622"/>
                  <a:pt x="212516" y="1083059"/>
                </a:cubicBezTo>
                <a:cubicBezTo>
                  <a:pt x="212516" y="1075766"/>
                  <a:pt x="218350" y="1069203"/>
                  <a:pt x="226372" y="1069203"/>
                </a:cubicBezTo>
                <a:close/>
                <a:moveTo>
                  <a:pt x="154079" y="1069203"/>
                </a:moveTo>
                <a:cubicBezTo>
                  <a:pt x="161372" y="1069203"/>
                  <a:pt x="167935" y="1075766"/>
                  <a:pt x="167935" y="1083059"/>
                </a:cubicBezTo>
                <a:cubicBezTo>
                  <a:pt x="167935" y="1089622"/>
                  <a:pt x="161372" y="1095457"/>
                  <a:pt x="154079" y="1095457"/>
                </a:cubicBezTo>
                <a:cubicBezTo>
                  <a:pt x="147516" y="1095457"/>
                  <a:pt x="141682" y="1089622"/>
                  <a:pt x="141682" y="1083059"/>
                </a:cubicBezTo>
                <a:cubicBezTo>
                  <a:pt x="141682" y="1075766"/>
                  <a:pt x="147516" y="1069203"/>
                  <a:pt x="154079" y="1069203"/>
                </a:cubicBezTo>
                <a:close/>
                <a:moveTo>
                  <a:pt x="83249" y="1069203"/>
                </a:moveTo>
                <a:cubicBezTo>
                  <a:pt x="90542" y="1069203"/>
                  <a:pt x="97105" y="1075766"/>
                  <a:pt x="97105" y="1083059"/>
                </a:cubicBezTo>
                <a:cubicBezTo>
                  <a:pt x="97105" y="1089622"/>
                  <a:pt x="90542" y="1095457"/>
                  <a:pt x="83249" y="1095457"/>
                </a:cubicBezTo>
                <a:cubicBezTo>
                  <a:pt x="76686" y="1095457"/>
                  <a:pt x="70852" y="1089622"/>
                  <a:pt x="70852" y="1083059"/>
                </a:cubicBezTo>
                <a:cubicBezTo>
                  <a:pt x="70852" y="1075766"/>
                  <a:pt x="76686" y="1069203"/>
                  <a:pt x="83249" y="1069203"/>
                </a:cubicBezTo>
                <a:close/>
                <a:moveTo>
                  <a:pt x="12014" y="1069203"/>
                </a:moveTo>
                <a:cubicBezTo>
                  <a:pt x="20258" y="1069203"/>
                  <a:pt x="26255" y="1075766"/>
                  <a:pt x="26255" y="1083059"/>
                </a:cubicBezTo>
                <a:cubicBezTo>
                  <a:pt x="26255" y="1091081"/>
                  <a:pt x="20258" y="1095457"/>
                  <a:pt x="12014" y="1095457"/>
                </a:cubicBezTo>
                <a:cubicBezTo>
                  <a:pt x="4518" y="1095457"/>
                  <a:pt x="21" y="1091081"/>
                  <a:pt x="21" y="1083059"/>
                </a:cubicBezTo>
                <a:cubicBezTo>
                  <a:pt x="21" y="1075766"/>
                  <a:pt x="4518" y="1069203"/>
                  <a:pt x="12014" y="1069203"/>
                </a:cubicBezTo>
                <a:close/>
                <a:moveTo>
                  <a:pt x="6724405" y="998371"/>
                </a:moveTo>
                <a:cubicBezTo>
                  <a:pt x="6732427" y="998371"/>
                  <a:pt x="6738261" y="1004205"/>
                  <a:pt x="6738261" y="1010768"/>
                </a:cubicBezTo>
                <a:cubicBezTo>
                  <a:pt x="6738261" y="1018061"/>
                  <a:pt x="6732427" y="1024625"/>
                  <a:pt x="6724405" y="1024625"/>
                </a:cubicBezTo>
                <a:cubicBezTo>
                  <a:pt x="6718571" y="1024625"/>
                  <a:pt x="6712008" y="1018061"/>
                  <a:pt x="6712008" y="1010768"/>
                </a:cubicBezTo>
                <a:cubicBezTo>
                  <a:pt x="6712008" y="1004205"/>
                  <a:pt x="6718571" y="998371"/>
                  <a:pt x="6724405" y="998371"/>
                </a:cubicBezTo>
                <a:close/>
                <a:moveTo>
                  <a:pt x="6653576" y="998371"/>
                </a:moveTo>
                <a:cubicBezTo>
                  <a:pt x="6660869" y="998371"/>
                  <a:pt x="6667432" y="1004205"/>
                  <a:pt x="6667432" y="1010768"/>
                </a:cubicBezTo>
                <a:cubicBezTo>
                  <a:pt x="6667432" y="1018061"/>
                  <a:pt x="6660869" y="1024625"/>
                  <a:pt x="6653576" y="1024625"/>
                </a:cubicBezTo>
                <a:cubicBezTo>
                  <a:pt x="6645554" y="1024625"/>
                  <a:pt x="6641179" y="1018061"/>
                  <a:pt x="6641179" y="1010768"/>
                </a:cubicBezTo>
                <a:cubicBezTo>
                  <a:pt x="6641179" y="1004205"/>
                  <a:pt x="6645554" y="998371"/>
                  <a:pt x="6653576" y="998371"/>
                </a:cubicBezTo>
                <a:close/>
                <a:moveTo>
                  <a:pt x="6581764" y="998371"/>
                </a:moveTo>
                <a:cubicBezTo>
                  <a:pt x="6589547" y="998371"/>
                  <a:pt x="6596552" y="1004205"/>
                  <a:pt x="6596552" y="1010768"/>
                </a:cubicBezTo>
                <a:cubicBezTo>
                  <a:pt x="6596552" y="1018061"/>
                  <a:pt x="6589547" y="1024625"/>
                  <a:pt x="6581764" y="1024625"/>
                </a:cubicBezTo>
                <a:cubicBezTo>
                  <a:pt x="6573202" y="1024625"/>
                  <a:pt x="6566976" y="1018061"/>
                  <a:pt x="6566976" y="1010768"/>
                </a:cubicBezTo>
                <a:cubicBezTo>
                  <a:pt x="6566976" y="1004205"/>
                  <a:pt x="6573202" y="998371"/>
                  <a:pt x="6581764" y="998371"/>
                </a:cubicBezTo>
                <a:close/>
                <a:moveTo>
                  <a:pt x="6510933" y="998371"/>
                </a:moveTo>
                <a:cubicBezTo>
                  <a:pt x="6518717" y="998371"/>
                  <a:pt x="6525722" y="1004205"/>
                  <a:pt x="6525722" y="1010768"/>
                </a:cubicBezTo>
                <a:cubicBezTo>
                  <a:pt x="6525722" y="1018061"/>
                  <a:pt x="6518717" y="1024625"/>
                  <a:pt x="6510933" y="1024625"/>
                </a:cubicBezTo>
                <a:cubicBezTo>
                  <a:pt x="6502371" y="1024625"/>
                  <a:pt x="6496144" y="1018061"/>
                  <a:pt x="6496144" y="1010768"/>
                </a:cubicBezTo>
                <a:cubicBezTo>
                  <a:pt x="6496144" y="1004205"/>
                  <a:pt x="6502371" y="998371"/>
                  <a:pt x="6510933" y="998371"/>
                </a:cubicBezTo>
                <a:close/>
                <a:moveTo>
                  <a:pt x="6440492" y="998371"/>
                </a:moveTo>
                <a:cubicBezTo>
                  <a:pt x="6448081" y="998371"/>
                  <a:pt x="6454911" y="1004205"/>
                  <a:pt x="6454911" y="1010768"/>
                </a:cubicBezTo>
                <a:cubicBezTo>
                  <a:pt x="6454911" y="1018061"/>
                  <a:pt x="6448081" y="1024625"/>
                  <a:pt x="6440492" y="1024625"/>
                </a:cubicBezTo>
                <a:cubicBezTo>
                  <a:pt x="6432145" y="1024625"/>
                  <a:pt x="6425315" y="1018061"/>
                  <a:pt x="6425315" y="1010768"/>
                </a:cubicBezTo>
                <a:cubicBezTo>
                  <a:pt x="6425315" y="1004205"/>
                  <a:pt x="6432145" y="998371"/>
                  <a:pt x="6440492" y="998371"/>
                </a:cubicBezTo>
                <a:close/>
                <a:moveTo>
                  <a:pt x="6368340" y="998371"/>
                </a:moveTo>
                <a:cubicBezTo>
                  <a:pt x="6376362" y="998371"/>
                  <a:pt x="6380737" y="1004205"/>
                  <a:pt x="6380737" y="1010768"/>
                </a:cubicBezTo>
                <a:cubicBezTo>
                  <a:pt x="6380737" y="1018061"/>
                  <a:pt x="6376362" y="1024625"/>
                  <a:pt x="6368340" y="1024625"/>
                </a:cubicBezTo>
                <a:cubicBezTo>
                  <a:pt x="6361047" y="1024625"/>
                  <a:pt x="6354484" y="1018061"/>
                  <a:pt x="6354484" y="1010768"/>
                </a:cubicBezTo>
                <a:cubicBezTo>
                  <a:pt x="6354484" y="1004205"/>
                  <a:pt x="6361047" y="998371"/>
                  <a:pt x="6368340" y="998371"/>
                </a:cubicBezTo>
                <a:close/>
                <a:moveTo>
                  <a:pt x="6297511" y="998371"/>
                </a:moveTo>
                <a:cubicBezTo>
                  <a:pt x="6304074" y="998371"/>
                  <a:pt x="6309908" y="1004205"/>
                  <a:pt x="6309908" y="1010768"/>
                </a:cubicBezTo>
                <a:cubicBezTo>
                  <a:pt x="6309908" y="1018061"/>
                  <a:pt x="6304074" y="1024625"/>
                  <a:pt x="6297511" y="1024625"/>
                </a:cubicBezTo>
                <a:cubicBezTo>
                  <a:pt x="6290218" y="1024625"/>
                  <a:pt x="6283655" y="1018061"/>
                  <a:pt x="6283655" y="1010768"/>
                </a:cubicBezTo>
                <a:cubicBezTo>
                  <a:pt x="6283655" y="1004205"/>
                  <a:pt x="6290218" y="998371"/>
                  <a:pt x="6297511" y="998371"/>
                </a:cubicBezTo>
                <a:close/>
                <a:moveTo>
                  <a:pt x="6226679" y="998371"/>
                </a:moveTo>
                <a:cubicBezTo>
                  <a:pt x="6233242" y="998371"/>
                  <a:pt x="6239076" y="1004205"/>
                  <a:pt x="6239076" y="1010768"/>
                </a:cubicBezTo>
                <a:cubicBezTo>
                  <a:pt x="6239076" y="1018061"/>
                  <a:pt x="6233242" y="1024625"/>
                  <a:pt x="6226679" y="1024625"/>
                </a:cubicBezTo>
                <a:cubicBezTo>
                  <a:pt x="6219386" y="1024625"/>
                  <a:pt x="6212823" y="1018061"/>
                  <a:pt x="6212823" y="1010768"/>
                </a:cubicBezTo>
                <a:cubicBezTo>
                  <a:pt x="6212823" y="1004205"/>
                  <a:pt x="6219386" y="998371"/>
                  <a:pt x="6226679" y="998371"/>
                </a:cubicBezTo>
                <a:close/>
                <a:moveTo>
                  <a:pt x="6154391" y="998371"/>
                </a:moveTo>
                <a:cubicBezTo>
                  <a:pt x="6161684" y="998371"/>
                  <a:pt x="6168247" y="1004205"/>
                  <a:pt x="6168247" y="1010768"/>
                </a:cubicBezTo>
                <a:cubicBezTo>
                  <a:pt x="6168247" y="1018061"/>
                  <a:pt x="6161684" y="1024625"/>
                  <a:pt x="6154391" y="1024625"/>
                </a:cubicBezTo>
                <a:cubicBezTo>
                  <a:pt x="6147828" y="1024625"/>
                  <a:pt x="6141994" y="1018061"/>
                  <a:pt x="6141994" y="1010768"/>
                </a:cubicBezTo>
                <a:cubicBezTo>
                  <a:pt x="6141994" y="1004205"/>
                  <a:pt x="6147828" y="998371"/>
                  <a:pt x="6154391" y="998371"/>
                </a:cubicBezTo>
                <a:close/>
                <a:moveTo>
                  <a:pt x="6083559" y="998371"/>
                </a:moveTo>
                <a:cubicBezTo>
                  <a:pt x="6090852" y="998371"/>
                  <a:pt x="6097415" y="1004205"/>
                  <a:pt x="6097415" y="1010768"/>
                </a:cubicBezTo>
                <a:cubicBezTo>
                  <a:pt x="6097415" y="1018061"/>
                  <a:pt x="6090852" y="1024625"/>
                  <a:pt x="6083559" y="1024625"/>
                </a:cubicBezTo>
                <a:cubicBezTo>
                  <a:pt x="6076996" y="1024625"/>
                  <a:pt x="6071162" y="1018061"/>
                  <a:pt x="6071162" y="1010768"/>
                </a:cubicBezTo>
                <a:cubicBezTo>
                  <a:pt x="6071162" y="1004205"/>
                  <a:pt x="6076996" y="998371"/>
                  <a:pt x="6083559" y="998371"/>
                </a:cubicBezTo>
                <a:close/>
                <a:moveTo>
                  <a:pt x="6009356" y="998371"/>
                </a:moveTo>
                <a:cubicBezTo>
                  <a:pt x="6016649" y="998371"/>
                  <a:pt x="6023212" y="1004205"/>
                  <a:pt x="6023212" y="1010768"/>
                </a:cubicBezTo>
                <a:cubicBezTo>
                  <a:pt x="6023212" y="1018061"/>
                  <a:pt x="6016649" y="1024625"/>
                  <a:pt x="6009356" y="1024625"/>
                </a:cubicBezTo>
                <a:cubicBezTo>
                  <a:pt x="6001334" y="1024625"/>
                  <a:pt x="5996959" y="1018061"/>
                  <a:pt x="5996959" y="1010768"/>
                </a:cubicBezTo>
                <a:cubicBezTo>
                  <a:pt x="5996959" y="1004205"/>
                  <a:pt x="6001334" y="998371"/>
                  <a:pt x="6009356" y="998371"/>
                </a:cubicBezTo>
                <a:close/>
                <a:moveTo>
                  <a:pt x="5940548" y="998371"/>
                </a:moveTo>
                <a:cubicBezTo>
                  <a:pt x="5948896" y="998371"/>
                  <a:pt x="5955726" y="1004205"/>
                  <a:pt x="5955726" y="1010768"/>
                </a:cubicBezTo>
                <a:cubicBezTo>
                  <a:pt x="5955726" y="1018061"/>
                  <a:pt x="5948896" y="1024625"/>
                  <a:pt x="5940548" y="1024625"/>
                </a:cubicBezTo>
                <a:cubicBezTo>
                  <a:pt x="5932960" y="1024625"/>
                  <a:pt x="5926130" y="1018061"/>
                  <a:pt x="5926130" y="1010768"/>
                </a:cubicBezTo>
                <a:cubicBezTo>
                  <a:pt x="5926130" y="1004205"/>
                  <a:pt x="5932960" y="998371"/>
                  <a:pt x="5940548" y="998371"/>
                </a:cubicBezTo>
                <a:close/>
                <a:moveTo>
                  <a:pt x="5870088" y="998371"/>
                </a:moveTo>
                <a:cubicBezTo>
                  <a:pt x="5878650" y="998371"/>
                  <a:pt x="5884877" y="1004205"/>
                  <a:pt x="5884877" y="1010768"/>
                </a:cubicBezTo>
                <a:cubicBezTo>
                  <a:pt x="5884877" y="1018061"/>
                  <a:pt x="5878650" y="1024625"/>
                  <a:pt x="5870088" y="1024625"/>
                </a:cubicBezTo>
                <a:cubicBezTo>
                  <a:pt x="5862304" y="1024625"/>
                  <a:pt x="5855299" y="1018061"/>
                  <a:pt x="5855299" y="1010768"/>
                </a:cubicBezTo>
                <a:cubicBezTo>
                  <a:pt x="5855299" y="1004205"/>
                  <a:pt x="5862304" y="998371"/>
                  <a:pt x="5870088" y="998371"/>
                </a:cubicBezTo>
                <a:close/>
                <a:moveTo>
                  <a:pt x="5799257" y="998371"/>
                </a:moveTo>
                <a:cubicBezTo>
                  <a:pt x="5807819" y="998371"/>
                  <a:pt x="5814045" y="1004205"/>
                  <a:pt x="5814045" y="1010768"/>
                </a:cubicBezTo>
                <a:cubicBezTo>
                  <a:pt x="5814045" y="1018061"/>
                  <a:pt x="5807819" y="1024625"/>
                  <a:pt x="5799257" y="1024625"/>
                </a:cubicBezTo>
                <a:cubicBezTo>
                  <a:pt x="5791474" y="1024625"/>
                  <a:pt x="5784469" y="1018061"/>
                  <a:pt x="5784469" y="1010768"/>
                </a:cubicBezTo>
                <a:cubicBezTo>
                  <a:pt x="5784469" y="1004205"/>
                  <a:pt x="5791474" y="998371"/>
                  <a:pt x="5799257" y="998371"/>
                </a:cubicBezTo>
                <a:close/>
                <a:moveTo>
                  <a:pt x="5724122" y="998371"/>
                </a:moveTo>
                <a:cubicBezTo>
                  <a:pt x="5730685" y="998371"/>
                  <a:pt x="5736519" y="1004205"/>
                  <a:pt x="5736519" y="1010768"/>
                </a:cubicBezTo>
                <a:cubicBezTo>
                  <a:pt x="5736519" y="1018061"/>
                  <a:pt x="5730685" y="1024625"/>
                  <a:pt x="5724122" y="1024625"/>
                </a:cubicBezTo>
                <a:cubicBezTo>
                  <a:pt x="5716100" y="1024625"/>
                  <a:pt x="5710266" y="1018061"/>
                  <a:pt x="5710266" y="1010768"/>
                </a:cubicBezTo>
                <a:cubicBezTo>
                  <a:pt x="5710266" y="1004205"/>
                  <a:pt x="5716100" y="998371"/>
                  <a:pt x="5724122" y="998371"/>
                </a:cubicBezTo>
                <a:close/>
                <a:moveTo>
                  <a:pt x="5653291" y="998371"/>
                </a:moveTo>
                <a:cubicBezTo>
                  <a:pt x="5659125" y="998371"/>
                  <a:pt x="5665688" y="1004205"/>
                  <a:pt x="5665688" y="1012227"/>
                </a:cubicBezTo>
                <a:cubicBezTo>
                  <a:pt x="5665688" y="1018061"/>
                  <a:pt x="5659125" y="1024625"/>
                  <a:pt x="5653291" y="1024625"/>
                </a:cubicBezTo>
                <a:cubicBezTo>
                  <a:pt x="5645269" y="1024625"/>
                  <a:pt x="5639435" y="1018061"/>
                  <a:pt x="5639435" y="1012227"/>
                </a:cubicBezTo>
                <a:cubicBezTo>
                  <a:pt x="5639435" y="1004205"/>
                  <a:pt x="5645269" y="998371"/>
                  <a:pt x="5653291" y="998371"/>
                </a:cubicBezTo>
                <a:close/>
                <a:moveTo>
                  <a:pt x="5581002" y="998371"/>
                </a:moveTo>
                <a:cubicBezTo>
                  <a:pt x="5588295" y="998371"/>
                  <a:pt x="5594858" y="1004205"/>
                  <a:pt x="5594858" y="1012227"/>
                </a:cubicBezTo>
                <a:cubicBezTo>
                  <a:pt x="5594858" y="1018061"/>
                  <a:pt x="5588295" y="1024625"/>
                  <a:pt x="5581002" y="1024625"/>
                </a:cubicBezTo>
                <a:cubicBezTo>
                  <a:pt x="5574439" y="1024625"/>
                  <a:pt x="5568605" y="1018061"/>
                  <a:pt x="5568605" y="1012227"/>
                </a:cubicBezTo>
                <a:cubicBezTo>
                  <a:pt x="5568605" y="1004205"/>
                  <a:pt x="5574439" y="998371"/>
                  <a:pt x="5581002" y="998371"/>
                </a:cubicBezTo>
                <a:close/>
                <a:moveTo>
                  <a:pt x="5510171" y="998371"/>
                </a:moveTo>
                <a:cubicBezTo>
                  <a:pt x="5517464" y="998371"/>
                  <a:pt x="5524027" y="1004205"/>
                  <a:pt x="5524027" y="1012227"/>
                </a:cubicBezTo>
                <a:cubicBezTo>
                  <a:pt x="5524027" y="1018061"/>
                  <a:pt x="5517464" y="1024625"/>
                  <a:pt x="5510171" y="1024625"/>
                </a:cubicBezTo>
                <a:cubicBezTo>
                  <a:pt x="5503608" y="1024625"/>
                  <a:pt x="5497774" y="1018061"/>
                  <a:pt x="5497774" y="1012227"/>
                </a:cubicBezTo>
                <a:cubicBezTo>
                  <a:pt x="5497774" y="1004205"/>
                  <a:pt x="5503608" y="998371"/>
                  <a:pt x="5510171" y="998371"/>
                </a:cubicBezTo>
                <a:close/>
                <a:moveTo>
                  <a:pt x="5438937" y="998371"/>
                </a:moveTo>
                <a:cubicBezTo>
                  <a:pt x="5447182" y="998371"/>
                  <a:pt x="5453178" y="1004205"/>
                  <a:pt x="5453178" y="1012227"/>
                </a:cubicBezTo>
                <a:cubicBezTo>
                  <a:pt x="5453178" y="1018061"/>
                  <a:pt x="5447182" y="1024625"/>
                  <a:pt x="5438937" y="1024625"/>
                </a:cubicBezTo>
                <a:cubicBezTo>
                  <a:pt x="5431442" y="1024625"/>
                  <a:pt x="5426945" y="1018061"/>
                  <a:pt x="5426945" y="1012227"/>
                </a:cubicBezTo>
                <a:cubicBezTo>
                  <a:pt x="5426945" y="1004205"/>
                  <a:pt x="5431442" y="998371"/>
                  <a:pt x="5438937" y="998371"/>
                </a:cubicBezTo>
                <a:close/>
                <a:moveTo>
                  <a:pt x="5367530" y="998371"/>
                </a:moveTo>
                <a:cubicBezTo>
                  <a:pt x="5376092" y="998371"/>
                  <a:pt x="5382318" y="1004205"/>
                  <a:pt x="5382318" y="1012227"/>
                </a:cubicBezTo>
                <a:cubicBezTo>
                  <a:pt x="5382318" y="1018061"/>
                  <a:pt x="5376092" y="1024625"/>
                  <a:pt x="5367530" y="1024625"/>
                </a:cubicBezTo>
                <a:cubicBezTo>
                  <a:pt x="5359747" y="1024625"/>
                  <a:pt x="5352742" y="1018061"/>
                  <a:pt x="5352742" y="1012227"/>
                </a:cubicBezTo>
                <a:cubicBezTo>
                  <a:pt x="5352742" y="1004205"/>
                  <a:pt x="5359747" y="998371"/>
                  <a:pt x="5367530" y="998371"/>
                </a:cubicBezTo>
                <a:close/>
                <a:moveTo>
                  <a:pt x="5296699" y="998371"/>
                </a:moveTo>
                <a:cubicBezTo>
                  <a:pt x="5305261" y="998371"/>
                  <a:pt x="5311488" y="1004205"/>
                  <a:pt x="5311488" y="1012227"/>
                </a:cubicBezTo>
                <a:cubicBezTo>
                  <a:pt x="5311488" y="1018061"/>
                  <a:pt x="5305261" y="1024625"/>
                  <a:pt x="5296699" y="1024625"/>
                </a:cubicBezTo>
                <a:cubicBezTo>
                  <a:pt x="5288915" y="1024625"/>
                  <a:pt x="5281910" y="1018061"/>
                  <a:pt x="5281910" y="1012227"/>
                </a:cubicBezTo>
                <a:cubicBezTo>
                  <a:pt x="5281910" y="1004205"/>
                  <a:pt x="5288915" y="998371"/>
                  <a:pt x="5296699" y="998371"/>
                </a:cubicBezTo>
                <a:close/>
                <a:moveTo>
                  <a:pt x="5225869" y="998371"/>
                </a:moveTo>
                <a:cubicBezTo>
                  <a:pt x="5234431" y="998371"/>
                  <a:pt x="5240657" y="1004205"/>
                  <a:pt x="5240657" y="1012227"/>
                </a:cubicBezTo>
                <a:cubicBezTo>
                  <a:pt x="5240657" y="1018061"/>
                  <a:pt x="5234431" y="1024625"/>
                  <a:pt x="5225869" y="1024625"/>
                </a:cubicBezTo>
                <a:cubicBezTo>
                  <a:pt x="5217307" y="1024625"/>
                  <a:pt x="5211081" y="1018061"/>
                  <a:pt x="5211081" y="1012227"/>
                </a:cubicBezTo>
                <a:cubicBezTo>
                  <a:pt x="5211081" y="1004205"/>
                  <a:pt x="5217307" y="998371"/>
                  <a:pt x="5225869" y="998371"/>
                </a:cubicBezTo>
                <a:close/>
                <a:moveTo>
                  <a:pt x="5154105" y="998371"/>
                </a:moveTo>
                <a:cubicBezTo>
                  <a:pt x="5162127" y="998371"/>
                  <a:pt x="5166502" y="1004205"/>
                  <a:pt x="5166502" y="1012227"/>
                </a:cubicBezTo>
                <a:cubicBezTo>
                  <a:pt x="5166502" y="1018061"/>
                  <a:pt x="5162127" y="1024625"/>
                  <a:pt x="5154105" y="1024625"/>
                </a:cubicBezTo>
                <a:cubicBezTo>
                  <a:pt x="5146083" y="1024625"/>
                  <a:pt x="5140249" y="1018061"/>
                  <a:pt x="5140249" y="1012227"/>
                </a:cubicBezTo>
                <a:cubicBezTo>
                  <a:pt x="5140249" y="1004205"/>
                  <a:pt x="5146083" y="998371"/>
                  <a:pt x="5154105" y="998371"/>
                </a:cubicBezTo>
                <a:close/>
                <a:moveTo>
                  <a:pt x="5083276" y="998371"/>
                </a:moveTo>
                <a:cubicBezTo>
                  <a:pt x="5089110" y="998371"/>
                  <a:pt x="5095673" y="1004205"/>
                  <a:pt x="5095673" y="1012227"/>
                </a:cubicBezTo>
                <a:cubicBezTo>
                  <a:pt x="5095673" y="1018061"/>
                  <a:pt x="5089110" y="1024625"/>
                  <a:pt x="5083276" y="1024625"/>
                </a:cubicBezTo>
                <a:cubicBezTo>
                  <a:pt x="5075254" y="1024625"/>
                  <a:pt x="5069420" y="1018061"/>
                  <a:pt x="5069420" y="1012227"/>
                </a:cubicBezTo>
                <a:cubicBezTo>
                  <a:pt x="5069420" y="1004205"/>
                  <a:pt x="5075254" y="998371"/>
                  <a:pt x="5083276" y="998371"/>
                </a:cubicBezTo>
                <a:close/>
                <a:moveTo>
                  <a:pt x="5012445" y="998371"/>
                </a:moveTo>
                <a:cubicBezTo>
                  <a:pt x="5018279" y="998371"/>
                  <a:pt x="5024842" y="1004205"/>
                  <a:pt x="5024842" y="1012227"/>
                </a:cubicBezTo>
                <a:cubicBezTo>
                  <a:pt x="5024842" y="1018061"/>
                  <a:pt x="5018279" y="1024625"/>
                  <a:pt x="5012445" y="1024625"/>
                </a:cubicBezTo>
                <a:cubicBezTo>
                  <a:pt x="5004423" y="1024625"/>
                  <a:pt x="4998589" y="1018061"/>
                  <a:pt x="4998589" y="1012227"/>
                </a:cubicBezTo>
                <a:cubicBezTo>
                  <a:pt x="4998589" y="1004205"/>
                  <a:pt x="5004423" y="998371"/>
                  <a:pt x="5012445" y="998371"/>
                </a:cubicBezTo>
                <a:close/>
                <a:moveTo>
                  <a:pt x="4940157" y="998371"/>
                </a:moveTo>
                <a:cubicBezTo>
                  <a:pt x="4948179" y="998371"/>
                  <a:pt x="4954013" y="1004205"/>
                  <a:pt x="4954013" y="1012227"/>
                </a:cubicBezTo>
                <a:cubicBezTo>
                  <a:pt x="4954013" y="1018061"/>
                  <a:pt x="4948179" y="1024625"/>
                  <a:pt x="4940157" y="1024625"/>
                </a:cubicBezTo>
                <a:cubicBezTo>
                  <a:pt x="4934323" y="1024625"/>
                  <a:pt x="4927760" y="1018061"/>
                  <a:pt x="4927760" y="1012227"/>
                </a:cubicBezTo>
                <a:cubicBezTo>
                  <a:pt x="4927760" y="1004205"/>
                  <a:pt x="4934323" y="998371"/>
                  <a:pt x="4940157" y="998371"/>
                </a:cubicBezTo>
                <a:close/>
                <a:moveTo>
                  <a:pt x="4865953" y="998371"/>
                </a:moveTo>
                <a:cubicBezTo>
                  <a:pt x="4873975" y="998371"/>
                  <a:pt x="4879809" y="1004205"/>
                  <a:pt x="4879809" y="1012227"/>
                </a:cubicBezTo>
                <a:cubicBezTo>
                  <a:pt x="4879809" y="1018061"/>
                  <a:pt x="4873975" y="1024625"/>
                  <a:pt x="4865953" y="1024625"/>
                </a:cubicBezTo>
                <a:cubicBezTo>
                  <a:pt x="4860119" y="1024625"/>
                  <a:pt x="4853556" y="1018061"/>
                  <a:pt x="4853556" y="1012227"/>
                </a:cubicBezTo>
                <a:cubicBezTo>
                  <a:pt x="4853556" y="1004205"/>
                  <a:pt x="4860119" y="998371"/>
                  <a:pt x="4865953" y="998371"/>
                </a:cubicBezTo>
                <a:close/>
                <a:moveTo>
                  <a:pt x="4797514" y="998371"/>
                </a:moveTo>
                <a:cubicBezTo>
                  <a:pt x="4806076" y="998371"/>
                  <a:pt x="4812303" y="1004205"/>
                  <a:pt x="4812303" y="1012227"/>
                </a:cubicBezTo>
                <a:cubicBezTo>
                  <a:pt x="4812303" y="1018061"/>
                  <a:pt x="4806076" y="1024625"/>
                  <a:pt x="4797514" y="1024625"/>
                </a:cubicBezTo>
                <a:cubicBezTo>
                  <a:pt x="4789730" y="1024625"/>
                  <a:pt x="4784282" y="1018061"/>
                  <a:pt x="4782725" y="1012227"/>
                </a:cubicBezTo>
                <a:cubicBezTo>
                  <a:pt x="4782725" y="1004205"/>
                  <a:pt x="4789730" y="998371"/>
                  <a:pt x="4797514" y="998371"/>
                </a:cubicBezTo>
                <a:close/>
                <a:moveTo>
                  <a:pt x="4726684" y="998371"/>
                </a:moveTo>
                <a:cubicBezTo>
                  <a:pt x="4735246" y="998371"/>
                  <a:pt x="4741472" y="1004205"/>
                  <a:pt x="4741472" y="1012227"/>
                </a:cubicBezTo>
                <a:cubicBezTo>
                  <a:pt x="4741472" y="1018061"/>
                  <a:pt x="4735246" y="1024625"/>
                  <a:pt x="4726684" y="1024625"/>
                </a:cubicBezTo>
                <a:cubicBezTo>
                  <a:pt x="4718122" y="1024625"/>
                  <a:pt x="4711896" y="1018061"/>
                  <a:pt x="4711896" y="1012227"/>
                </a:cubicBezTo>
                <a:cubicBezTo>
                  <a:pt x="4711896" y="1004205"/>
                  <a:pt x="4718122" y="998371"/>
                  <a:pt x="4726684" y="998371"/>
                </a:cubicBezTo>
                <a:close/>
                <a:moveTo>
                  <a:pt x="4655853" y="998371"/>
                </a:moveTo>
                <a:cubicBezTo>
                  <a:pt x="4663637" y="998371"/>
                  <a:pt x="4670642" y="1004205"/>
                  <a:pt x="4670642" y="1012227"/>
                </a:cubicBezTo>
                <a:cubicBezTo>
                  <a:pt x="4670642" y="1018061"/>
                  <a:pt x="4663637" y="1024625"/>
                  <a:pt x="4655853" y="1024625"/>
                </a:cubicBezTo>
                <a:cubicBezTo>
                  <a:pt x="4647291" y="1024625"/>
                  <a:pt x="4641064" y="1018061"/>
                  <a:pt x="4641064" y="1012227"/>
                </a:cubicBezTo>
                <a:cubicBezTo>
                  <a:pt x="4641064" y="1004205"/>
                  <a:pt x="4647291" y="998371"/>
                  <a:pt x="4655853" y="998371"/>
                </a:cubicBezTo>
                <a:close/>
                <a:moveTo>
                  <a:pt x="4584091" y="998371"/>
                </a:moveTo>
                <a:cubicBezTo>
                  <a:pt x="4591384" y="998371"/>
                  <a:pt x="4596488" y="1004205"/>
                  <a:pt x="4596488" y="1012227"/>
                </a:cubicBezTo>
                <a:cubicBezTo>
                  <a:pt x="4596488" y="1018061"/>
                  <a:pt x="4591384" y="1024625"/>
                  <a:pt x="4584091" y="1024625"/>
                </a:cubicBezTo>
                <a:cubicBezTo>
                  <a:pt x="4576069" y="1024625"/>
                  <a:pt x="4570235" y="1018061"/>
                  <a:pt x="4570235" y="1012227"/>
                </a:cubicBezTo>
                <a:cubicBezTo>
                  <a:pt x="4570235" y="1004205"/>
                  <a:pt x="4576069" y="998371"/>
                  <a:pt x="4584091" y="998371"/>
                </a:cubicBezTo>
                <a:close/>
                <a:moveTo>
                  <a:pt x="4513260" y="998371"/>
                </a:moveTo>
                <a:cubicBezTo>
                  <a:pt x="4519094" y="998371"/>
                  <a:pt x="4525657" y="1004205"/>
                  <a:pt x="4525657" y="1012227"/>
                </a:cubicBezTo>
                <a:cubicBezTo>
                  <a:pt x="4525657" y="1019520"/>
                  <a:pt x="4519094" y="1024625"/>
                  <a:pt x="4513260" y="1024625"/>
                </a:cubicBezTo>
                <a:cubicBezTo>
                  <a:pt x="4505238" y="1024625"/>
                  <a:pt x="4499404" y="1019520"/>
                  <a:pt x="4499404" y="1012227"/>
                </a:cubicBezTo>
                <a:cubicBezTo>
                  <a:pt x="4499404" y="1004205"/>
                  <a:pt x="4505238" y="998371"/>
                  <a:pt x="4513260" y="998371"/>
                </a:cubicBezTo>
                <a:close/>
                <a:moveTo>
                  <a:pt x="4439056" y="998371"/>
                </a:moveTo>
                <a:cubicBezTo>
                  <a:pt x="4445619" y="998371"/>
                  <a:pt x="4451453" y="1004205"/>
                  <a:pt x="4451453" y="1012227"/>
                </a:cubicBezTo>
                <a:cubicBezTo>
                  <a:pt x="4451453" y="1019520"/>
                  <a:pt x="4445619" y="1024625"/>
                  <a:pt x="4439056" y="1024625"/>
                </a:cubicBezTo>
                <a:cubicBezTo>
                  <a:pt x="4431763" y="1024625"/>
                  <a:pt x="4425200" y="1019520"/>
                  <a:pt x="4425200" y="1012227"/>
                </a:cubicBezTo>
                <a:cubicBezTo>
                  <a:pt x="4425200" y="1004205"/>
                  <a:pt x="4431763" y="998371"/>
                  <a:pt x="4439056" y="998371"/>
                </a:cubicBezTo>
                <a:close/>
                <a:moveTo>
                  <a:pt x="4366768" y="998371"/>
                </a:moveTo>
                <a:cubicBezTo>
                  <a:pt x="4374790" y="998371"/>
                  <a:pt x="4380624" y="1004205"/>
                  <a:pt x="4380624" y="1012227"/>
                </a:cubicBezTo>
                <a:cubicBezTo>
                  <a:pt x="4380624" y="1019520"/>
                  <a:pt x="4374790" y="1024625"/>
                  <a:pt x="4366768" y="1024625"/>
                </a:cubicBezTo>
                <a:cubicBezTo>
                  <a:pt x="4360934" y="1024625"/>
                  <a:pt x="4354371" y="1019520"/>
                  <a:pt x="4354371" y="1012227"/>
                </a:cubicBezTo>
                <a:cubicBezTo>
                  <a:pt x="4354371" y="1004205"/>
                  <a:pt x="4360934" y="998371"/>
                  <a:pt x="4366768" y="998371"/>
                </a:cubicBezTo>
                <a:close/>
                <a:moveTo>
                  <a:pt x="4295937" y="998371"/>
                </a:moveTo>
                <a:cubicBezTo>
                  <a:pt x="4303959" y="998371"/>
                  <a:pt x="4309793" y="1004205"/>
                  <a:pt x="4309793" y="1012227"/>
                </a:cubicBezTo>
                <a:cubicBezTo>
                  <a:pt x="4309793" y="1019520"/>
                  <a:pt x="4303959" y="1024625"/>
                  <a:pt x="4295937" y="1024625"/>
                </a:cubicBezTo>
                <a:cubicBezTo>
                  <a:pt x="4290103" y="1024625"/>
                  <a:pt x="4283540" y="1019520"/>
                  <a:pt x="4283540" y="1012227"/>
                </a:cubicBezTo>
                <a:cubicBezTo>
                  <a:pt x="4283540" y="1004205"/>
                  <a:pt x="4290103" y="998371"/>
                  <a:pt x="4295937" y="998371"/>
                </a:cubicBezTo>
                <a:close/>
                <a:moveTo>
                  <a:pt x="4225107" y="998371"/>
                </a:moveTo>
                <a:cubicBezTo>
                  <a:pt x="4233129" y="998371"/>
                  <a:pt x="4238963" y="1004205"/>
                  <a:pt x="4238963" y="1012227"/>
                </a:cubicBezTo>
                <a:cubicBezTo>
                  <a:pt x="4238963" y="1019520"/>
                  <a:pt x="4233129" y="1024625"/>
                  <a:pt x="4225107" y="1024625"/>
                </a:cubicBezTo>
                <a:cubicBezTo>
                  <a:pt x="4217085" y="1024625"/>
                  <a:pt x="4212710" y="1019520"/>
                  <a:pt x="4212710" y="1012227"/>
                </a:cubicBezTo>
                <a:cubicBezTo>
                  <a:pt x="4212710" y="1004205"/>
                  <a:pt x="4217085" y="998371"/>
                  <a:pt x="4225107" y="998371"/>
                </a:cubicBezTo>
                <a:close/>
                <a:moveTo>
                  <a:pt x="4153295" y="998371"/>
                </a:moveTo>
                <a:cubicBezTo>
                  <a:pt x="4161078" y="998371"/>
                  <a:pt x="4168083" y="1004205"/>
                  <a:pt x="4168083" y="1012227"/>
                </a:cubicBezTo>
                <a:cubicBezTo>
                  <a:pt x="4168083" y="1019520"/>
                  <a:pt x="4161078" y="1024625"/>
                  <a:pt x="4153295" y="1024625"/>
                </a:cubicBezTo>
                <a:cubicBezTo>
                  <a:pt x="4144733" y="1024625"/>
                  <a:pt x="4138507" y="1019520"/>
                  <a:pt x="4138507" y="1012227"/>
                </a:cubicBezTo>
                <a:cubicBezTo>
                  <a:pt x="4138507" y="1004205"/>
                  <a:pt x="4144733" y="998371"/>
                  <a:pt x="4153295" y="998371"/>
                </a:cubicBezTo>
                <a:close/>
                <a:moveTo>
                  <a:pt x="4082465" y="998371"/>
                </a:moveTo>
                <a:cubicBezTo>
                  <a:pt x="4090249" y="998371"/>
                  <a:pt x="4097254" y="1004205"/>
                  <a:pt x="4097254" y="1012227"/>
                </a:cubicBezTo>
                <a:cubicBezTo>
                  <a:pt x="4097254" y="1019520"/>
                  <a:pt x="4090249" y="1024625"/>
                  <a:pt x="4082465" y="1024625"/>
                </a:cubicBezTo>
                <a:cubicBezTo>
                  <a:pt x="4073903" y="1024625"/>
                  <a:pt x="4067676" y="1019520"/>
                  <a:pt x="4067676" y="1012227"/>
                </a:cubicBezTo>
                <a:cubicBezTo>
                  <a:pt x="4067676" y="1004205"/>
                  <a:pt x="4073903" y="998371"/>
                  <a:pt x="4082465" y="998371"/>
                </a:cubicBezTo>
                <a:close/>
                <a:moveTo>
                  <a:pt x="4011635" y="998371"/>
                </a:moveTo>
                <a:cubicBezTo>
                  <a:pt x="4019418" y="998371"/>
                  <a:pt x="4026423" y="1004205"/>
                  <a:pt x="4026423" y="1012227"/>
                </a:cubicBezTo>
                <a:cubicBezTo>
                  <a:pt x="4026423" y="1019520"/>
                  <a:pt x="4019418" y="1024625"/>
                  <a:pt x="4011635" y="1024625"/>
                </a:cubicBezTo>
                <a:cubicBezTo>
                  <a:pt x="4003073" y="1024625"/>
                  <a:pt x="3996847" y="1019520"/>
                  <a:pt x="3996847" y="1012227"/>
                </a:cubicBezTo>
                <a:cubicBezTo>
                  <a:pt x="3996847" y="1004205"/>
                  <a:pt x="4003073" y="998371"/>
                  <a:pt x="4011635" y="998371"/>
                </a:cubicBezTo>
                <a:close/>
                <a:moveTo>
                  <a:pt x="3939871" y="998371"/>
                </a:moveTo>
                <a:cubicBezTo>
                  <a:pt x="3947893" y="998371"/>
                  <a:pt x="3952268" y="1004205"/>
                  <a:pt x="3952268" y="1012227"/>
                </a:cubicBezTo>
                <a:cubicBezTo>
                  <a:pt x="3952268" y="1019520"/>
                  <a:pt x="3947893" y="1024625"/>
                  <a:pt x="3939871" y="1024625"/>
                </a:cubicBezTo>
                <a:cubicBezTo>
                  <a:pt x="3932578" y="1024625"/>
                  <a:pt x="3926015" y="1019520"/>
                  <a:pt x="3926015" y="1012227"/>
                </a:cubicBezTo>
                <a:cubicBezTo>
                  <a:pt x="3926015" y="1004205"/>
                  <a:pt x="3932578" y="998371"/>
                  <a:pt x="3939871" y="998371"/>
                </a:cubicBezTo>
                <a:close/>
                <a:moveTo>
                  <a:pt x="3869042" y="998371"/>
                </a:moveTo>
                <a:cubicBezTo>
                  <a:pt x="3875605" y="998371"/>
                  <a:pt x="3881439" y="1004598"/>
                  <a:pt x="3881439" y="1013160"/>
                </a:cubicBezTo>
                <a:cubicBezTo>
                  <a:pt x="3881439" y="1020944"/>
                  <a:pt x="3875605" y="1027949"/>
                  <a:pt x="3869042" y="1027949"/>
                </a:cubicBezTo>
                <a:cubicBezTo>
                  <a:pt x="3861749" y="1027949"/>
                  <a:pt x="3855186" y="1020944"/>
                  <a:pt x="3855186" y="1013160"/>
                </a:cubicBezTo>
                <a:cubicBezTo>
                  <a:pt x="3855186" y="1004598"/>
                  <a:pt x="3861749" y="998371"/>
                  <a:pt x="3869042" y="998371"/>
                </a:cubicBezTo>
                <a:close/>
                <a:moveTo>
                  <a:pt x="3798211" y="998371"/>
                </a:moveTo>
                <a:cubicBezTo>
                  <a:pt x="3804774" y="998371"/>
                  <a:pt x="3810608" y="1004598"/>
                  <a:pt x="3810608" y="1013160"/>
                </a:cubicBezTo>
                <a:cubicBezTo>
                  <a:pt x="3810608" y="1020944"/>
                  <a:pt x="3804774" y="1027949"/>
                  <a:pt x="3798211" y="1027949"/>
                </a:cubicBezTo>
                <a:cubicBezTo>
                  <a:pt x="3790918" y="1027949"/>
                  <a:pt x="3784355" y="1020944"/>
                  <a:pt x="3784355" y="1013160"/>
                </a:cubicBezTo>
                <a:cubicBezTo>
                  <a:pt x="3784355" y="1004598"/>
                  <a:pt x="3790918" y="998371"/>
                  <a:pt x="3798211" y="998371"/>
                </a:cubicBezTo>
                <a:close/>
                <a:moveTo>
                  <a:pt x="3725922" y="998371"/>
                </a:moveTo>
                <a:cubicBezTo>
                  <a:pt x="3733944" y="998371"/>
                  <a:pt x="3739778" y="1004598"/>
                  <a:pt x="3739778" y="1013160"/>
                </a:cubicBezTo>
                <a:cubicBezTo>
                  <a:pt x="3739778" y="1020944"/>
                  <a:pt x="3733944" y="1027949"/>
                  <a:pt x="3725922" y="1027949"/>
                </a:cubicBezTo>
                <a:cubicBezTo>
                  <a:pt x="3719359" y="1027949"/>
                  <a:pt x="3713525" y="1020944"/>
                  <a:pt x="3713525" y="1013160"/>
                </a:cubicBezTo>
                <a:cubicBezTo>
                  <a:pt x="3713525" y="1004598"/>
                  <a:pt x="3719359" y="998371"/>
                  <a:pt x="3725922" y="998371"/>
                </a:cubicBezTo>
                <a:close/>
                <a:moveTo>
                  <a:pt x="724105" y="998371"/>
                </a:moveTo>
                <a:cubicBezTo>
                  <a:pt x="731398" y="998371"/>
                  <a:pt x="737962" y="1004205"/>
                  <a:pt x="737962" y="1010768"/>
                </a:cubicBezTo>
                <a:cubicBezTo>
                  <a:pt x="737962" y="1018061"/>
                  <a:pt x="731398" y="1024625"/>
                  <a:pt x="724105" y="1024625"/>
                </a:cubicBezTo>
                <a:cubicBezTo>
                  <a:pt x="717541" y="1024625"/>
                  <a:pt x="711707" y="1018061"/>
                  <a:pt x="711707" y="1010768"/>
                </a:cubicBezTo>
                <a:cubicBezTo>
                  <a:pt x="711707" y="1004205"/>
                  <a:pt x="717541" y="998371"/>
                  <a:pt x="724105" y="998371"/>
                </a:cubicBezTo>
                <a:close/>
                <a:moveTo>
                  <a:pt x="653274" y="998371"/>
                </a:moveTo>
                <a:cubicBezTo>
                  <a:pt x="660567" y="998371"/>
                  <a:pt x="667129" y="1004205"/>
                  <a:pt x="667129" y="1010768"/>
                </a:cubicBezTo>
                <a:cubicBezTo>
                  <a:pt x="667129" y="1018061"/>
                  <a:pt x="660567" y="1024625"/>
                  <a:pt x="653274" y="1024625"/>
                </a:cubicBezTo>
                <a:cubicBezTo>
                  <a:pt x="646711" y="1024625"/>
                  <a:pt x="640877" y="1018061"/>
                  <a:pt x="640877" y="1010768"/>
                </a:cubicBezTo>
                <a:cubicBezTo>
                  <a:pt x="640877" y="1004205"/>
                  <a:pt x="646711" y="998371"/>
                  <a:pt x="653274" y="998371"/>
                </a:cubicBezTo>
                <a:close/>
                <a:moveTo>
                  <a:pt x="582446" y="998371"/>
                </a:moveTo>
                <a:cubicBezTo>
                  <a:pt x="589738" y="998371"/>
                  <a:pt x="596301" y="1004205"/>
                  <a:pt x="596301" y="1010768"/>
                </a:cubicBezTo>
                <a:cubicBezTo>
                  <a:pt x="596301" y="1018061"/>
                  <a:pt x="589738" y="1024625"/>
                  <a:pt x="582446" y="1024625"/>
                </a:cubicBezTo>
                <a:cubicBezTo>
                  <a:pt x="574423" y="1024625"/>
                  <a:pt x="570047" y="1018061"/>
                  <a:pt x="570047" y="1010768"/>
                </a:cubicBezTo>
                <a:cubicBezTo>
                  <a:pt x="570047" y="1004205"/>
                  <a:pt x="574423" y="998371"/>
                  <a:pt x="582446" y="998371"/>
                </a:cubicBezTo>
                <a:close/>
                <a:moveTo>
                  <a:pt x="513636" y="998371"/>
                </a:moveTo>
                <a:cubicBezTo>
                  <a:pt x="521983" y="998371"/>
                  <a:pt x="528813" y="1004205"/>
                  <a:pt x="528813" y="1010768"/>
                </a:cubicBezTo>
                <a:cubicBezTo>
                  <a:pt x="528813" y="1018061"/>
                  <a:pt x="521983" y="1024625"/>
                  <a:pt x="513636" y="1024625"/>
                </a:cubicBezTo>
                <a:cubicBezTo>
                  <a:pt x="506046" y="1024625"/>
                  <a:pt x="499216" y="1018061"/>
                  <a:pt x="499216" y="1010768"/>
                </a:cubicBezTo>
                <a:cubicBezTo>
                  <a:pt x="499216" y="1004205"/>
                  <a:pt x="506046" y="998371"/>
                  <a:pt x="513636" y="998371"/>
                </a:cubicBezTo>
                <a:close/>
                <a:moveTo>
                  <a:pt x="439802" y="998371"/>
                </a:moveTo>
                <a:cubicBezTo>
                  <a:pt x="448365" y="998371"/>
                  <a:pt x="454592" y="1004205"/>
                  <a:pt x="454592" y="1010768"/>
                </a:cubicBezTo>
                <a:cubicBezTo>
                  <a:pt x="454592" y="1018061"/>
                  <a:pt x="448365" y="1024625"/>
                  <a:pt x="439802" y="1024625"/>
                </a:cubicBezTo>
                <a:cubicBezTo>
                  <a:pt x="432019" y="1024625"/>
                  <a:pt x="425014" y="1018061"/>
                  <a:pt x="425014" y="1010768"/>
                </a:cubicBezTo>
                <a:cubicBezTo>
                  <a:pt x="425014" y="1004205"/>
                  <a:pt x="432019" y="998371"/>
                  <a:pt x="439802" y="998371"/>
                </a:cubicBezTo>
                <a:close/>
                <a:moveTo>
                  <a:pt x="368040" y="998371"/>
                </a:moveTo>
                <a:cubicBezTo>
                  <a:pt x="376061" y="998371"/>
                  <a:pt x="380438" y="1004205"/>
                  <a:pt x="380438" y="1012227"/>
                </a:cubicBezTo>
                <a:cubicBezTo>
                  <a:pt x="380438" y="1018061"/>
                  <a:pt x="376061" y="1024625"/>
                  <a:pt x="368040" y="1024625"/>
                </a:cubicBezTo>
                <a:cubicBezTo>
                  <a:pt x="360747" y="1024625"/>
                  <a:pt x="354183" y="1018061"/>
                  <a:pt x="354183" y="1012227"/>
                </a:cubicBezTo>
                <a:cubicBezTo>
                  <a:pt x="354183" y="1004205"/>
                  <a:pt x="360747" y="998371"/>
                  <a:pt x="368040" y="998371"/>
                </a:cubicBezTo>
                <a:close/>
                <a:moveTo>
                  <a:pt x="297208" y="998371"/>
                </a:moveTo>
                <a:cubicBezTo>
                  <a:pt x="303771" y="998371"/>
                  <a:pt x="309606" y="1004205"/>
                  <a:pt x="309606" y="1012227"/>
                </a:cubicBezTo>
                <a:cubicBezTo>
                  <a:pt x="309606" y="1018061"/>
                  <a:pt x="303771" y="1024625"/>
                  <a:pt x="297208" y="1024625"/>
                </a:cubicBezTo>
                <a:cubicBezTo>
                  <a:pt x="289916" y="1024625"/>
                  <a:pt x="283352" y="1018061"/>
                  <a:pt x="283352" y="1012227"/>
                </a:cubicBezTo>
                <a:cubicBezTo>
                  <a:pt x="283352" y="1004205"/>
                  <a:pt x="289916" y="998371"/>
                  <a:pt x="297208" y="998371"/>
                </a:cubicBezTo>
                <a:close/>
                <a:moveTo>
                  <a:pt x="226379" y="998371"/>
                </a:moveTo>
                <a:cubicBezTo>
                  <a:pt x="232214" y="998371"/>
                  <a:pt x="238778" y="1004205"/>
                  <a:pt x="238778" y="1012227"/>
                </a:cubicBezTo>
                <a:cubicBezTo>
                  <a:pt x="238778" y="1018061"/>
                  <a:pt x="232214" y="1024625"/>
                  <a:pt x="226379" y="1024625"/>
                </a:cubicBezTo>
                <a:cubicBezTo>
                  <a:pt x="218357" y="1024625"/>
                  <a:pt x="212523" y="1018061"/>
                  <a:pt x="212523" y="1012227"/>
                </a:cubicBezTo>
                <a:cubicBezTo>
                  <a:pt x="212523" y="1004205"/>
                  <a:pt x="218357" y="998371"/>
                  <a:pt x="226379" y="998371"/>
                </a:cubicBezTo>
                <a:close/>
                <a:moveTo>
                  <a:pt x="154085" y="998371"/>
                </a:moveTo>
                <a:cubicBezTo>
                  <a:pt x="161377" y="998371"/>
                  <a:pt x="167941" y="1004205"/>
                  <a:pt x="167941" y="1012227"/>
                </a:cubicBezTo>
                <a:cubicBezTo>
                  <a:pt x="167941" y="1018061"/>
                  <a:pt x="161377" y="1024625"/>
                  <a:pt x="154085" y="1024625"/>
                </a:cubicBezTo>
                <a:cubicBezTo>
                  <a:pt x="147521" y="1024625"/>
                  <a:pt x="141687" y="1018061"/>
                  <a:pt x="141687" y="1012227"/>
                </a:cubicBezTo>
                <a:cubicBezTo>
                  <a:pt x="141687" y="1004205"/>
                  <a:pt x="147521" y="998371"/>
                  <a:pt x="154085" y="998371"/>
                </a:cubicBezTo>
                <a:close/>
                <a:moveTo>
                  <a:pt x="83255" y="998371"/>
                </a:moveTo>
                <a:cubicBezTo>
                  <a:pt x="90548" y="998371"/>
                  <a:pt x="97111" y="1004205"/>
                  <a:pt x="97111" y="1012227"/>
                </a:cubicBezTo>
                <a:cubicBezTo>
                  <a:pt x="97111" y="1018061"/>
                  <a:pt x="90548" y="1024625"/>
                  <a:pt x="83255" y="1024625"/>
                </a:cubicBezTo>
                <a:cubicBezTo>
                  <a:pt x="76692" y="1024625"/>
                  <a:pt x="70858" y="1018061"/>
                  <a:pt x="70858" y="1012227"/>
                </a:cubicBezTo>
                <a:cubicBezTo>
                  <a:pt x="70858" y="1004205"/>
                  <a:pt x="76692" y="998371"/>
                  <a:pt x="83255" y="998371"/>
                </a:cubicBezTo>
                <a:close/>
                <a:moveTo>
                  <a:pt x="12019" y="998371"/>
                </a:moveTo>
                <a:cubicBezTo>
                  <a:pt x="20264" y="998371"/>
                  <a:pt x="26260" y="1004205"/>
                  <a:pt x="26260" y="1012227"/>
                </a:cubicBezTo>
                <a:cubicBezTo>
                  <a:pt x="26260" y="1018061"/>
                  <a:pt x="20264" y="1024625"/>
                  <a:pt x="12019" y="1024625"/>
                </a:cubicBezTo>
                <a:cubicBezTo>
                  <a:pt x="4524" y="1024625"/>
                  <a:pt x="27" y="1018061"/>
                  <a:pt x="27" y="1012227"/>
                </a:cubicBezTo>
                <a:cubicBezTo>
                  <a:pt x="27" y="1004205"/>
                  <a:pt x="4524" y="998371"/>
                  <a:pt x="12019" y="998371"/>
                </a:cubicBezTo>
                <a:close/>
                <a:moveTo>
                  <a:pt x="870603" y="927542"/>
                </a:moveTo>
                <a:cubicBezTo>
                  <a:pt x="877167" y="927542"/>
                  <a:pt x="883001" y="933376"/>
                  <a:pt x="883001" y="939939"/>
                </a:cubicBezTo>
                <a:cubicBezTo>
                  <a:pt x="883001" y="947232"/>
                  <a:pt x="877167" y="953796"/>
                  <a:pt x="870603" y="953796"/>
                </a:cubicBezTo>
                <a:cubicBezTo>
                  <a:pt x="863310" y="953796"/>
                  <a:pt x="856747" y="947232"/>
                  <a:pt x="856747" y="939939"/>
                </a:cubicBezTo>
                <a:cubicBezTo>
                  <a:pt x="856747" y="933376"/>
                  <a:pt x="863310" y="927542"/>
                  <a:pt x="870603" y="927542"/>
                </a:cubicBezTo>
                <a:close/>
                <a:moveTo>
                  <a:pt x="799773" y="927542"/>
                </a:moveTo>
                <a:cubicBezTo>
                  <a:pt x="806337" y="927542"/>
                  <a:pt x="812171" y="933376"/>
                  <a:pt x="812171" y="939939"/>
                </a:cubicBezTo>
                <a:cubicBezTo>
                  <a:pt x="812171" y="947232"/>
                  <a:pt x="806337" y="953796"/>
                  <a:pt x="799773" y="953796"/>
                </a:cubicBezTo>
                <a:cubicBezTo>
                  <a:pt x="792481" y="953796"/>
                  <a:pt x="785917" y="947232"/>
                  <a:pt x="785917" y="939939"/>
                </a:cubicBezTo>
                <a:cubicBezTo>
                  <a:pt x="785917" y="933376"/>
                  <a:pt x="792481" y="927542"/>
                  <a:pt x="799773" y="927542"/>
                </a:cubicBezTo>
                <a:close/>
                <a:moveTo>
                  <a:pt x="724112" y="927542"/>
                </a:moveTo>
                <a:cubicBezTo>
                  <a:pt x="731405" y="927542"/>
                  <a:pt x="737968" y="933376"/>
                  <a:pt x="737968" y="939939"/>
                </a:cubicBezTo>
                <a:cubicBezTo>
                  <a:pt x="737968" y="947232"/>
                  <a:pt x="731405" y="953796"/>
                  <a:pt x="724112" y="953796"/>
                </a:cubicBezTo>
                <a:cubicBezTo>
                  <a:pt x="717548" y="953796"/>
                  <a:pt x="711714" y="947232"/>
                  <a:pt x="711714" y="939939"/>
                </a:cubicBezTo>
                <a:cubicBezTo>
                  <a:pt x="711714" y="933376"/>
                  <a:pt x="717548" y="927542"/>
                  <a:pt x="724112" y="927542"/>
                </a:cubicBezTo>
                <a:close/>
                <a:moveTo>
                  <a:pt x="653281" y="927542"/>
                </a:moveTo>
                <a:cubicBezTo>
                  <a:pt x="660573" y="927542"/>
                  <a:pt x="667137" y="933376"/>
                  <a:pt x="667137" y="939939"/>
                </a:cubicBezTo>
                <a:cubicBezTo>
                  <a:pt x="667137" y="947232"/>
                  <a:pt x="660573" y="953796"/>
                  <a:pt x="653281" y="953796"/>
                </a:cubicBezTo>
                <a:cubicBezTo>
                  <a:pt x="646718" y="953796"/>
                  <a:pt x="640884" y="947232"/>
                  <a:pt x="640884" y="939939"/>
                </a:cubicBezTo>
                <a:cubicBezTo>
                  <a:pt x="640884" y="933376"/>
                  <a:pt x="645259" y="927542"/>
                  <a:pt x="653281" y="927542"/>
                </a:cubicBezTo>
                <a:close/>
                <a:moveTo>
                  <a:pt x="582453" y="927542"/>
                </a:moveTo>
                <a:cubicBezTo>
                  <a:pt x="589745" y="927542"/>
                  <a:pt x="596309" y="933376"/>
                  <a:pt x="596309" y="939939"/>
                </a:cubicBezTo>
                <a:cubicBezTo>
                  <a:pt x="596309" y="947232"/>
                  <a:pt x="589745" y="953796"/>
                  <a:pt x="582453" y="953796"/>
                </a:cubicBezTo>
                <a:cubicBezTo>
                  <a:pt x="574430" y="953796"/>
                  <a:pt x="570054" y="947232"/>
                  <a:pt x="570054" y="939939"/>
                </a:cubicBezTo>
                <a:cubicBezTo>
                  <a:pt x="570054" y="933376"/>
                  <a:pt x="574430" y="927542"/>
                  <a:pt x="582453" y="927542"/>
                </a:cubicBezTo>
                <a:close/>
                <a:moveTo>
                  <a:pt x="513642" y="927542"/>
                </a:moveTo>
                <a:cubicBezTo>
                  <a:pt x="521990" y="927542"/>
                  <a:pt x="528820" y="933376"/>
                  <a:pt x="528820" y="939939"/>
                </a:cubicBezTo>
                <a:cubicBezTo>
                  <a:pt x="528820" y="947232"/>
                  <a:pt x="521990" y="953796"/>
                  <a:pt x="513642" y="953796"/>
                </a:cubicBezTo>
                <a:cubicBezTo>
                  <a:pt x="506053" y="953796"/>
                  <a:pt x="499223" y="947232"/>
                  <a:pt x="499223" y="939939"/>
                </a:cubicBezTo>
                <a:cubicBezTo>
                  <a:pt x="499223" y="933376"/>
                  <a:pt x="506053" y="927542"/>
                  <a:pt x="513642" y="927542"/>
                </a:cubicBezTo>
                <a:close/>
                <a:moveTo>
                  <a:pt x="439809" y="927542"/>
                </a:moveTo>
                <a:cubicBezTo>
                  <a:pt x="448372" y="927542"/>
                  <a:pt x="454599" y="933376"/>
                  <a:pt x="454599" y="939939"/>
                </a:cubicBezTo>
                <a:cubicBezTo>
                  <a:pt x="454599" y="947232"/>
                  <a:pt x="448372" y="953796"/>
                  <a:pt x="439809" y="953796"/>
                </a:cubicBezTo>
                <a:cubicBezTo>
                  <a:pt x="432026" y="953796"/>
                  <a:pt x="425021" y="947232"/>
                  <a:pt x="425021" y="939939"/>
                </a:cubicBezTo>
                <a:cubicBezTo>
                  <a:pt x="425021" y="933376"/>
                  <a:pt x="432026" y="927542"/>
                  <a:pt x="439809" y="927542"/>
                </a:cubicBezTo>
                <a:close/>
                <a:moveTo>
                  <a:pt x="368046" y="927542"/>
                </a:moveTo>
                <a:cubicBezTo>
                  <a:pt x="376068" y="927542"/>
                  <a:pt x="380444" y="933376"/>
                  <a:pt x="380444" y="939939"/>
                </a:cubicBezTo>
                <a:cubicBezTo>
                  <a:pt x="380444" y="947232"/>
                  <a:pt x="376068" y="953796"/>
                  <a:pt x="368046" y="953796"/>
                </a:cubicBezTo>
                <a:cubicBezTo>
                  <a:pt x="360754" y="953796"/>
                  <a:pt x="354191" y="947232"/>
                  <a:pt x="354191" y="939939"/>
                </a:cubicBezTo>
                <a:cubicBezTo>
                  <a:pt x="354191" y="933376"/>
                  <a:pt x="360754" y="927542"/>
                  <a:pt x="368046" y="927542"/>
                </a:cubicBezTo>
                <a:close/>
                <a:moveTo>
                  <a:pt x="297214" y="927542"/>
                </a:moveTo>
                <a:cubicBezTo>
                  <a:pt x="303777" y="927542"/>
                  <a:pt x="309612" y="933376"/>
                  <a:pt x="309612" y="939939"/>
                </a:cubicBezTo>
                <a:cubicBezTo>
                  <a:pt x="309612" y="947232"/>
                  <a:pt x="303777" y="953796"/>
                  <a:pt x="297214" y="953796"/>
                </a:cubicBezTo>
                <a:cubicBezTo>
                  <a:pt x="289922" y="953796"/>
                  <a:pt x="283359" y="947232"/>
                  <a:pt x="283359" y="939939"/>
                </a:cubicBezTo>
                <a:cubicBezTo>
                  <a:pt x="283359" y="933376"/>
                  <a:pt x="289922" y="927542"/>
                  <a:pt x="297214" y="927542"/>
                </a:cubicBezTo>
                <a:close/>
                <a:moveTo>
                  <a:pt x="226386" y="927542"/>
                </a:moveTo>
                <a:cubicBezTo>
                  <a:pt x="232220" y="927542"/>
                  <a:pt x="238784" y="933376"/>
                  <a:pt x="238784" y="939939"/>
                </a:cubicBezTo>
                <a:cubicBezTo>
                  <a:pt x="238784" y="947232"/>
                  <a:pt x="232220" y="953796"/>
                  <a:pt x="226386" y="953796"/>
                </a:cubicBezTo>
                <a:cubicBezTo>
                  <a:pt x="218363" y="953796"/>
                  <a:pt x="212530" y="947232"/>
                  <a:pt x="212530" y="939939"/>
                </a:cubicBezTo>
                <a:cubicBezTo>
                  <a:pt x="212530" y="933376"/>
                  <a:pt x="218363" y="927542"/>
                  <a:pt x="226386" y="927542"/>
                </a:cubicBezTo>
                <a:close/>
                <a:moveTo>
                  <a:pt x="154091" y="927542"/>
                </a:moveTo>
                <a:cubicBezTo>
                  <a:pt x="161383" y="927542"/>
                  <a:pt x="167947" y="933376"/>
                  <a:pt x="167947" y="939939"/>
                </a:cubicBezTo>
                <a:cubicBezTo>
                  <a:pt x="167947" y="947232"/>
                  <a:pt x="161383" y="953796"/>
                  <a:pt x="154091" y="953796"/>
                </a:cubicBezTo>
                <a:cubicBezTo>
                  <a:pt x="147527" y="953796"/>
                  <a:pt x="141693" y="947232"/>
                  <a:pt x="141693" y="939939"/>
                </a:cubicBezTo>
                <a:cubicBezTo>
                  <a:pt x="141693" y="933376"/>
                  <a:pt x="147527" y="927542"/>
                  <a:pt x="154091" y="927542"/>
                </a:cubicBezTo>
                <a:close/>
                <a:moveTo>
                  <a:pt x="83261" y="927542"/>
                </a:moveTo>
                <a:cubicBezTo>
                  <a:pt x="90554" y="927542"/>
                  <a:pt x="97117" y="933376"/>
                  <a:pt x="97117" y="939939"/>
                </a:cubicBezTo>
                <a:cubicBezTo>
                  <a:pt x="97117" y="947232"/>
                  <a:pt x="90554" y="953796"/>
                  <a:pt x="83261" y="953796"/>
                </a:cubicBezTo>
                <a:cubicBezTo>
                  <a:pt x="76698" y="953796"/>
                  <a:pt x="70864" y="947232"/>
                  <a:pt x="70864" y="939939"/>
                </a:cubicBezTo>
                <a:cubicBezTo>
                  <a:pt x="70864" y="933376"/>
                  <a:pt x="76698" y="927542"/>
                  <a:pt x="83261" y="927542"/>
                </a:cubicBezTo>
                <a:close/>
                <a:moveTo>
                  <a:pt x="12025" y="927542"/>
                </a:moveTo>
                <a:cubicBezTo>
                  <a:pt x="20270" y="927542"/>
                  <a:pt x="26266" y="933376"/>
                  <a:pt x="26266" y="939939"/>
                </a:cubicBezTo>
                <a:cubicBezTo>
                  <a:pt x="26266" y="947232"/>
                  <a:pt x="20270" y="953796"/>
                  <a:pt x="12025" y="953796"/>
                </a:cubicBezTo>
                <a:cubicBezTo>
                  <a:pt x="4530" y="953796"/>
                  <a:pt x="33" y="947232"/>
                  <a:pt x="33" y="939939"/>
                </a:cubicBezTo>
                <a:cubicBezTo>
                  <a:pt x="33" y="933376"/>
                  <a:pt x="4530" y="927542"/>
                  <a:pt x="12025" y="927542"/>
                </a:cubicBezTo>
                <a:close/>
                <a:moveTo>
                  <a:pt x="6581764" y="924168"/>
                </a:moveTo>
                <a:cubicBezTo>
                  <a:pt x="6589547" y="924168"/>
                  <a:pt x="6596552" y="928543"/>
                  <a:pt x="6596552" y="936565"/>
                </a:cubicBezTo>
                <a:cubicBezTo>
                  <a:pt x="6596552" y="943858"/>
                  <a:pt x="6589547" y="950422"/>
                  <a:pt x="6581764" y="950422"/>
                </a:cubicBezTo>
                <a:cubicBezTo>
                  <a:pt x="6573202" y="950422"/>
                  <a:pt x="6566976" y="943858"/>
                  <a:pt x="6566976" y="936565"/>
                </a:cubicBezTo>
                <a:cubicBezTo>
                  <a:pt x="6566976" y="928543"/>
                  <a:pt x="6573202" y="924168"/>
                  <a:pt x="6581764" y="924168"/>
                </a:cubicBezTo>
                <a:close/>
                <a:moveTo>
                  <a:pt x="6510933" y="924168"/>
                </a:moveTo>
                <a:cubicBezTo>
                  <a:pt x="6518717" y="924168"/>
                  <a:pt x="6525722" y="928543"/>
                  <a:pt x="6525722" y="936565"/>
                </a:cubicBezTo>
                <a:cubicBezTo>
                  <a:pt x="6525722" y="943858"/>
                  <a:pt x="6518717" y="950422"/>
                  <a:pt x="6510933" y="950422"/>
                </a:cubicBezTo>
                <a:cubicBezTo>
                  <a:pt x="6502371" y="950422"/>
                  <a:pt x="6496144" y="943858"/>
                  <a:pt x="6496144" y="936565"/>
                </a:cubicBezTo>
                <a:cubicBezTo>
                  <a:pt x="6496144" y="928543"/>
                  <a:pt x="6502371" y="924168"/>
                  <a:pt x="6510933" y="924168"/>
                </a:cubicBezTo>
                <a:close/>
                <a:moveTo>
                  <a:pt x="6440492" y="924168"/>
                </a:moveTo>
                <a:cubicBezTo>
                  <a:pt x="6448081" y="924168"/>
                  <a:pt x="6454911" y="928543"/>
                  <a:pt x="6454911" y="936565"/>
                </a:cubicBezTo>
                <a:cubicBezTo>
                  <a:pt x="6454911" y="943858"/>
                  <a:pt x="6448081" y="950422"/>
                  <a:pt x="6440492" y="950422"/>
                </a:cubicBezTo>
                <a:cubicBezTo>
                  <a:pt x="6432145" y="950422"/>
                  <a:pt x="6425315" y="943858"/>
                  <a:pt x="6425315" y="936565"/>
                </a:cubicBezTo>
                <a:cubicBezTo>
                  <a:pt x="6425315" y="928543"/>
                  <a:pt x="6432145" y="924168"/>
                  <a:pt x="6440492" y="924168"/>
                </a:cubicBezTo>
                <a:close/>
                <a:moveTo>
                  <a:pt x="6368340" y="924168"/>
                </a:moveTo>
                <a:cubicBezTo>
                  <a:pt x="6376362" y="924168"/>
                  <a:pt x="6380737" y="928543"/>
                  <a:pt x="6380737" y="936565"/>
                </a:cubicBezTo>
                <a:cubicBezTo>
                  <a:pt x="6380737" y="943858"/>
                  <a:pt x="6376362" y="950422"/>
                  <a:pt x="6368340" y="950422"/>
                </a:cubicBezTo>
                <a:cubicBezTo>
                  <a:pt x="6361047" y="950422"/>
                  <a:pt x="6354484" y="943858"/>
                  <a:pt x="6354484" y="936565"/>
                </a:cubicBezTo>
                <a:cubicBezTo>
                  <a:pt x="6354484" y="928543"/>
                  <a:pt x="6361047" y="924168"/>
                  <a:pt x="6368340" y="924168"/>
                </a:cubicBezTo>
                <a:close/>
                <a:moveTo>
                  <a:pt x="6297511" y="924168"/>
                </a:moveTo>
                <a:cubicBezTo>
                  <a:pt x="6304074" y="924168"/>
                  <a:pt x="6309908" y="928543"/>
                  <a:pt x="6309908" y="936565"/>
                </a:cubicBezTo>
                <a:cubicBezTo>
                  <a:pt x="6309908" y="943858"/>
                  <a:pt x="6304074" y="950422"/>
                  <a:pt x="6297511" y="950422"/>
                </a:cubicBezTo>
                <a:cubicBezTo>
                  <a:pt x="6290218" y="950422"/>
                  <a:pt x="6283655" y="943858"/>
                  <a:pt x="6283655" y="936565"/>
                </a:cubicBezTo>
                <a:cubicBezTo>
                  <a:pt x="6283655" y="928543"/>
                  <a:pt x="6290218" y="924168"/>
                  <a:pt x="6297511" y="924168"/>
                </a:cubicBezTo>
                <a:close/>
                <a:moveTo>
                  <a:pt x="6226679" y="924168"/>
                </a:moveTo>
                <a:cubicBezTo>
                  <a:pt x="6233242" y="924168"/>
                  <a:pt x="6239076" y="928543"/>
                  <a:pt x="6239076" y="936565"/>
                </a:cubicBezTo>
                <a:cubicBezTo>
                  <a:pt x="6239076" y="943858"/>
                  <a:pt x="6233242" y="950422"/>
                  <a:pt x="6226679" y="950422"/>
                </a:cubicBezTo>
                <a:cubicBezTo>
                  <a:pt x="6219386" y="950422"/>
                  <a:pt x="6212823" y="943858"/>
                  <a:pt x="6212823" y="936565"/>
                </a:cubicBezTo>
                <a:cubicBezTo>
                  <a:pt x="6212823" y="928543"/>
                  <a:pt x="6219386" y="924168"/>
                  <a:pt x="6226679" y="924168"/>
                </a:cubicBezTo>
                <a:close/>
                <a:moveTo>
                  <a:pt x="6154391" y="924168"/>
                </a:moveTo>
                <a:cubicBezTo>
                  <a:pt x="6161684" y="924168"/>
                  <a:pt x="6168247" y="928543"/>
                  <a:pt x="6168247" y="936565"/>
                </a:cubicBezTo>
                <a:cubicBezTo>
                  <a:pt x="6168247" y="943858"/>
                  <a:pt x="6161684" y="950422"/>
                  <a:pt x="6154391" y="950422"/>
                </a:cubicBezTo>
                <a:cubicBezTo>
                  <a:pt x="6147828" y="950422"/>
                  <a:pt x="6141994" y="943858"/>
                  <a:pt x="6141994" y="936565"/>
                </a:cubicBezTo>
                <a:cubicBezTo>
                  <a:pt x="6141994" y="928543"/>
                  <a:pt x="6147828" y="924168"/>
                  <a:pt x="6154391" y="924168"/>
                </a:cubicBezTo>
                <a:close/>
                <a:moveTo>
                  <a:pt x="6083559" y="924168"/>
                </a:moveTo>
                <a:cubicBezTo>
                  <a:pt x="6090852" y="924168"/>
                  <a:pt x="6097415" y="930002"/>
                  <a:pt x="6097415" y="936565"/>
                </a:cubicBezTo>
                <a:cubicBezTo>
                  <a:pt x="6097415" y="943858"/>
                  <a:pt x="6090852" y="950422"/>
                  <a:pt x="6083559" y="950422"/>
                </a:cubicBezTo>
                <a:cubicBezTo>
                  <a:pt x="6076996" y="950422"/>
                  <a:pt x="6071162" y="943858"/>
                  <a:pt x="6071162" y="936565"/>
                </a:cubicBezTo>
                <a:cubicBezTo>
                  <a:pt x="6071162" y="930002"/>
                  <a:pt x="6076996" y="924168"/>
                  <a:pt x="6083559" y="924168"/>
                </a:cubicBezTo>
                <a:close/>
                <a:moveTo>
                  <a:pt x="6011748" y="924168"/>
                </a:moveTo>
                <a:cubicBezTo>
                  <a:pt x="6019532" y="924168"/>
                  <a:pt x="6026537" y="930002"/>
                  <a:pt x="6026537" y="936565"/>
                </a:cubicBezTo>
                <a:cubicBezTo>
                  <a:pt x="6026537" y="943858"/>
                  <a:pt x="6019532" y="950422"/>
                  <a:pt x="6011748" y="950422"/>
                </a:cubicBezTo>
                <a:cubicBezTo>
                  <a:pt x="6003186" y="950422"/>
                  <a:pt x="5998516" y="943858"/>
                  <a:pt x="5996959" y="936565"/>
                </a:cubicBezTo>
                <a:cubicBezTo>
                  <a:pt x="5996959" y="930002"/>
                  <a:pt x="6003186" y="924168"/>
                  <a:pt x="6011748" y="924168"/>
                </a:cubicBezTo>
                <a:close/>
                <a:moveTo>
                  <a:pt x="5940548" y="924168"/>
                </a:moveTo>
                <a:cubicBezTo>
                  <a:pt x="5948896" y="924168"/>
                  <a:pt x="5955726" y="930002"/>
                  <a:pt x="5955726" y="936565"/>
                </a:cubicBezTo>
                <a:cubicBezTo>
                  <a:pt x="5955726" y="943858"/>
                  <a:pt x="5948896" y="950422"/>
                  <a:pt x="5940548" y="950422"/>
                </a:cubicBezTo>
                <a:cubicBezTo>
                  <a:pt x="5932960" y="950422"/>
                  <a:pt x="5926130" y="943858"/>
                  <a:pt x="5926130" y="936565"/>
                </a:cubicBezTo>
                <a:cubicBezTo>
                  <a:pt x="5926130" y="930002"/>
                  <a:pt x="5932960" y="924168"/>
                  <a:pt x="5940548" y="924168"/>
                </a:cubicBezTo>
                <a:close/>
                <a:moveTo>
                  <a:pt x="5870088" y="924168"/>
                </a:moveTo>
                <a:cubicBezTo>
                  <a:pt x="5878650" y="924168"/>
                  <a:pt x="5884877" y="930002"/>
                  <a:pt x="5884877" y="936565"/>
                </a:cubicBezTo>
                <a:cubicBezTo>
                  <a:pt x="5884877" y="943858"/>
                  <a:pt x="5878650" y="950422"/>
                  <a:pt x="5870088" y="950422"/>
                </a:cubicBezTo>
                <a:cubicBezTo>
                  <a:pt x="5862304" y="950422"/>
                  <a:pt x="5855299" y="943858"/>
                  <a:pt x="5855299" y="936565"/>
                </a:cubicBezTo>
                <a:cubicBezTo>
                  <a:pt x="5855299" y="930002"/>
                  <a:pt x="5862304" y="924168"/>
                  <a:pt x="5870088" y="924168"/>
                </a:cubicBezTo>
                <a:close/>
                <a:moveTo>
                  <a:pt x="5798325" y="924168"/>
                </a:moveTo>
                <a:cubicBezTo>
                  <a:pt x="5806347" y="924168"/>
                  <a:pt x="5810722" y="930002"/>
                  <a:pt x="5810722" y="936565"/>
                </a:cubicBezTo>
                <a:cubicBezTo>
                  <a:pt x="5810722" y="943858"/>
                  <a:pt x="5806347" y="950422"/>
                  <a:pt x="5798325" y="950422"/>
                </a:cubicBezTo>
                <a:cubicBezTo>
                  <a:pt x="5791032" y="950422"/>
                  <a:pt x="5784469" y="943858"/>
                  <a:pt x="5784469" y="936565"/>
                </a:cubicBezTo>
                <a:cubicBezTo>
                  <a:pt x="5784469" y="930002"/>
                  <a:pt x="5791032" y="924168"/>
                  <a:pt x="5798325" y="924168"/>
                </a:cubicBezTo>
                <a:close/>
                <a:moveTo>
                  <a:pt x="5724122" y="924168"/>
                </a:moveTo>
                <a:cubicBezTo>
                  <a:pt x="5730685" y="924168"/>
                  <a:pt x="5736519" y="930002"/>
                  <a:pt x="5736519" y="936565"/>
                </a:cubicBezTo>
                <a:cubicBezTo>
                  <a:pt x="5736519" y="943858"/>
                  <a:pt x="5730685" y="950422"/>
                  <a:pt x="5724122" y="950422"/>
                </a:cubicBezTo>
                <a:cubicBezTo>
                  <a:pt x="5716100" y="950422"/>
                  <a:pt x="5710266" y="943858"/>
                  <a:pt x="5710266" y="936565"/>
                </a:cubicBezTo>
                <a:cubicBezTo>
                  <a:pt x="5710266" y="930002"/>
                  <a:pt x="5716100" y="924168"/>
                  <a:pt x="5724122" y="924168"/>
                </a:cubicBezTo>
                <a:close/>
                <a:moveTo>
                  <a:pt x="5653291" y="924168"/>
                </a:moveTo>
                <a:cubicBezTo>
                  <a:pt x="5659125" y="924168"/>
                  <a:pt x="5665688" y="930002"/>
                  <a:pt x="5665688" y="936565"/>
                </a:cubicBezTo>
                <a:cubicBezTo>
                  <a:pt x="5665688" y="943858"/>
                  <a:pt x="5659125" y="950422"/>
                  <a:pt x="5653291" y="950422"/>
                </a:cubicBezTo>
                <a:cubicBezTo>
                  <a:pt x="5645269" y="950422"/>
                  <a:pt x="5639435" y="943858"/>
                  <a:pt x="5639435" y="936565"/>
                </a:cubicBezTo>
                <a:cubicBezTo>
                  <a:pt x="5639435" y="930002"/>
                  <a:pt x="5645269" y="924168"/>
                  <a:pt x="5653291" y="924168"/>
                </a:cubicBezTo>
                <a:close/>
                <a:moveTo>
                  <a:pt x="5581002" y="924168"/>
                </a:moveTo>
                <a:cubicBezTo>
                  <a:pt x="5588295" y="924168"/>
                  <a:pt x="5594858" y="930002"/>
                  <a:pt x="5594858" y="936565"/>
                </a:cubicBezTo>
                <a:cubicBezTo>
                  <a:pt x="5594858" y="943858"/>
                  <a:pt x="5588295" y="950422"/>
                  <a:pt x="5581002" y="950422"/>
                </a:cubicBezTo>
                <a:cubicBezTo>
                  <a:pt x="5574439" y="950422"/>
                  <a:pt x="5568605" y="943858"/>
                  <a:pt x="5568605" y="936565"/>
                </a:cubicBezTo>
                <a:cubicBezTo>
                  <a:pt x="5568605" y="930002"/>
                  <a:pt x="5574439" y="924168"/>
                  <a:pt x="5581002" y="924168"/>
                </a:cubicBezTo>
                <a:close/>
                <a:moveTo>
                  <a:pt x="5510171" y="924168"/>
                </a:moveTo>
                <a:cubicBezTo>
                  <a:pt x="5517464" y="924168"/>
                  <a:pt x="5524027" y="930002"/>
                  <a:pt x="5524027" y="936565"/>
                </a:cubicBezTo>
                <a:cubicBezTo>
                  <a:pt x="5524027" y="943858"/>
                  <a:pt x="5517464" y="950422"/>
                  <a:pt x="5510171" y="950422"/>
                </a:cubicBezTo>
                <a:cubicBezTo>
                  <a:pt x="5503608" y="950422"/>
                  <a:pt x="5497774" y="943858"/>
                  <a:pt x="5497774" y="936565"/>
                </a:cubicBezTo>
                <a:cubicBezTo>
                  <a:pt x="5497774" y="930002"/>
                  <a:pt x="5503608" y="924168"/>
                  <a:pt x="5510171" y="924168"/>
                </a:cubicBezTo>
                <a:close/>
                <a:moveTo>
                  <a:pt x="5438937" y="924168"/>
                </a:moveTo>
                <a:cubicBezTo>
                  <a:pt x="5447182" y="924168"/>
                  <a:pt x="5453178" y="930002"/>
                  <a:pt x="5453178" y="936565"/>
                </a:cubicBezTo>
                <a:cubicBezTo>
                  <a:pt x="5453178" y="943858"/>
                  <a:pt x="5447182" y="950422"/>
                  <a:pt x="5438937" y="950422"/>
                </a:cubicBezTo>
                <a:cubicBezTo>
                  <a:pt x="5431442" y="950422"/>
                  <a:pt x="5426945" y="943858"/>
                  <a:pt x="5426945" y="936565"/>
                </a:cubicBezTo>
                <a:cubicBezTo>
                  <a:pt x="5426945" y="930002"/>
                  <a:pt x="5431442" y="924168"/>
                  <a:pt x="5438937" y="924168"/>
                </a:cubicBezTo>
                <a:close/>
                <a:moveTo>
                  <a:pt x="5367530" y="924168"/>
                </a:moveTo>
                <a:cubicBezTo>
                  <a:pt x="5376092" y="924168"/>
                  <a:pt x="5382318" y="930002"/>
                  <a:pt x="5382318" y="936565"/>
                </a:cubicBezTo>
                <a:cubicBezTo>
                  <a:pt x="5382318" y="943858"/>
                  <a:pt x="5376092" y="950422"/>
                  <a:pt x="5367530" y="950422"/>
                </a:cubicBezTo>
                <a:cubicBezTo>
                  <a:pt x="5359747" y="950422"/>
                  <a:pt x="5352742" y="943858"/>
                  <a:pt x="5352742" y="936565"/>
                </a:cubicBezTo>
                <a:cubicBezTo>
                  <a:pt x="5352742" y="930002"/>
                  <a:pt x="5359747" y="924168"/>
                  <a:pt x="5367530" y="924168"/>
                </a:cubicBezTo>
                <a:close/>
                <a:moveTo>
                  <a:pt x="5296699" y="924168"/>
                </a:moveTo>
                <a:cubicBezTo>
                  <a:pt x="5305261" y="924168"/>
                  <a:pt x="5311488" y="930002"/>
                  <a:pt x="5311488" y="936565"/>
                </a:cubicBezTo>
                <a:cubicBezTo>
                  <a:pt x="5311488" y="943858"/>
                  <a:pt x="5305261" y="950422"/>
                  <a:pt x="5296699" y="950422"/>
                </a:cubicBezTo>
                <a:cubicBezTo>
                  <a:pt x="5288915" y="950422"/>
                  <a:pt x="5281910" y="943858"/>
                  <a:pt x="5281910" y="936565"/>
                </a:cubicBezTo>
                <a:cubicBezTo>
                  <a:pt x="5281910" y="930002"/>
                  <a:pt x="5288915" y="924168"/>
                  <a:pt x="5296699" y="924168"/>
                </a:cubicBezTo>
                <a:close/>
                <a:moveTo>
                  <a:pt x="5225869" y="924168"/>
                </a:moveTo>
                <a:cubicBezTo>
                  <a:pt x="5234431" y="924168"/>
                  <a:pt x="5240657" y="930002"/>
                  <a:pt x="5240657" y="936565"/>
                </a:cubicBezTo>
                <a:cubicBezTo>
                  <a:pt x="5240657" y="943858"/>
                  <a:pt x="5234431" y="950422"/>
                  <a:pt x="5225869" y="950422"/>
                </a:cubicBezTo>
                <a:cubicBezTo>
                  <a:pt x="5217307" y="950422"/>
                  <a:pt x="5211081" y="943858"/>
                  <a:pt x="5211081" y="936565"/>
                </a:cubicBezTo>
                <a:cubicBezTo>
                  <a:pt x="5211081" y="930002"/>
                  <a:pt x="5217307" y="924168"/>
                  <a:pt x="5225869" y="924168"/>
                </a:cubicBezTo>
                <a:close/>
                <a:moveTo>
                  <a:pt x="5154105" y="924168"/>
                </a:moveTo>
                <a:cubicBezTo>
                  <a:pt x="5162127" y="924168"/>
                  <a:pt x="5166502" y="930002"/>
                  <a:pt x="5166502" y="936565"/>
                </a:cubicBezTo>
                <a:cubicBezTo>
                  <a:pt x="5166502" y="943858"/>
                  <a:pt x="5162127" y="950422"/>
                  <a:pt x="5154105" y="950422"/>
                </a:cubicBezTo>
                <a:cubicBezTo>
                  <a:pt x="5146083" y="950422"/>
                  <a:pt x="5140249" y="943858"/>
                  <a:pt x="5140249" y="936565"/>
                </a:cubicBezTo>
                <a:cubicBezTo>
                  <a:pt x="5140249" y="930002"/>
                  <a:pt x="5146083" y="924168"/>
                  <a:pt x="5154105" y="924168"/>
                </a:cubicBezTo>
                <a:close/>
                <a:moveTo>
                  <a:pt x="5083276" y="924168"/>
                </a:moveTo>
                <a:cubicBezTo>
                  <a:pt x="5089110" y="924168"/>
                  <a:pt x="5095673" y="930002"/>
                  <a:pt x="5095673" y="936565"/>
                </a:cubicBezTo>
                <a:cubicBezTo>
                  <a:pt x="5095673" y="943858"/>
                  <a:pt x="5089110" y="950422"/>
                  <a:pt x="5083276" y="950422"/>
                </a:cubicBezTo>
                <a:cubicBezTo>
                  <a:pt x="5075254" y="950422"/>
                  <a:pt x="5069420" y="943858"/>
                  <a:pt x="5069420" y="936565"/>
                </a:cubicBezTo>
                <a:cubicBezTo>
                  <a:pt x="5069420" y="930002"/>
                  <a:pt x="5075254" y="924168"/>
                  <a:pt x="5083276" y="924168"/>
                </a:cubicBezTo>
                <a:close/>
                <a:moveTo>
                  <a:pt x="5012445" y="924168"/>
                </a:moveTo>
                <a:cubicBezTo>
                  <a:pt x="5018279" y="924168"/>
                  <a:pt x="5024842" y="930002"/>
                  <a:pt x="5024842" y="936565"/>
                </a:cubicBezTo>
                <a:cubicBezTo>
                  <a:pt x="5024842" y="943858"/>
                  <a:pt x="5018279" y="950422"/>
                  <a:pt x="5012445" y="950422"/>
                </a:cubicBezTo>
                <a:cubicBezTo>
                  <a:pt x="5004423" y="950422"/>
                  <a:pt x="4998589" y="943858"/>
                  <a:pt x="4998589" y="938024"/>
                </a:cubicBezTo>
                <a:cubicBezTo>
                  <a:pt x="4998589" y="930002"/>
                  <a:pt x="5004423" y="924168"/>
                  <a:pt x="5012445" y="924168"/>
                </a:cubicBezTo>
                <a:close/>
                <a:moveTo>
                  <a:pt x="4940157" y="924168"/>
                </a:moveTo>
                <a:cubicBezTo>
                  <a:pt x="4948179" y="924168"/>
                  <a:pt x="4954013" y="930002"/>
                  <a:pt x="4954013" y="938024"/>
                </a:cubicBezTo>
                <a:cubicBezTo>
                  <a:pt x="4954013" y="943858"/>
                  <a:pt x="4948179" y="950422"/>
                  <a:pt x="4940157" y="950422"/>
                </a:cubicBezTo>
                <a:cubicBezTo>
                  <a:pt x="4934323" y="950422"/>
                  <a:pt x="4927760" y="943858"/>
                  <a:pt x="4927760" y="938024"/>
                </a:cubicBezTo>
                <a:cubicBezTo>
                  <a:pt x="4927760" y="930002"/>
                  <a:pt x="4934323" y="924168"/>
                  <a:pt x="4940157" y="924168"/>
                </a:cubicBezTo>
                <a:close/>
                <a:moveTo>
                  <a:pt x="4865953" y="924168"/>
                </a:moveTo>
                <a:cubicBezTo>
                  <a:pt x="4873975" y="924168"/>
                  <a:pt x="4879809" y="930002"/>
                  <a:pt x="4879809" y="938024"/>
                </a:cubicBezTo>
                <a:cubicBezTo>
                  <a:pt x="4879809" y="943858"/>
                  <a:pt x="4873975" y="950422"/>
                  <a:pt x="4865953" y="950422"/>
                </a:cubicBezTo>
                <a:cubicBezTo>
                  <a:pt x="4860119" y="950422"/>
                  <a:pt x="4853556" y="943858"/>
                  <a:pt x="4853556" y="938024"/>
                </a:cubicBezTo>
                <a:cubicBezTo>
                  <a:pt x="4853556" y="930002"/>
                  <a:pt x="4858661" y="924168"/>
                  <a:pt x="4865953" y="924168"/>
                </a:cubicBezTo>
                <a:close/>
                <a:moveTo>
                  <a:pt x="4797514" y="924168"/>
                </a:moveTo>
                <a:cubicBezTo>
                  <a:pt x="4806076" y="924168"/>
                  <a:pt x="4812303" y="930002"/>
                  <a:pt x="4812303" y="938024"/>
                </a:cubicBezTo>
                <a:cubicBezTo>
                  <a:pt x="4812303" y="943858"/>
                  <a:pt x="4806076" y="950422"/>
                  <a:pt x="4797514" y="950422"/>
                </a:cubicBezTo>
                <a:cubicBezTo>
                  <a:pt x="4789730" y="950422"/>
                  <a:pt x="4782725" y="943858"/>
                  <a:pt x="4782725" y="938024"/>
                </a:cubicBezTo>
                <a:cubicBezTo>
                  <a:pt x="4782725" y="930002"/>
                  <a:pt x="4789730" y="924168"/>
                  <a:pt x="4797514" y="924168"/>
                </a:cubicBezTo>
                <a:close/>
                <a:moveTo>
                  <a:pt x="4726684" y="924168"/>
                </a:moveTo>
                <a:cubicBezTo>
                  <a:pt x="4735246" y="924168"/>
                  <a:pt x="4741472" y="930002"/>
                  <a:pt x="4741472" y="938024"/>
                </a:cubicBezTo>
                <a:cubicBezTo>
                  <a:pt x="4741472" y="943858"/>
                  <a:pt x="4735246" y="950422"/>
                  <a:pt x="4726684" y="950422"/>
                </a:cubicBezTo>
                <a:cubicBezTo>
                  <a:pt x="4718122" y="950422"/>
                  <a:pt x="4711896" y="943858"/>
                  <a:pt x="4711896" y="938024"/>
                </a:cubicBezTo>
                <a:cubicBezTo>
                  <a:pt x="4711896" y="930002"/>
                  <a:pt x="4718122" y="924168"/>
                  <a:pt x="4726684" y="924168"/>
                </a:cubicBezTo>
                <a:close/>
                <a:moveTo>
                  <a:pt x="4655853" y="924168"/>
                </a:moveTo>
                <a:cubicBezTo>
                  <a:pt x="4663637" y="924168"/>
                  <a:pt x="4670642" y="930002"/>
                  <a:pt x="4670642" y="938024"/>
                </a:cubicBezTo>
                <a:cubicBezTo>
                  <a:pt x="4670642" y="943858"/>
                  <a:pt x="4663637" y="950422"/>
                  <a:pt x="4655853" y="950422"/>
                </a:cubicBezTo>
                <a:cubicBezTo>
                  <a:pt x="4647291" y="950422"/>
                  <a:pt x="4641064" y="943858"/>
                  <a:pt x="4641064" y="938024"/>
                </a:cubicBezTo>
                <a:cubicBezTo>
                  <a:pt x="4641064" y="930002"/>
                  <a:pt x="4647291" y="924168"/>
                  <a:pt x="4655853" y="924168"/>
                </a:cubicBezTo>
                <a:close/>
                <a:moveTo>
                  <a:pt x="4584091" y="924168"/>
                </a:moveTo>
                <a:cubicBezTo>
                  <a:pt x="4591384" y="924168"/>
                  <a:pt x="4596488" y="930002"/>
                  <a:pt x="4596488" y="938024"/>
                </a:cubicBezTo>
                <a:cubicBezTo>
                  <a:pt x="4596488" y="943858"/>
                  <a:pt x="4591384" y="950422"/>
                  <a:pt x="4584091" y="950422"/>
                </a:cubicBezTo>
                <a:cubicBezTo>
                  <a:pt x="4576069" y="950422"/>
                  <a:pt x="4570235" y="943858"/>
                  <a:pt x="4570235" y="938024"/>
                </a:cubicBezTo>
                <a:cubicBezTo>
                  <a:pt x="4570235" y="930002"/>
                  <a:pt x="4576069" y="924168"/>
                  <a:pt x="4584091" y="924168"/>
                </a:cubicBezTo>
                <a:close/>
                <a:moveTo>
                  <a:pt x="4513260" y="924168"/>
                </a:moveTo>
                <a:cubicBezTo>
                  <a:pt x="4519094" y="924168"/>
                  <a:pt x="4525657" y="930002"/>
                  <a:pt x="4525657" y="938024"/>
                </a:cubicBezTo>
                <a:cubicBezTo>
                  <a:pt x="4525657" y="943858"/>
                  <a:pt x="4519094" y="950422"/>
                  <a:pt x="4513260" y="950422"/>
                </a:cubicBezTo>
                <a:cubicBezTo>
                  <a:pt x="4505238" y="950422"/>
                  <a:pt x="4499404" y="943858"/>
                  <a:pt x="4499404" y="938024"/>
                </a:cubicBezTo>
                <a:cubicBezTo>
                  <a:pt x="4499404" y="930002"/>
                  <a:pt x="4505238" y="924168"/>
                  <a:pt x="4513260" y="924168"/>
                </a:cubicBezTo>
                <a:close/>
                <a:moveTo>
                  <a:pt x="4439056" y="924168"/>
                </a:moveTo>
                <a:cubicBezTo>
                  <a:pt x="4445619" y="924168"/>
                  <a:pt x="4451453" y="930002"/>
                  <a:pt x="4451453" y="938024"/>
                </a:cubicBezTo>
                <a:cubicBezTo>
                  <a:pt x="4451453" y="943858"/>
                  <a:pt x="4445619" y="950422"/>
                  <a:pt x="4439056" y="950422"/>
                </a:cubicBezTo>
                <a:cubicBezTo>
                  <a:pt x="4431763" y="950422"/>
                  <a:pt x="4425200" y="943858"/>
                  <a:pt x="4425200" y="938024"/>
                </a:cubicBezTo>
                <a:cubicBezTo>
                  <a:pt x="4425200" y="930002"/>
                  <a:pt x="4431763" y="924168"/>
                  <a:pt x="4439056" y="924168"/>
                </a:cubicBezTo>
                <a:close/>
                <a:moveTo>
                  <a:pt x="4366768" y="924168"/>
                </a:moveTo>
                <a:cubicBezTo>
                  <a:pt x="4374790" y="924168"/>
                  <a:pt x="4380624" y="930002"/>
                  <a:pt x="4380624" y="938024"/>
                </a:cubicBezTo>
                <a:cubicBezTo>
                  <a:pt x="4380624" y="943858"/>
                  <a:pt x="4374790" y="950422"/>
                  <a:pt x="4366768" y="950422"/>
                </a:cubicBezTo>
                <a:cubicBezTo>
                  <a:pt x="4360934" y="950422"/>
                  <a:pt x="4354371" y="943858"/>
                  <a:pt x="4354371" y="938024"/>
                </a:cubicBezTo>
                <a:cubicBezTo>
                  <a:pt x="4354371" y="930002"/>
                  <a:pt x="4360934" y="924168"/>
                  <a:pt x="4366768" y="924168"/>
                </a:cubicBezTo>
                <a:close/>
                <a:moveTo>
                  <a:pt x="4295937" y="924168"/>
                </a:moveTo>
                <a:cubicBezTo>
                  <a:pt x="4303959" y="924168"/>
                  <a:pt x="4309793" y="930002"/>
                  <a:pt x="4309793" y="938024"/>
                </a:cubicBezTo>
                <a:cubicBezTo>
                  <a:pt x="4309793" y="943858"/>
                  <a:pt x="4303959" y="950422"/>
                  <a:pt x="4295937" y="950422"/>
                </a:cubicBezTo>
                <a:cubicBezTo>
                  <a:pt x="4290103" y="950422"/>
                  <a:pt x="4283540" y="943858"/>
                  <a:pt x="4283540" y="938024"/>
                </a:cubicBezTo>
                <a:cubicBezTo>
                  <a:pt x="4283540" y="930002"/>
                  <a:pt x="4290103" y="924168"/>
                  <a:pt x="4295937" y="924168"/>
                </a:cubicBezTo>
                <a:close/>
                <a:moveTo>
                  <a:pt x="4225107" y="924168"/>
                </a:moveTo>
                <a:cubicBezTo>
                  <a:pt x="4233129" y="924168"/>
                  <a:pt x="4238963" y="930002"/>
                  <a:pt x="4238963" y="938024"/>
                </a:cubicBezTo>
                <a:cubicBezTo>
                  <a:pt x="4238963" y="943858"/>
                  <a:pt x="4233129" y="950422"/>
                  <a:pt x="4225107" y="950422"/>
                </a:cubicBezTo>
                <a:cubicBezTo>
                  <a:pt x="4217085" y="950422"/>
                  <a:pt x="4212710" y="943858"/>
                  <a:pt x="4212710" y="938024"/>
                </a:cubicBezTo>
                <a:cubicBezTo>
                  <a:pt x="4212710" y="930002"/>
                  <a:pt x="4217085" y="924168"/>
                  <a:pt x="4225107" y="924168"/>
                </a:cubicBezTo>
                <a:close/>
                <a:moveTo>
                  <a:pt x="4153295" y="924168"/>
                </a:moveTo>
                <a:cubicBezTo>
                  <a:pt x="4161078" y="924168"/>
                  <a:pt x="4168083" y="930002"/>
                  <a:pt x="4168083" y="938024"/>
                </a:cubicBezTo>
                <a:cubicBezTo>
                  <a:pt x="4168083" y="943858"/>
                  <a:pt x="4161078" y="950422"/>
                  <a:pt x="4153295" y="950422"/>
                </a:cubicBezTo>
                <a:cubicBezTo>
                  <a:pt x="4144733" y="950422"/>
                  <a:pt x="4138507" y="943858"/>
                  <a:pt x="4138507" y="938024"/>
                </a:cubicBezTo>
                <a:cubicBezTo>
                  <a:pt x="4138507" y="930002"/>
                  <a:pt x="4144733" y="924168"/>
                  <a:pt x="4153295" y="924168"/>
                </a:cubicBezTo>
                <a:close/>
                <a:moveTo>
                  <a:pt x="4082465" y="924168"/>
                </a:moveTo>
                <a:cubicBezTo>
                  <a:pt x="4090249" y="924168"/>
                  <a:pt x="4097254" y="930002"/>
                  <a:pt x="4097254" y="938024"/>
                </a:cubicBezTo>
                <a:cubicBezTo>
                  <a:pt x="4097254" y="943858"/>
                  <a:pt x="4090249" y="950422"/>
                  <a:pt x="4082465" y="950422"/>
                </a:cubicBezTo>
                <a:cubicBezTo>
                  <a:pt x="4073903" y="950422"/>
                  <a:pt x="4067676" y="943858"/>
                  <a:pt x="4067676" y="938024"/>
                </a:cubicBezTo>
                <a:cubicBezTo>
                  <a:pt x="4067676" y="930002"/>
                  <a:pt x="4073903" y="924168"/>
                  <a:pt x="4082465" y="924168"/>
                </a:cubicBezTo>
                <a:close/>
                <a:moveTo>
                  <a:pt x="4011635" y="924168"/>
                </a:moveTo>
                <a:cubicBezTo>
                  <a:pt x="4019418" y="924168"/>
                  <a:pt x="4026423" y="930002"/>
                  <a:pt x="4026423" y="938024"/>
                </a:cubicBezTo>
                <a:cubicBezTo>
                  <a:pt x="4026423" y="943858"/>
                  <a:pt x="4019418" y="950422"/>
                  <a:pt x="4011635" y="950422"/>
                </a:cubicBezTo>
                <a:cubicBezTo>
                  <a:pt x="4003073" y="950422"/>
                  <a:pt x="3996847" y="943858"/>
                  <a:pt x="3996847" y="938024"/>
                </a:cubicBezTo>
                <a:cubicBezTo>
                  <a:pt x="3996847" y="930002"/>
                  <a:pt x="4003073" y="924168"/>
                  <a:pt x="4011635" y="924168"/>
                </a:cubicBezTo>
                <a:close/>
                <a:moveTo>
                  <a:pt x="3939871" y="924168"/>
                </a:moveTo>
                <a:cubicBezTo>
                  <a:pt x="3947893" y="924168"/>
                  <a:pt x="3952268" y="930002"/>
                  <a:pt x="3952268" y="938024"/>
                </a:cubicBezTo>
                <a:cubicBezTo>
                  <a:pt x="3952268" y="945317"/>
                  <a:pt x="3947893" y="950422"/>
                  <a:pt x="3939871" y="950422"/>
                </a:cubicBezTo>
                <a:cubicBezTo>
                  <a:pt x="3932578" y="950422"/>
                  <a:pt x="3926015" y="945317"/>
                  <a:pt x="3926015" y="938024"/>
                </a:cubicBezTo>
                <a:cubicBezTo>
                  <a:pt x="3926015" y="930002"/>
                  <a:pt x="3932578" y="924168"/>
                  <a:pt x="3939871" y="924168"/>
                </a:cubicBezTo>
                <a:close/>
                <a:moveTo>
                  <a:pt x="3869042" y="924168"/>
                </a:moveTo>
                <a:cubicBezTo>
                  <a:pt x="3875605" y="924168"/>
                  <a:pt x="3881439" y="930002"/>
                  <a:pt x="3881439" y="938024"/>
                </a:cubicBezTo>
                <a:cubicBezTo>
                  <a:pt x="3881439" y="945317"/>
                  <a:pt x="3875605" y="950422"/>
                  <a:pt x="3869042" y="950422"/>
                </a:cubicBezTo>
                <a:cubicBezTo>
                  <a:pt x="3861749" y="950422"/>
                  <a:pt x="3855186" y="945317"/>
                  <a:pt x="3855186" y="938024"/>
                </a:cubicBezTo>
                <a:cubicBezTo>
                  <a:pt x="3855186" y="930002"/>
                  <a:pt x="3861749" y="924168"/>
                  <a:pt x="3869042" y="924168"/>
                </a:cubicBezTo>
                <a:close/>
                <a:moveTo>
                  <a:pt x="3798211" y="924168"/>
                </a:moveTo>
                <a:cubicBezTo>
                  <a:pt x="3804774" y="924168"/>
                  <a:pt x="3810608" y="930002"/>
                  <a:pt x="3810608" y="938024"/>
                </a:cubicBezTo>
                <a:cubicBezTo>
                  <a:pt x="3810608" y="945317"/>
                  <a:pt x="3804774" y="950422"/>
                  <a:pt x="3798211" y="950422"/>
                </a:cubicBezTo>
                <a:cubicBezTo>
                  <a:pt x="3790918" y="950422"/>
                  <a:pt x="3784355" y="945317"/>
                  <a:pt x="3784355" y="938024"/>
                </a:cubicBezTo>
                <a:cubicBezTo>
                  <a:pt x="3784355" y="930002"/>
                  <a:pt x="3790918" y="924168"/>
                  <a:pt x="3798211" y="924168"/>
                </a:cubicBezTo>
                <a:close/>
                <a:moveTo>
                  <a:pt x="3725922" y="924168"/>
                </a:moveTo>
                <a:cubicBezTo>
                  <a:pt x="3733944" y="924168"/>
                  <a:pt x="3739778" y="930002"/>
                  <a:pt x="3739778" y="938024"/>
                </a:cubicBezTo>
                <a:cubicBezTo>
                  <a:pt x="3739778" y="945317"/>
                  <a:pt x="3733944" y="950422"/>
                  <a:pt x="3725922" y="950422"/>
                </a:cubicBezTo>
                <a:cubicBezTo>
                  <a:pt x="3719359" y="950422"/>
                  <a:pt x="3713525" y="945317"/>
                  <a:pt x="3713525" y="938024"/>
                </a:cubicBezTo>
                <a:cubicBezTo>
                  <a:pt x="3713525" y="930002"/>
                  <a:pt x="3719359" y="924168"/>
                  <a:pt x="3725922" y="924168"/>
                </a:cubicBezTo>
                <a:close/>
                <a:moveTo>
                  <a:pt x="3655091" y="924168"/>
                </a:moveTo>
                <a:cubicBezTo>
                  <a:pt x="3662384" y="924168"/>
                  <a:pt x="3668947" y="930002"/>
                  <a:pt x="3668947" y="938024"/>
                </a:cubicBezTo>
                <a:cubicBezTo>
                  <a:pt x="3668947" y="945317"/>
                  <a:pt x="3662384" y="950422"/>
                  <a:pt x="3655091" y="950422"/>
                </a:cubicBezTo>
                <a:cubicBezTo>
                  <a:pt x="3647069" y="950422"/>
                  <a:pt x="3642694" y="945317"/>
                  <a:pt x="3642694" y="938024"/>
                </a:cubicBezTo>
                <a:cubicBezTo>
                  <a:pt x="3642694" y="930002"/>
                  <a:pt x="3647069" y="924168"/>
                  <a:pt x="3655091" y="924168"/>
                </a:cubicBezTo>
                <a:close/>
                <a:moveTo>
                  <a:pt x="3583280" y="924168"/>
                </a:moveTo>
                <a:cubicBezTo>
                  <a:pt x="3591064" y="924168"/>
                  <a:pt x="3598069" y="930002"/>
                  <a:pt x="3598069" y="938024"/>
                </a:cubicBezTo>
                <a:cubicBezTo>
                  <a:pt x="3598069" y="945317"/>
                  <a:pt x="3591064" y="950422"/>
                  <a:pt x="3583280" y="950422"/>
                </a:cubicBezTo>
                <a:cubicBezTo>
                  <a:pt x="3574718" y="950422"/>
                  <a:pt x="3568491" y="945317"/>
                  <a:pt x="3568491" y="938024"/>
                </a:cubicBezTo>
                <a:cubicBezTo>
                  <a:pt x="3568491" y="930002"/>
                  <a:pt x="3574718" y="924168"/>
                  <a:pt x="3583280" y="924168"/>
                </a:cubicBezTo>
                <a:close/>
                <a:moveTo>
                  <a:pt x="941441" y="856710"/>
                </a:moveTo>
                <a:cubicBezTo>
                  <a:pt x="949463" y="856710"/>
                  <a:pt x="953839" y="861085"/>
                  <a:pt x="953839" y="869107"/>
                </a:cubicBezTo>
                <a:cubicBezTo>
                  <a:pt x="953839" y="876400"/>
                  <a:pt x="949463" y="882964"/>
                  <a:pt x="941441" y="882964"/>
                </a:cubicBezTo>
                <a:cubicBezTo>
                  <a:pt x="934149" y="882964"/>
                  <a:pt x="927585" y="876400"/>
                  <a:pt x="927585" y="869107"/>
                </a:cubicBezTo>
                <a:cubicBezTo>
                  <a:pt x="927585" y="861085"/>
                  <a:pt x="934149" y="856710"/>
                  <a:pt x="941441" y="856710"/>
                </a:cubicBezTo>
                <a:close/>
                <a:moveTo>
                  <a:pt x="870610" y="856710"/>
                </a:moveTo>
                <a:cubicBezTo>
                  <a:pt x="877174" y="856710"/>
                  <a:pt x="883008" y="861085"/>
                  <a:pt x="883008" y="869107"/>
                </a:cubicBezTo>
                <a:cubicBezTo>
                  <a:pt x="883008" y="876400"/>
                  <a:pt x="877174" y="882964"/>
                  <a:pt x="870610" y="882964"/>
                </a:cubicBezTo>
                <a:cubicBezTo>
                  <a:pt x="863318" y="882964"/>
                  <a:pt x="856754" y="876400"/>
                  <a:pt x="856754" y="869107"/>
                </a:cubicBezTo>
                <a:cubicBezTo>
                  <a:pt x="856754" y="861085"/>
                  <a:pt x="863318" y="856710"/>
                  <a:pt x="870610" y="856710"/>
                </a:cubicBezTo>
                <a:close/>
                <a:moveTo>
                  <a:pt x="799780" y="856710"/>
                </a:moveTo>
                <a:cubicBezTo>
                  <a:pt x="806344" y="856710"/>
                  <a:pt x="812178" y="861085"/>
                  <a:pt x="812178" y="869107"/>
                </a:cubicBezTo>
                <a:cubicBezTo>
                  <a:pt x="812178" y="876400"/>
                  <a:pt x="806344" y="882964"/>
                  <a:pt x="799780" y="882964"/>
                </a:cubicBezTo>
                <a:cubicBezTo>
                  <a:pt x="792487" y="882964"/>
                  <a:pt x="785924" y="876400"/>
                  <a:pt x="785924" y="869107"/>
                </a:cubicBezTo>
                <a:cubicBezTo>
                  <a:pt x="785924" y="861085"/>
                  <a:pt x="792487" y="856710"/>
                  <a:pt x="799780" y="856710"/>
                </a:cubicBezTo>
                <a:close/>
                <a:moveTo>
                  <a:pt x="724119" y="856710"/>
                </a:moveTo>
                <a:cubicBezTo>
                  <a:pt x="731411" y="856710"/>
                  <a:pt x="737976" y="861085"/>
                  <a:pt x="737976" y="869107"/>
                </a:cubicBezTo>
                <a:cubicBezTo>
                  <a:pt x="737976" y="876400"/>
                  <a:pt x="731411" y="882964"/>
                  <a:pt x="724119" y="882964"/>
                </a:cubicBezTo>
                <a:cubicBezTo>
                  <a:pt x="717555" y="882964"/>
                  <a:pt x="711721" y="876400"/>
                  <a:pt x="711721" y="869107"/>
                </a:cubicBezTo>
                <a:cubicBezTo>
                  <a:pt x="711721" y="861085"/>
                  <a:pt x="717555" y="856710"/>
                  <a:pt x="724119" y="856710"/>
                </a:cubicBezTo>
                <a:close/>
                <a:moveTo>
                  <a:pt x="653288" y="856710"/>
                </a:moveTo>
                <a:cubicBezTo>
                  <a:pt x="660580" y="856710"/>
                  <a:pt x="667144" y="861085"/>
                  <a:pt x="667144" y="869107"/>
                </a:cubicBezTo>
                <a:cubicBezTo>
                  <a:pt x="667144" y="876400"/>
                  <a:pt x="660580" y="882964"/>
                  <a:pt x="653288" y="882964"/>
                </a:cubicBezTo>
                <a:cubicBezTo>
                  <a:pt x="645266" y="882964"/>
                  <a:pt x="640891" y="876400"/>
                  <a:pt x="640891" y="869107"/>
                </a:cubicBezTo>
                <a:cubicBezTo>
                  <a:pt x="640891" y="861085"/>
                  <a:pt x="645266" y="856710"/>
                  <a:pt x="653288" y="856710"/>
                </a:cubicBezTo>
                <a:close/>
                <a:moveTo>
                  <a:pt x="584851" y="856710"/>
                </a:moveTo>
                <a:cubicBezTo>
                  <a:pt x="592633" y="856710"/>
                  <a:pt x="599638" y="861085"/>
                  <a:pt x="599638" y="869107"/>
                </a:cubicBezTo>
                <a:cubicBezTo>
                  <a:pt x="599638" y="876400"/>
                  <a:pt x="592633" y="882964"/>
                  <a:pt x="584851" y="882964"/>
                </a:cubicBezTo>
                <a:cubicBezTo>
                  <a:pt x="576288" y="882964"/>
                  <a:pt x="570061" y="876400"/>
                  <a:pt x="570061" y="869107"/>
                </a:cubicBezTo>
                <a:cubicBezTo>
                  <a:pt x="570061" y="861085"/>
                  <a:pt x="576288" y="856710"/>
                  <a:pt x="584851" y="856710"/>
                </a:cubicBezTo>
                <a:close/>
                <a:moveTo>
                  <a:pt x="513649" y="856710"/>
                </a:moveTo>
                <a:cubicBezTo>
                  <a:pt x="521998" y="856710"/>
                  <a:pt x="528826" y="861085"/>
                  <a:pt x="528826" y="869107"/>
                </a:cubicBezTo>
                <a:cubicBezTo>
                  <a:pt x="528826" y="876400"/>
                  <a:pt x="521998" y="882964"/>
                  <a:pt x="513649" y="882964"/>
                </a:cubicBezTo>
                <a:cubicBezTo>
                  <a:pt x="506060" y="882964"/>
                  <a:pt x="499230" y="876400"/>
                  <a:pt x="499230" y="869107"/>
                </a:cubicBezTo>
                <a:cubicBezTo>
                  <a:pt x="499230" y="861085"/>
                  <a:pt x="506060" y="856710"/>
                  <a:pt x="513649" y="856710"/>
                </a:cubicBezTo>
                <a:close/>
                <a:moveTo>
                  <a:pt x="439816" y="856710"/>
                </a:moveTo>
                <a:cubicBezTo>
                  <a:pt x="448379" y="856710"/>
                  <a:pt x="454606" y="861085"/>
                  <a:pt x="454606" y="869107"/>
                </a:cubicBezTo>
                <a:cubicBezTo>
                  <a:pt x="454606" y="876400"/>
                  <a:pt x="448379" y="882964"/>
                  <a:pt x="439816" y="882964"/>
                </a:cubicBezTo>
                <a:cubicBezTo>
                  <a:pt x="432032" y="882964"/>
                  <a:pt x="425028" y="876400"/>
                  <a:pt x="425028" y="869107"/>
                </a:cubicBezTo>
                <a:cubicBezTo>
                  <a:pt x="425028" y="861085"/>
                  <a:pt x="432032" y="856710"/>
                  <a:pt x="439816" y="856710"/>
                </a:cubicBezTo>
                <a:close/>
                <a:moveTo>
                  <a:pt x="368053" y="856710"/>
                </a:moveTo>
                <a:cubicBezTo>
                  <a:pt x="376076" y="856710"/>
                  <a:pt x="380451" y="861085"/>
                  <a:pt x="380451" y="869107"/>
                </a:cubicBezTo>
                <a:cubicBezTo>
                  <a:pt x="380451" y="876400"/>
                  <a:pt x="376076" y="882964"/>
                  <a:pt x="368053" y="882964"/>
                </a:cubicBezTo>
                <a:cubicBezTo>
                  <a:pt x="360761" y="882964"/>
                  <a:pt x="354198" y="876400"/>
                  <a:pt x="354198" y="869107"/>
                </a:cubicBezTo>
                <a:cubicBezTo>
                  <a:pt x="354198" y="861085"/>
                  <a:pt x="360761" y="856710"/>
                  <a:pt x="368053" y="856710"/>
                </a:cubicBezTo>
                <a:close/>
                <a:moveTo>
                  <a:pt x="297222" y="856710"/>
                </a:moveTo>
                <a:cubicBezTo>
                  <a:pt x="303785" y="856710"/>
                  <a:pt x="309618" y="861085"/>
                  <a:pt x="309618" y="869107"/>
                </a:cubicBezTo>
                <a:cubicBezTo>
                  <a:pt x="309618" y="876400"/>
                  <a:pt x="303785" y="882964"/>
                  <a:pt x="297222" y="882964"/>
                </a:cubicBezTo>
                <a:cubicBezTo>
                  <a:pt x="289929" y="882964"/>
                  <a:pt x="283366" y="876400"/>
                  <a:pt x="283366" y="869107"/>
                </a:cubicBezTo>
                <a:cubicBezTo>
                  <a:pt x="283366" y="862544"/>
                  <a:pt x="289929" y="856710"/>
                  <a:pt x="297222" y="856710"/>
                </a:cubicBezTo>
                <a:close/>
                <a:moveTo>
                  <a:pt x="226393" y="856710"/>
                </a:moveTo>
                <a:cubicBezTo>
                  <a:pt x="232228" y="856710"/>
                  <a:pt x="238791" y="862544"/>
                  <a:pt x="238791" y="869107"/>
                </a:cubicBezTo>
                <a:cubicBezTo>
                  <a:pt x="238791" y="876400"/>
                  <a:pt x="232228" y="882964"/>
                  <a:pt x="226393" y="882964"/>
                </a:cubicBezTo>
                <a:cubicBezTo>
                  <a:pt x="218370" y="882964"/>
                  <a:pt x="212537" y="876400"/>
                  <a:pt x="212537" y="869107"/>
                </a:cubicBezTo>
                <a:cubicBezTo>
                  <a:pt x="212537" y="862544"/>
                  <a:pt x="218370" y="856710"/>
                  <a:pt x="226393" y="856710"/>
                </a:cubicBezTo>
                <a:close/>
                <a:moveTo>
                  <a:pt x="154097" y="856710"/>
                </a:moveTo>
                <a:cubicBezTo>
                  <a:pt x="161389" y="856710"/>
                  <a:pt x="167953" y="862544"/>
                  <a:pt x="167953" y="869107"/>
                </a:cubicBezTo>
                <a:cubicBezTo>
                  <a:pt x="167953" y="876400"/>
                  <a:pt x="161389" y="882964"/>
                  <a:pt x="154097" y="882964"/>
                </a:cubicBezTo>
                <a:cubicBezTo>
                  <a:pt x="147533" y="882964"/>
                  <a:pt x="141699" y="876400"/>
                  <a:pt x="141699" y="869107"/>
                </a:cubicBezTo>
                <a:cubicBezTo>
                  <a:pt x="141699" y="862544"/>
                  <a:pt x="147533" y="856710"/>
                  <a:pt x="154097" y="856710"/>
                </a:cubicBezTo>
                <a:close/>
                <a:moveTo>
                  <a:pt x="83267" y="856710"/>
                </a:moveTo>
                <a:cubicBezTo>
                  <a:pt x="90560" y="856710"/>
                  <a:pt x="97123" y="862544"/>
                  <a:pt x="97123" y="869107"/>
                </a:cubicBezTo>
                <a:cubicBezTo>
                  <a:pt x="97123" y="876400"/>
                  <a:pt x="90560" y="882964"/>
                  <a:pt x="83267" y="882964"/>
                </a:cubicBezTo>
                <a:cubicBezTo>
                  <a:pt x="76704" y="882964"/>
                  <a:pt x="70870" y="876400"/>
                  <a:pt x="70870" y="869107"/>
                </a:cubicBezTo>
                <a:cubicBezTo>
                  <a:pt x="70870" y="862544"/>
                  <a:pt x="76704" y="856710"/>
                  <a:pt x="83267" y="856710"/>
                </a:cubicBezTo>
                <a:close/>
                <a:moveTo>
                  <a:pt x="12032" y="856710"/>
                </a:moveTo>
                <a:cubicBezTo>
                  <a:pt x="20276" y="856710"/>
                  <a:pt x="26273" y="862544"/>
                  <a:pt x="26273" y="869107"/>
                </a:cubicBezTo>
                <a:cubicBezTo>
                  <a:pt x="26273" y="876400"/>
                  <a:pt x="20276" y="882964"/>
                  <a:pt x="12032" y="882964"/>
                </a:cubicBezTo>
                <a:cubicBezTo>
                  <a:pt x="4536" y="882964"/>
                  <a:pt x="39" y="876400"/>
                  <a:pt x="39" y="869107"/>
                </a:cubicBezTo>
                <a:cubicBezTo>
                  <a:pt x="39" y="862544"/>
                  <a:pt x="4536" y="856710"/>
                  <a:pt x="12032" y="856710"/>
                </a:cubicBezTo>
                <a:close/>
                <a:moveTo>
                  <a:pt x="6368340" y="853339"/>
                </a:moveTo>
                <a:cubicBezTo>
                  <a:pt x="6376362" y="853339"/>
                  <a:pt x="6380737" y="860169"/>
                  <a:pt x="6380737" y="867757"/>
                </a:cubicBezTo>
                <a:cubicBezTo>
                  <a:pt x="6380737" y="876105"/>
                  <a:pt x="6376362" y="882935"/>
                  <a:pt x="6368340" y="882935"/>
                </a:cubicBezTo>
                <a:cubicBezTo>
                  <a:pt x="6361047" y="882935"/>
                  <a:pt x="6354484" y="876105"/>
                  <a:pt x="6354484" y="867757"/>
                </a:cubicBezTo>
                <a:cubicBezTo>
                  <a:pt x="6354484" y="860169"/>
                  <a:pt x="6361047" y="853339"/>
                  <a:pt x="6368340" y="853339"/>
                </a:cubicBezTo>
                <a:close/>
                <a:moveTo>
                  <a:pt x="6297511" y="853339"/>
                </a:moveTo>
                <a:cubicBezTo>
                  <a:pt x="6304074" y="853339"/>
                  <a:pt x="6309908" y="860169"/>
                  <a:pt x="6309908" y="867757"/>
                </a:cubicBezTo>
                <a:cubicBezTo>
                  <a:pt x="6309908" y="876105"/>
                  <a:pt x="6304074" y="882935"/>
                  <a:pt x="6297511" y="882935"/>
                </a:cubicBezTo>
                <a:cubicBezTo>
                  <a:pt x="6290218" y="882935"/>
                  <a:pt x="6283655" y="876105"/>
                  <a:pt x="6283655" y="867757"/>
                </a:cubicBezTo>
                <a:cubicBezTo>
                  <a:pt x="6283655" y="860169"/>
                  <a:pt x="6290218" y="853339"/>
                  <a:pt x="6297511" y="853339"/>
                </a:cubicBezTo>
                <a:close/>
                <a:moveTo>
                  <a:pt x="6226679" y="853339"/>
                </a:moveTo>
                <a:cubicBezTo>
                  <a:pt x="6233242" y="853339"/>
                  <a:pt x="6239076" y="860169"/>
                  <a:pt x="6239076" y="867757"/>
                </a:cubicBezTo>
                <a:cubicBezTo>
                  <a:pt x="6239076" y="876105"/>
                  <a:pt x="6233242" y="882935"/>
                  <a:pt x="6226679" y="882935"/>
                </a:cubicBezTo>
                <a:cubicBezTo>
                  <a:pt x="6219386" y="882935"/>
                  <a:pt x="6212823" y="876105"/>
                  <a:pt x="6212823" y="867757"/>
                </a:cubicBezTo>
                <a:cubicBezTo>
                  <a:pt x="6212823" y="860169"/>
                  <a:pt x="6219386" y="855615"/>
                  <a:pt x="6226679" y="853339"/>
                </a:cubicBezTo>
                <a:close/>
                <a:moveTo>
                  <a:pt x="6154391" y="853339"/>
                </a:moveTo>
                <a:cubicBezTo>
                  <a:pt x="6161684" y="853339"/>
                  <a:pt x="6168247" y="857714"/>
                  <a:pt x="6168247" y="865007"/>
                </a:cubicBezTo>
                <a:cubicBezTo>
                  <a:pt x="6168247" y="873029"/>
                  <a:pt x="6161684" y="879593"/>
                  <a:pt x="6154391" y="879593"/>
                </a:cubicBezTo>
                <a:cubicBezTo>
                  <a:pt x="6147828" y="879593"/>
                  <a:pt x="6141994" y="873029"/>
                  <a:pt x="6141994" y="865007"/>
                </a:cubicBezTo>
                <a:cubicBezTo>
                  <a:pt x="6141994" y="857714"/>
                  <a:pt x="6147828" y="853339"/>
                  <a:pt x="6154391" y="853339"/>
                </a:cubicBezTo>
                <a:close/>
                <a:moveTo>
                  <a:pt x="6083559" y="853339"/>
                </a:moveTo>
                <a:cubicBezTo>
                  <a:pt x="6090852" y="853339"/>
                  <a:pt x="6097415" y="857714"/>
                  <a:pt x="6097415" y="865007"/>
                </a:cubicBezTo>
                <a:cubicBezTo>
                  <a:pt x="6097415" y="873029"/>
                  <a:pt x="6090852" y="879593"/>
                  <a:pt x="6083559" y="879593"/>
                </a:cubicBezTo>
                <a:cubicBezTo>
                  <a:pt x="6076996" y="879593"/>
                  <a:pt x="6071162" y="873029"/>
                  <a:pt x="6071162" y="865007"/>
                </a:cubicBezTo>
                <a:cubicBezTo>
                  <a:pt x="6071162" y="857714"/>
                  <a:pt x="6075537" y="853339"/>
                  <a:pt x="6083559" y="853339"/>
                </a:cubicBezTo>
                <a:close/>
                <a:moveTo>
                  <a:pt x="6011748" y="853339"/>
                </a:moveTo>
                <a:cubicBezTo>
                  <a:pt x="6019532" y="853339"/>
                  <a:pt x="6026537" y="857714"/>
                  <a:pt x="6026537" y="865007"/>
                </a:cubicBezTo>
                <a:cubicBezTo>
                  <a:pt x="6026537" y="873029"/>
                  <a:pt x="6019532" y="879593"/>
                  <a:pt x="6011748" y="879593"/>
                </a:cubicBezTo>
                <a:cubicBezTo>
                  <a:pt x="6003186" y="879593"/>
                  <a:pt x="5996959" y="873029"/>
                  <a:pt x="5996959" y="865007"/>
                </a:cubicBezTo>
                <a:cubicBezTo>
                  <a:pt x="5996959" y="857714"/>
                  <a:pt x="6003186" y="853339"/>
                  <a:pt x="6011748" y="853339"/>
                </a:cubicBezTo>
                <a:close/>
                <a:moveTo>
                  <a:pt x="5940548" y="853339"/>
                </a:moveTo>
                <a:cubicBezTo>
                  <a:pt x="5948896" y="853339"/>
                  <a:pt x="5955726" y="857714"/>
                  <a:pt x="5955726" y="865007"/>
                </a:cubicBezTo>
                <a:cubicBezTo>
                  <a:pt x="5955726" y="873029"/>
                  <a:pt x="5948896" y="879593"/>
                  <a:pt x="5940548" y="879593"/>
                </a:cubicBezTo>
                <a:cubicBezTo>
                  <a:pt x="5932960" y="879593"/>
                  <a:pt x="5926130" y="873029"/>
                  <a:pt x="5926130" y="865007"/>
                </a:cubicBezTo>
                <a:cubicBezTo>
                  <a:pt x="5926130" y="857714"/>
                  <a:pt x="5932960" y="853339"/>
                  <a:pt x="5940548" y="853339"/>
                </a:cubicBezTo>
                <a:close/>
                <a:moveTo>
                  <a:pt x="5870088" y="853339"/>
                </a:moveTo>
                <a:cubicBezTo>
                  <a:pt x="5878650" y="853339"/>
                  <a:pt x="5884877" y="857714"/>
                  <a:pt x="5884877" y="865007"/>
                </a:cubicBezTo>
                <a:cubicBezTo>
                  <a:pt x="5884877" y="873029"/>
                  <a:pt x="5878650" y="879593"/>
                  <a:pt x="5870088" y="879593"/>
                </a:cubicBezTo>
                <a:cubicBezTo>
                  <a:pt x="5862304" y="879593"/>
                  <a:pt x="5855299" y="873029"/>
                  <a:pt x="5855299" y="865007"/>
                </a:cubicBezTo>
                <a:cubicBezTo>
                  <a:pt x="5855299" y="857714"/>
                  <a:pt x="5862304" y="853339"/>
                  <a:pt x="5870088" y="853339"/>
                </a:cubicBezTo>
                <a:close/>
                <a:moveTo>
                  <a:pt x="5798325" y="853339"/>
                </a:moveTo>
                <a:cubicBezTo>
                  <a:pt x="5806347" y="853339"/>
                  <a:pt x="5810722" y="857714"/>
                  <a:pt x="5810722" y="865007"/>
                </a:cubicBezTo>
                <a:cubicBezTo>
                  <a:pt x="5810722" y="873029"/>
                  <a:pt x="5806347" y="879593"/>
                  <a:pt x="5798325" y="879593"/>
                </a:cubicBezTo>
                <a:cubicBezTo>
                  <a:pt x="5791032" y="879593"/>
                  <a:pt x="5784469" y="873029"/>
                  <a:pt x="5784469" y="865007"/>
                </a:cubicBezTo>
                <a:cubicBezTo>
                  <a:pt x="5784469" y="857714"/>
                  <a:pt x="5791032" y="853339"/>
                  <a:pt x="5798325" y="853339"/>
                </a:cubicBezTo>
                <a:close/>
                <a:moveTo>
                  <a:pt x="5724122" y="853339"/>
                </a:moveTo>
                <a:cubicBezTo>
                  <a:pt x="5730685" y="853339"/>
                  <a:pt x="5736519" y="857714"/>
                  <a:pt x="5736519" y="865007"/>
                </a:cubicBezTo>
                <a:cubicBezTo>
                  <a:pt x="5736519" y="873029"/>
                  <a:pt x="5730685" y="879593"/>
                  <a:pt x="5724122" y="879593"/>
                </a:cubicBezTo>
                <a:cubicBezTo>
                  <a:pt x="5716100" y="879593"/>
                  <a:pt x="5710266" y="873029"/>
                  <a:pt x="5710266" y="865007"/>
                </a:cubicBezTo>
                <a:cubicBezTo>
                  <a:pt x="5710266" y="857714"/>
                  <a:pt x="5716100" y="853339"/>
                  <a:pt x="5724122" y="853339"/>
                </a:cubicBezTo>
                <a:close/>
                <a:moveTo>
                  <a:pt x="5653291" y="853339"/>
                </a:moveTo>
                <a:cubicBezTo>
                  <a:pt x="5659125" y="853339"/>
                  <a:pt x="5665688" y="857714"/>
                  <a:pt x="5665688" y="865007"/>
                </a:cubicBezTo>
                <a:cubicBezTo>
                  <a:pt x="5665688" y="873029"/>
                  <a:pt x="5659125" y="879593"/>
                  <a:pt x="5653291" y="879593"/>
                </a:cubicBezTo>
                <a:cubicBezTo>
                  <a:pt x="5645269" y="879593"/>
                  <a:pt x="5639435" y="873029"/>
                  <a:pt x="5639435" y="865007"/>
                </a:cubicBezTo>
                <a:cubicBezTo>
                  <a:pt x="5639435" y="857714"/>
                  <a:pt x="5645269" y="853339"/>
                  <a:pt x="5653291" y="853339"/>
                </a:cubicBezTo>
                <a:close/>
                <a:moveTo>
                  <a:pt x="5581002" y="853339"/>
                </a:moveTo>
                <a:cubicBezTo>
                  <a:pt x="5588295" y="853339"/>
                  <a:pt x="5594858" y="857714"/>
                  <a:pt x="5594858" y="865007"/>
                </a:cubicBezTo>
                <a:cubicBezTo>
                  <a:pt x="5594858" y="873029"/>
                  <a:pt x="5588295" y="879593"/>
                  <a:pt x="5581002" y="879593"/>
                </a:cubicBezTo>
                <a:cubicBezTo>
                  <a:pt x="5574439" y="879593"/>
                  <a:pt x="5568605" y="873029"/>
                  <a:pt x="5568605" y="865007"/>
                </a:cubicBezTo>
                <a:cubicBezTo>
                  <a:pt x="5568605" y="859173"/>
                  <a:pt x="5574439" y="853339"/>
                  <a:pt x="5581002" y="853339"/>
                </a:cubicBezTo>
                <a:close/>
                <a:moveTo>
                  <a:pt x="5510171" y="853339"/>
                </a:moveTo>
                <a:cubicBezTo>
                  <a:pt x="5517464" y="853339"/>
                  <a:pt x="5524027" y="859173"/>
                  <a:pt x="5524027" y="865007"/>
                </a:cubicBezTo>
                <a:cubicBezTo>
                  <a:pt x="5524027" y="873029"/>
                  <a:pt x="5517464" y="879593"/>
                  <a:pt x="5510171" y="879593"/>
                </a:cubicBezTo>
                <a:cubicBezTo>
                  <a:pt x="5503608" y="879593"/>
                  <a:pt x="5497774" y="873029"/>
                  <a:pt x="5497774" y="865007"/>
                </a:cubicBezTo>
                <a:cubicBezTo>
                  <a:pt x="5497774" y="859173"/>
                  <a:pt x="5503608" y="853339"/>
                  <a:pt x="5510171" y="853339"/>
                </a:cubicBezTo>
                <a:close/>
                <a:moveTo>
                  <a:pt x="5438937" y="853339"/>
                </a:moveTo>
                <a:cubicBezTo>
                  <a:pt x="5447182" y="853339"/>
                  <a:pt x="5453178" y="859173"/>
                  <a:pt x="5453178" y="865007"/>
                </a:cubicBezTo>
                <a:cubicBezTo>
                  <a:pt x="5453178" y="873029"/>
                  <a:pt x="5447182" y="879593"/>
                  <a:pt x="5438937" y="879593"/>
                </a:cubicBezTo>
                <a:cubicBezTo>
                  <a:pt x="5431442" y="879593"/>
                  <a:pt x="5426945" y="873029"/>
                  <a:pt x="5426945" y="865007"/>
                </a:cubicBezTo>
                <a:cubicBezTo>
                  <a:pt x="5426945" y="859173"/>
                  <a:pt x="5431442" y="853339"/>
                  <a:pt x="5438937" y="853339"/>
                </a:cubicBezTo>
                <a:close/>
                <a:moveTo>
                  <a:pt x="5367530" y="853339"/>
                </a:moveTo>
                <a:cubicBezTo>
                  <a:pt x="5376092" y="853339"/>
                  <a:pt x="5382318" y="859173"/>
                  <a:pt x="5382318" y="865007"/>
                </a:cubicBezTo>
                <a:cubicBezTo>
                  <a:pt x="5382318" y="873029"/>
                  <a:pt x="5376092" y="879593"/>
                  <a:pt x="5367530" y="879593"/>
                </a:cubicBezTo>
                <a:cubicBezTo>
                  <a:pt x="5359747" y="879593"/>
                  <a:pt x="5352742" y="873029"/>
                  <a:pt x="5352742" y="865007"/>
                </a:cubicBezTo>
                <a:cubicBezTo>
                  <a:pt x="5352742" y="859173"/>
                  <a:pt x="5359747" y="853339"/>
                  <a:pt x="5367530" y="853339"/>
                </a:cubicBezTo>
                <a:close/>
                <a:moveTo>
                  <a:pt x="5296699" y="853339"/>
                </a:moveTo>
                <a:cubicBezTo>
                  <a:pt x="5305261" y="853339"/>
                  <a:pt x="5311488" y="859173"/>
                  <a:pt x="5311488" y="865007"/>
                </a:cubicBezTo>
                <a:cubicBezTo>
                  <a:pt x="5311488" y="873029"/>
                  <a:pt x="5305261" y="879593"/>
                  <a:pt x="5296699" y="879593"/>
                </a:cubicBezTo>
                <a:cubicBezTo>
                  <a:pt x="5288915" y="879593"/>
                  <a:pt x="5281910" y="873029"/>
                  <a:pt x="5281910" y="865007"/>
                </a:cubicBezTo>
                <a:cubicBezTo>
                  <a:pt x="5281910" y="859173"/>
                  <a:pt x="5288915" y="853339"/>
                  <a:pt x="5296699" y="853339"/>
                </a:cubicBezTo>
                <a:close/>
                <a:moveTo>
                  <a:pt x="5225869" y="853339"/>
                </a:moveTo>
                <a:cubicBezTo>
                  <a:pt x="5234431" y="853339"/>
                  <a:pt x="5240657" y="859173"/>
                  <a:pt x="5240657" y="865007"/>
                </a:cubicBezTo>
                <a:cubicBezTo>
                  <a:pt x="5240657" y="873029"/>
                  <a:pt x="5234431" y="879593"/>
                  <a:pt x="5225869" y="879593"/>
                </a:cubicBezTo>
                <a:cubicBezTo>
                  <a:pt x="5217307" y="879593"/>
                  <a:pt x="5211081" y="873029"/>
                  <a:pt x="5211081" y="865007"/>
                </a:cubicBezTo>
                <a:cubicBezTo>
                  <a:pt x="5211081" y="859173"/>
                  <a:pt x="5217307" y="853339"/>
                  <a:pt x="5225869" y="853339"/>
                </a:cubicBezTo>
                <a:close/>
                <a:moveTo>
                  <a:pt x="5154105" y="853339"/>
                </a:moveTo>
                <a:cubicBezTo>
                  <a:pt x="5162127" y="853339"/>
                  <a:pt x="5166502" y="859173"/>
                  <a:pt x="5166502" y="865007"/>
                </a:cubicBezTo>
                <a:cubicBezTo>
                  <a:pt x="5166502" y="873029"/>
                  <a:pt x="5162127" y="879593"/>
                  <a:pt x="5154105" y="879593"/>
                </a:cubicBezTo>
                <a:cubicBezTo>
                  <a:pt x="5146083" y="879593"/>
                  <a:pt x="5140249" y="873029"/>
                  <a:pt x="5140249" y="865007"/>
                </a:cubicBezTo>
                <a:cubicBezTo>
                  <a:pt x="5140249" y="859173"/>
                  <a:pt x="5146083" y="853339"/>
                  <a:pt x="5154105" y="853339"/>
                </a:cubicBezTo>
                <a:close/>
                <a:moveTo>
                  <a:pt x="5083276" y="853339"/>
                </a:moveTo>
                <a:cubicBezTo>
                  <a:pt x="5089110" y="853339"/>
                  <a:pt x="5095673" y="859173"/>
                  <a:pt x="5095673" y="865007"/>
                </a:cubicBezTo>
                <a:cubicBezTo>
                  <a:pt x="5095673" y="873029"/>
                  <a:pt x="5089110" y="879593"/>
                  <a:pt x="5083276" y="879593"/>
                </a:cubicBezTo>
                <a:cubicBezTo>
                  <a:pt x="5075254" y="879593"/>
                  <a:pt x="5069420" y="873029"/>
                  <a:pt x="5069420" y="865007"/>
                </a:cubicBezTo>
                <a:cubicBezTo>
                  <a:pt x="5069420" y="859173"/>
                  <a:pt x="5075254" y="853339"/>
                  <a:pt x="5083276" y="853339"/>
                </a:cubicBezTo>
                <a:close/>
                <a:moveTo>
                  <a:pt x="5012445" y="853339"/>
                </a:moveTo>
                <a:cubicBezTo>
                  <a:pt x="5018279" y="853339"/>
                  <a:pt x="5024842" y="859173"/>
                  <a:pt x="5024842" y="865007"/>
                </a:cubicBezTo>
                <a:cubicBezTo>
                  <a:pt x="5024842" y="873029"/>
                  <a:pt x="5018279" y="879593"/>
                  <a:pt x="5012445" y="879593"/>
                </a:cubicBezTo>
                <a:cubicBezTo>
                  <a:pt x="5004423" y="879593"/>
                  <a:pt x="4998589" y="873029"/>
                  <a:pt x="4998589" y="865007"/>
                </a:cubicBezTo>
                <a:cubicBezTo>
                  <a:pt x="4998589" y="859173"/>
                  <a:pt x="5004423" y="853339"/>
                  <a:pt x="5012445" y="853339"/>
                </a:cubicBezTo>
                <a:close/>
                <a:moveTo>
                  <a:pt x="4940157" y="853339"/>
                </a:moveTo>
                <a:cubicBezTo>
                  <a:pt x="4948179" y="853339"/>
                  <a:pt x="4954013" y="859173"/>
                  <a:pt x="4954013" y="865007"/>
                </a:cubicBezTo>
                <a:cubicBezTo>
                  <a:pt x="4954013" y="873029"/>
                  <a:pt x="4948179" y="879593"/>
                  <a:pt x="4940157" y="879593"/>
                </a:cubicBezTo>
                <a:cubicBezTo>
                  <a:pt x="4934323" y="879593"/>
                  <a:pt x="4927760" y="873029"/>
                  <a:pt x="4927760" y="865007"/>
                </a:cubicBezTo>
                <a:cubicBezTo>
                  <a:pt x="4927760" y="859173"/>
                  <a:pt x="4934323" y="853339"/>
                  <a:pt x="4940157" y="853339"/>
                </a:cubicBezTo>
                <a:close/>
                <a:moveTo>
                  <a:pt x="4865953" y="853339"/>
                </a:moveTo>
                <a:cubicBezTo>
                  <a:pt x="4873975" y="853339"/>
                  <a:pt x="4879809" y="859173"/>
                  <a:pt x="4879809" y="865007"/>
                </a:cubicBezTo>
                <a:cubicBezTo>
                  <a:pt x="4879809" y="873029"/>
                  <a:pt x="4873975" y="879593"/>
                  <a:pt x="4865953" y="879593"/>
                </a:cubicBezTo>
                <a:cubicBezTo>
                  <a:pt x="4858661" y="879593"/>
                  <a:pt x="4853556" y="873029"/>
                  <a:pt x="4853556" y="865007"/>
                </a:cubicBezTo>
                <a:cubicBezTo>
                  <a:pt x="4853556" y="859173"/>
                  <a:pt x="4858661" y="853339"/>
                  <a:pt x="4865953" y="853339"/>
                </a:cubicBezTo>
                <a:close/>
                <a:moveTo>
                  <a:pt x="4797514" y="853339"/>
                </a:moveTo>
                <a:cubicBezTo>
                  <a:pt x="4806076" y="853339"/>
                  <a:pt x="4812303" y="859173"/>
                  <a:pt x="4812303" y="865007"/>
                </a:cubicBezTo>
                <a:cubicBezTo>
                  <a:pt x="4812303" y="873029"/>
                  <a:pt x="4806076" y="879593"/>
                  <a:pt x="4797514" y="879593"/>
                </a:cubicBezTo>
                <a:cubicBezTo>
                  <a:pt x="4789730" y="879593"/>
                  <a:pt x="4782725" y="873029"/>
                  <a:pt x="4782725" y="865007"/>
                </a:cubicBezTo>
                <a:cubicBezTo>
                  <a:pt x="4782725" y="859173"/>
                  <a:pt x="4789730" y="853339"/>
                  <a:pt x="4797514" y="853339"/>
                </a:cubicBezTo>
                <a:close/>
                <a:moveTo>
                  <a:pt x="4726684" y="853339"/>
                </a:moveTo>
                <a:cubicBezTo>
                  <a:pt x="4735246" y="853339"/>
                  <a:pt x="4741472" y="859173"/>
                  <a:pt x="4741472" y="865007"/>
                </a:cubicBezTo>
                <a:cubicBezTo>
                  <a:pt x="4741472" y="873029"/>
                  <a:pt x="4735246" y="879593"/>
                  <a:pt x="4726684" y="879593"/>
                </a:cubicBezTo>
                <a:cubicBezTo>
                  <a:pt x="4718122" y="879593"/>
                  <a:pt x="4711896" y="873029"/>
                  <a:pt x="4711896" y="865007"/>
                </a:cubicBezTo>
                <a:cubicBezTo>
                  <a:pt x="4711896" y="859173"/>
                  <a:pt x="4718122" y="853339"/>
                  <a:pt x="4726684" y="853339"/>
                </a:cubicBezTo>
                <a:close/>
                <a:moveTo>
                  <a:pt x="4655853" y="853339"/>
                </a:moveTo>
                <a:cubicBezTo>
                  <a:pt x="4663637" y="853339"/>
                  <a:pt x="4670642" y="859173"/>
                  <a:pt x="4670642" y="865007"/>
                </a:cubicBezTo>
                <a:cubicBezTo>
                  <a:pt x="4670642" y="873029"/>
                  <a:pt x="4663637" y="879593"/>
                  <a:pt x="4655853" y="879593"/>
                </a:cubicBezTo>
                <a:cubicBezTo>
                  <a:pt x="4647291" y="879593"/>
                  <a:pt x="4641064" y="873029"/>
                  <a:pt x="4641064" y="865007"/>
                </a:cubicBezTo>
                <a:cubicBezTo>
                  <a:pt x="4641064" y="859173"/>
                  <a:pt x="4647291" y="853339"/>
                  <a:pt x="4655853" y="853339"/>
                </a:cubicBezTo>
                <a:close/>
                <a:moveTo>
                  <a:pt x="4584091" y="853339"/>
                </a:moveTo>
                <a:cubicBezTo>
                  <a:pt x="4591384" y="853339"/>
                  <a:pt x="4596488" y="859173"/>
                  <a:pt x="4596488" y="865007"/>
                </a:cubicBezTo>
                <a:cubicBezTo>
                  <a:pt x="4596488" y="873029"/>
                  <a:pt x="4591384" y="879593"/>
                  <a:pt x="4584091" y="879593"/>
                </a:cubicBezTo>
                <a:cubicBezTo>
                  <a:pt x="4576069" y="879593"/>
                  <a:pt x="4570235" y="873029"/>
                  <a:pt x="4570235" y="865007"/>
                </a:cubicBezTo>
                <a:cubicBezTo>
                  <a:pt x="4570235" y="859173"/>
                  <a:pt x="4576069" y="853339"/>
                  <a:pt x="4584091" y="853339"/>
                </a:cubicBezTo>
                <a:close/>
                <a:moveTo>
                  <a:pt x="4513260" y="853339"/>
                </a:moveTo>
                <a:cubicBezTo>
                  <a:pt x="4519094" y="853339"/>
                  <a:pt x="4525657" y="859173"/>
                  <a:pt x="4525657" y="865007"/>
                </a:cubicBezTo>
                <a:cubicBezTo>
                  <a:pt x="4525657" y="873029"/>
                  <a:pt x="4519094" y="879593"/>
                  <a:pt x="4513260" y="879593"/>
                </a:cubicBezTo>
                <a:cubicBezTo>
                  <a:pt x="4505238" y="879593"/>
                  <a:pt x="4499404" y="873029"/>
                  <a:pt x="4499404" y="865007"/>
                </a:cubicBezTo>
                <a:cubicBezTo>
                  <a:pt x="4499404" y="859173"/>
                  <a:pt x="4505238" y="853339"/>
                  <a:pt x="4513260" y="853339"/>
                </a:cubicBezTo>
                <a:close/>
                <a:moveTo>
                  <a:pt x="4439056" y="853339"/>
                </a:moveTo>
                <a:cubicBezTo>
                  <a:pt x="4445619" y="853339"/>
                  <a:pt x="4451453" y="859173"/>
                  <a:pt x="4451453" y="865007"/>
                </a:cubicBezTo>
                <a:cubicBezTo>
                  <a:pt x="4451453" y="873029"/>
                  <a:pt x="4445619" y="879593"/>
                  <a:pt x="4439056" y="879593"/>
                </a:cubicBezTo>
                <a:cubicBezTo>
                  <a:pt x="4431763" y="879593"/>
                  <a:pt x="4425200" y="873029"/>
                  <a:pt x="4425200" y="865007"/>
                </a:cubicBezTo>
                <a:cubicBezTo>
                  <a:pt x="4425200" y="859173"/>
                  <a:pt x="4431763" y="853339"/>
                  <a:pt x="4439056" y="853339"/>
                </a:cubicBezTo>
                <a:close/>
                <a:moveTo>
                  <a:pt x="4366768" y="853339"/>
                </a:moveTo>
                <a:cubicBezTo>
                  <a:pt x="4374790" y="853339"/>
                  <a:pt x="4380624" y="859173"/>
                  <a:pt x="4380624" y="865007"/>
                </a:cubicBezTo>
                <a:cubicBezTo>
                  <a:pt x="4380624" y="873029"/>
                  <a:pt x="4374790" y="879593"/>
                  <a:pt x="4366768" y="879593"/>
                </a:cubicBezTo>
                <a:cubicBezTo>
                  <a:pt x="4360934" y="879593"/>
                  <a:pt x="4354371" y="873029"/>
                  <a:pt x="4354371" y="867195"/>
                </a:cubicBezTo>
                <a:cubicBezTo>
                  <a:pt x="4354371" y="859173"/>
                  <a:pt x="4360934" y="853339"/>
                  <a:pt x="4366768" y="853339"/>
                </a:cubicBezTo>
                <a:close/>
                <a:moveTo>
                  <a:pt x="4295937" y="853339"/>
                </a:moveTo>
                <a:cubicBezTo>
                  <a:pt x="4303959" y="853339"/>
                  <a:pt x="4309793" y="859173"/>
                  <a:pt x="4309793" y="867195"/>
                </a:cubicBezTo>
                <a:cubicBezTo>
                  <a:pt x="4309793" y="873029"/>
                  <a:pt x="4303959" y="879593"/>
                  <a:pt x="4295937" y="879593"/>
                </a:cubicBezTo>
                <a:cubicBezTo>
                  <a:pt x="4290103" y="879593"/>
                  <a:pt x="4283540" y="873029"/>
                  <a:pt x="4283540" y="867195"/>
                </a:cubicBezTo>
                <a:cubicBezTo>
                  <a:pt x="4283540" y="859173"/>
                  <a:pt x="4290103" y="853339"/>
                  <a:pt x="4295937" y="853339"/>
                </a:cubicBezTo>
                <a:close/>
                <a:moveTo>
                  <a:pt x="4225107" y="853339"/>
                </a:moveTo>
                <a:cubicBezTo>
                  <a:pt x="4233129" y="853339"/>
                  <a:pt x="4238963" y="859173"/>
                  <a:pt x="4238963" y="867195"/>
                </a:cubicBezTo>
                <a:cubicBezTo>
                  <a:pt x="4238963" y="873029"/>
                  <a:pt x="4233129" y="879593"/>
                  <a:pt x="4225107" y="879593"/>
                </a:cubicBezTo>
                <a:cubicBezTo>
                  <a:pt x="4217085" y="879593"/>
                  <a:pt x="4212710" y="873029"/>
                  <a:pt x="4212710" y="867195"/>
                </a:cubicBezTo>
                <a:cubicBezTo>
                  <a:pt x="4212710" y="859173"/>
                  <a:pt x="4217085" y="853339"/>
                  <a:pt x="4225107" y="853339"/>
                </a:cubicBezTo>
                <a:close/>
                <a:moveTo>
                  <a:pt x="4153295" y="853339"/>
                </a:moveTo>
                <a:cubicBezTo>
                  <a:pt x="4161078" y="853339"/>
                  <a:pt x="4168083" y="859173"/>
                  <a:pt x="4168083" y="867195"/>
                </a:cubicBezTo>
                <a:cubicBezTo>
                  <a:pt x="4168083" y="873029"/>
                  <a:pt x="4161078" y="879593"/>
                  <a:pt x="4153295" y="879593"/>
                </a:cubicBezTo>
                <a:cubicBezTo>
                  <a:pt x="4144733" y="879593"/>
                  <a:pt x="4138507" y="873029"/>
                  <a:pt x="4138507" y="867195"/>
                </a:cubicBezTo>
                <a:cubicBezTo>
                  <a:pt x="4138507" y="859173"/>
                  <a:pt x="4144733" y="853339"/>
                  <a:pt x="4153295" y="853339"/>
                </a:cubicBezTo>
                <a:close/>
                <a:moveTo>
                  <a:pt x="4082465" y="853339"/>
                </a:moveTo>
                <a:cubicBezTo>
                  <a:pt x="4090249" y="853339"/>
                  <a:pt x="4097254" y="859173"/>
                  <a:pt x="4097254" y="867195"/>
                </a:cubicBezTo>
                <a:cubicBezTo>
                  <a:pt x="4097254" y="873029"/>
                  <a:pt x="4090249" y="879593"/>
                  <a:pt x="4082465" y="879593"/>
                </a:cubicBezTo>
                <a:cubicBezTo>
                  <a:pt x="4073903" y="879593"/>
                  <a:pt x="4067676" y="873029"/>
                  <a:pt x="4067676" y="867195"/>
                </a:cubicBezTo>
                <a:cubicBezTo>
                  <a:pt x="4067676" y="859173"/>
                  <a:pt x="4073903" y="853339"/>
                  <a:pt x="4082465" y="853339"/>
                </a:cubicBezTo>
                <a:close/>
                <a:moveTo>
                  <a:pt x="4011635" y="853339"/>
                </a:moveTo>
                <a:cubicBezTo>
                  <a:pt x="4019418" y="853339"/>
                  <a:pt x="4026423" y="859173"/>
                  <a:pt x="4026423" y="867195"/>
                </a:cubicBezTo>
                <a:cubicBezTo>
                  <a:pt x="4026423" y="873029"/>
                  <a:pt x="4019418" y="879593"/>
                  <a:pt x="4011635" y="879593"/>
                </a:cubicBezTo>
                <a:cubicBezTo>
                  <a:pt x="4003073" y="879593"/>
                  <a:pt x="3996847" y="873029"/>
                  <a:pt x="3996847" y="867195"/>
                </a:cubicBezTo>
                <a:cubicBezTo>
                  <a:pt x="3996847" y="859173"/>
                  <a:pt x="4003073" y="853339"/>
                  <a:pt x="4011635" y="853339"/>
                </a:cubicBezTo>
                <a:close/>
                <a:moveTo>
                  <a:pt x="3939871" y="853339"/>
                </a:moveTo>
                <a:cubicBezTo>
                  <a:pt x="3947893" y="853339"/>
                  <a:pt x="3952268" y="859173"/>
                  <a:pt x="3952268" y="867195"/>
                </a:cubicBezTo>
                <a:cubicBezTo>
                  <a:pt x="3952268" y="873029"/>
                  <a:pt x="3947893" y="879593"/>
                  <a:pt x="3939871" y="879593"/>
                </a:cubicBezTo>
                <a:cubicBezTo>
                  <a:pt x="3932578" y="879593"/>
                  <a:pt x="3926015" y="873029"/>
                  <a:pt x="3926015" y="867195"/>
                </a:cubicBezTo>
                <a:cubicBezTo>
                  <a:pt x="3926015" y="859173"/>
                  <a:pt x="3932578" y="853339"/>
                  <a:pt x="3939871" y="853339"/>
                </a:cubicBezTo>
                <a:close/>
                <a:moveTo>
                  <a:pt x="3869042" y="853339"/>
                </a:moveTo>
                <a:cubicBezTo>
                  <a:pt x="3875605" y="853339"/>
                  <a:pt x="3881439" y="859173"/>
                  <a:pt x="3881439" y="867195"/>
                </a:cubicBezTo>
                <a:cubicBezTo>
                  <a:pt x="3881439" y="873029"/>
                  <a:pt x="3875605" y="879593"/>
                  <a:pt x="3869042" y="879593"/>
                </a:cubicBezTo>
                <a:cubicBezTo>
                  <a:pt x="3861749" y="879593"/>
                  <a:pt x="3855186" y="873029"/>
                  <a:pt x="3855186" y="867195"/>
                </a:cubicBezTo>
                <a:cubicBezTo>
                  <a:pt x="3855186" y="859173"/>
                  <a:pt x="3861749" y="853339"/>
                  <a:pt x="3869042" y="853339"/>
                </a:cubicBezTo>
                <a:close/>
                <a:moveTo>
                  <a:pt x="3796752" y="853339"/>
                </a:moveTo>
                <a:cubicBezTo>
                  <a:pt x="3804774" y="853339"/>
                  <a:pt x="3810608" y="859173"/>
                  <a:pt x="3810608" y="867195"/>
                </a:cubicBezTo>
                <a:cubicBezTo>
                  <a:pt x="3810608" y="873029"/>
                  <a:pt x="3804774" y="879593"/>
                  <a:pt x="3796752" y="879593"/>
                </a:cubicBezTo>
                <a:cubicBezTo>
                  <a:pt x="3790918" y="879593"/>
                  <a:pt x="3784355" y="873029"/>
                  <a:pt x="3784355" y="867195"/>
                </a:cubicBezTo>
                <a:cubicBezTo>
                  <a:pt x="3784355" y="859173"/>
                  <a:pt x="3790918" y="853339"/>
                  <a:pt x="3796752" y="853339"/>
                </a:cubicBezTo>
                <a:close/>
                <a:moveTo>
                  <a:pt x="3725922" y="853339"/>
                </a:moveTo>
                <a:cubicBezTo>
                  <a:pt x="3733944" y="853339"/>
                  <a:pt x="3739778" y="859173"/>
                  <a:pt x="3739778" y="867195"/>
                </a:cubicBezTo>
                <a:cubicBezTo>
                  <a:pt x="3739778" y="873029"/>
                  <a:pt x="3733944" y="879593"/>
                  <a:pt x="3725922" y="879593"/>
                </a:cubicBezTo>
                <a:cubicBezTo>
                  <a:pt x="3719359" y="879593"/>
                  <a:pt x="3713525" y="873029"/>
                  <a:pt x="3713525" y="867195"/>
                </a:cubicBezTo>
                <a:cubicBezTo>
                  <a:pt x="3713525" y="859173"/>
                  <a:pt x="3719359" y="853339"/>
                  <a:pt x="3725922" y="853339"/>
                </a:cubicBezTo>
                <a:close/>
                <a:moveTo>
                  <a:pt x="3655091" y="853339"/>
                </a:moveTo>
                <a:cubicBezTo>
                  <a:pt x="3662384" y="853339"/>
                  <a:pt x="3668947" y="859173"/>
                  <a:pt x="3668947" y="867195"/>
                </a:cubicBezTo>
                <a:cubicBezTo>
                  <a:pt x="3668947" y="873029"/>
                  <a:pt x="3662384" y="879593"/>
                  <a:pt x="3655091" y="879593"/>
                </a:cubicBezTo>
                <a:cubicBezTo>
                  <a:pt x="3647069" y="879593"/>
                  <a:pt x="3642694" y="873029"/>
                  <a:pt x="3642694" y="867195"/>
                </a:cubicBezTo>
                <a:cubicBezTo>
                  <a:pt x="3642694" y="859173"/>
                  <a:pt x="3647069" y="853339"/>
                  <a:pt x="3655091" y="853339"/>
                </a:cubicBezTo>
                <a:close/>
                <a:moveTo>
                  <a:pt x="3583280" y="853339"/>
                </a:moveTo>
                <a:cubicBezTo>
                  <a:pt x="3591064" y="853339"/>
                  <a:pt x="3598069" y="859173"/>
                  <a:pt x="3598069" y="867195"/>
                </a:cubicBezTo>
                <a:cubicBezTo>
                  <a:pt x="3598069" y="873029"/>
                  <a:pt x="3591064" y="879593"/>
                  <a:pt x="3583280" y="879593"/>
                </a:cubicBezTo>
                <a:cubicBezTo>
                  <a:pt x="3574718" y="879593"/>
                  <a:pt x="3568491" y="873029"/>
                  <a:pt x="3568491" y="867195"/>
                </a:cubicBezTo>
                <a:cubicBezTo>
                  <a:pt x="3568491" y="859173"/>
                  <a:pt x="3574718" y="853339"/>
                  <a:pt x="3583280" y="853339"/>
                </a:cubicBezTo>
                <a:close/>
                <a:moveTo>
                  <a:pt x="3512449" y="853339"/>
                </a:moveTo>
                <a:cubicBezTo>
                  <a:pt x="3520232" y="853339"/>
                  <a:pt x="3527237" y="859173"/>
                  <a:pt x="3527237" y="867195"/>
                </a:cubicBezTo>
                <a:cubicBezTo>
                  <a:pt x="3527237" y="873029"/>
                  <a:pt x="3520232" y="879593"/>
                  <a:pt x="3512449" y="879593"/>
                </a:cubicBezTo>
                <a:cubicBezTo>
                  <a:pt x="3503887" y="879593"/>
                  <a:pt x="3497661" y="873029"/>
                  <a:pt x="3497661" y="867195"/>
                </a:cubicBezTo>
                <a:cubicBezTo>
                  <a:pt x="3497661" y="859173"/>
                  <a:pt x="3503887" y="853339"/>
                  <a:pt x="3512449" y="853339"/>
                </a:cubicBezTo>
                <a:close/>
                <a:moveTo>
                  <a:pt x="3441619" y="853339"/>
                </a:moveTo>
                <a:cubicBezTo>
                  <a:pt x="3450181" y="853339"/>
                  <a:pt x="3456408" y="859173"/>
                  <a:pt x="3456408" y="867195"/>
                </a:cubicBezTo>
                <a:cubicBezTo>
                  <a:pt x="3456408" y="873029"/>
                  <a:pt x="3450181" y="879593"/>
                  <a:pt x="3441619" y="879593"/>
                </a:cubicBezTo>
                <a:cubicBezTo>
                  <a:pt x="3433835" y="879593"/>
                  <a:pt x="3426830" y="873029"/>
                  <a:pt x="3426830" y="867195"/>
                </a:cubicBezTo>
                <a:cubicBezTo>
                  <a:pt x="3426830" y="859173"/>
                  <a:pt x="3433835" y="853339"/>
                  <a:pt x="3441619" y="853339"/>
                </a:cubicBezTo>
                <a:close/>
                <a:moveTo>
                  <a:pt x="3369857" y="853339"/>
                </a:moveTo>
                <a:cubicBezTo>
                  <a:pt x="3377879" y="853339"/>
                  <a:pt x="3382254" y="859173"/>
                  <a:pt x="3382254" y="867195"/>
                </a:cubicBezTo>
                <a:cubicBezTo>
                  <a:pt x="3382254" y="873029"/>
                  <a:pt x="3377879" y="879593"/>
                  <a:pt x="3369857" y="879593"/>
                </a:cubicBezTo>
                <a:cubicBezTo>
                  <a:pt x="3362564" y="879593"/>
                  <a:pt x="3356001" y="873029"/>
                  <a:pt x="3356001" y="867195"/>
                </a:cubicBezTo>
                <a:cubicBezTo>
                  <a:pt x="3356001" y="859173"/>
                  <a:pt x="3362564" y="853339"/>
                  <a:pt x="3369857" y="853339"/>
                </a:cubicBezTo>
                <a:close/>
                <a:moveTo>
                  <a:pt x="1013589" y="853339"/>
                </a:moveTo>
                <a:cubicBezTo>
                  <a:pt x="1021181" y="853339"/>
                  <a:pt x="1028011" y="859566"/>
                  <a:pt x="1028011" y="868127"/>
                </a:cubicBezTo>
                <a:cubicBezTo>
                  <a:pt x="1028011" y="875911"/>
                  <a:pt x="1021181" y="882916"/>
                  <a:pt x="1013589" y="882916"/>
                </a:cubicBezTo>
                <a:cubicBezTo>
                  <a:pt x="1005243" y="882916"/>
                  <a:pt x="998413" y="875911"/>
                  <a:pt x="998413" y="868127"/>
                </a:cubicBezTo>
                <a:cubicBezTo>
                  <a:pt x="998413" y="859566"/>
                  <a:pt x="1005243" y="853339"/>
                  <a:pt x="1013589" y="853339"/>
                </a:cubicBezTo>
                <a:close/>
                <a:moveTo>
                  <a:pt x="368059" y="785881"/>
                </a:moveTo>
                <a:cubicBezTo>
                  <a:pt x="376081" y="785881"/>
                  <a:pt x="380456" y="790256"/>
                  <a:pt x="380456" y="797549"/>
                </a:cubicBezTo>
                <a:cubicBezTo>
                  <a:pt x="380456" y="805571"/>
                  <a:pt x="376081" y="812135"/>
                  <a:pt x="368059" y="812135"/>
                </a:cubicBezTo>
                <a:cubicBezTo>
                  <a:pt x="360766" y="812135"/>
                  <a:pt x="354203" y="805571"/>
                  <a:pt x="354203" y="797549"/>
                </a:cubicBezTo>
                <a:cubicBezTo>
                  <a:pt x="354203" y="790256"/>
                  <a:pt x="360766" y="785881"/>
                  <a:pt x="368059" y="785881"/>
                </a:cubicBezTo>
                <a:close/>
                <a:moveTo>
                  <a:pt x="297226" y="785881"/>
                </a:moveTo>
                <a:cubicBezTo>
                  <a:pt x="303791" y="785881"/>
                  <a:pt x="309624" y="790256"/>
                  <a:pt x="309624" y="797549"/>
                </a:cubicBezTo>
                <a:cubicBezTo>
                  <a:pt x="309624" y="805571"/>
                  <a:pt x="303791" y="812135"/>
                  <a:pt x="297226" y="812135"/>
                </a:cubicBezTo>
                <a:cubicBezTo>
                  <a:pt x="289933" y="812135"/>
                  <a:pt x="283371" y="805571"/>
                  <a:pt x="283371" y="797549"/>
                </a:cubicBezTo>
                <a:cubicBezTo>
                  <a:pt x="283371" y="790256"/>
                  <a:pt x="289933" y="785881"/>
                  <a:pt x="297226" y="785881"/>
                </a:cubicBezTo>
                <a:close/>
                <a:moveTo>
                  <a:pt x="226398" y="785881"/>
                </a:moveTo>
                <a:cubicBezTo>
                  <a:pt x="232233" y="785881"/>
                  <a:pt x="238797" y="790256"/>
                  <a:pt x="238797" y="797549"/>
                </a:cubicBezTo>
                <a:cubicBezTo>
                  <a:pt x="238797" y="805571"/>
                  <a:pt x="232233" y="812135"/>
                  <a:pt x="226398" y="812135"/>
                </a:cubicBezTo>
                <a:cubicBezTo>
                  <a:pt x="218375" y="812135"/>
                  <a:pt x="212542" y="805571"/>
                  <a:pt x="212542" y="797549"/>
                </a:cubicBezTo>
                <a:cubicBezTo>
                  <a:pt x="212542" y="790256"/>
                  <a:pt x="218375" y="785881"/>
                  <a:pt x="226398" y="785881"/>
                </a:cubicBezTo>
                <a:close/>
                <a:moveTo>
                  <a:pt x="154101" y="785881"/>
                </a:moveTo>
                <a:cubicBezTo>
                  <a:pt x="161394" y="785881"/>
                  <a:pt x="167957" y="790256"/>
                  <a:pt x="167957" y="797549"/>
                </a:cubicBezTo>
                <a:cubicBezTo>
                  <a:pt x="167957" y="805571"/>
                  <a:pt x="161394" y="812135"/>
                  <a:pt x="154101" y="812135"/>
                </a:cubicBezTo>
                <a:cubicBezTo>
                  <a:pt x="147538" y="812135"/>
                  <a:pt x="141704" y="805571"/>
                  <a:pt x="141704" y="797549"/>
                </a:cubicBezTo>
                <a:cubicBezTo>
                  <a:pt x="141704" y="790256"/>
                  <a:pt x="147538" y="785881"/>
                  <a:pt x="154101" y="785881"/>
                </a:cubicBezTo>
                <a:close/>
                <a:moveTo>
                  <a:pt x="83272" y="785881"/>
                </a:moveTo>
                <a:cubicBezTo>
                  <a:pt x="90564" y="785881"/>
                  <a:pt x="97128" y="790256"/>
                  <a:pt x="97128" y="797549"/>
                </a:cubicBezTo>
                <a:cubicBezTo>
                  <a:pt x="97128" y="805571"/>
                  <a:pt x="90564" y="812135"/>
                  <a:pt x="83272" y="812135"/>
                </a:cubicBezTo>
                <a:cubicBezTo>
                  <a:pt x="76708" y="812135"/>
                  <a:pt x="70874" y="805571"/>
                  <a:pt x="70874" y="797549"/>
                </a:cubicBezTo>
                <a:cubicBezTo>
                  <a:pt x="70874" y="790256"/>
                  <a:pt x="76708" y="785881"/>
                  <a:pt x="83272" y="785881"/>
                </a:cubicBezTo>
                <a:close/>
                <a:moveTo>
                  <a:pt x="12036" y="785881"/>
                </a:moveTo>
                <a:cubicBezTo>
                  <a:pt x="20281" y="785881"/>
                  <a:pt x="26277" y="790256"/>
                  <a:pt x="26277" y="797549"/>
                </a:cubicBezTo>
                <a:cubicBezTo>
                  <a:pt x="26277" y="805571"/>
                  <a:pt x="20281" y="812135"/>
                  <a:pt x="12036" y="812135"/>
                </a:cubicBezTo>
                <a:cubicBezTo>
                  <a:pt x="4541" y="812135"/>
                  <a:pt x="44" y="805571"/>
                  <a:pt x="44" y="797549"/>
                </a:cubicBezTo>
                <a:cubicBezTo>
                  <a:pt x="44" y="790256"/>
                  <a:pt x="4541" y="785881"/>
                  <a:pt x="12036" y="785881"/>
                </a:cubicBezTo>
                <a:close/>
                <a:moveTo>
                  <a:pt x="4726684" y="782507"/>
                </a:moveTo>
                <a:cubicBezTo>
                  <a:pt x="4735246" y="782507"/>
                  <a:pt x="4741472" y="789070"/>
                  <a:pt x="4741472" y="794904"/>
                </a:cubicBezTo>
                <a:cubicBezTo>
                  <a:pt x="4741472" y="802926"/>
                  <a:pt x="4735246" y="808761"/>
                  <a:pt x="4726684" y="808761"/>
                </a:cubicBezTo>
                <a:cubicBezTo>
                  <a:pt x="4718122" y="808761"/>
                  <a:pt x="4711896" y="802926"/>
                  <a:pt x="4711896" y="794904"/>
                </a:cubicBezTo>
                <a:cubicBezTo>
                  <a:pt x="4711896" y="789070"/>
                  <a:pt x="4718122" y="782507"/>
                  <a:pt x="4726684" y="782507"/>
                </a:cubicBezTo>
                <a:close/>
                <a:moveTo>
                  <a:pt x="4655853" y="782507"/>
                </a:moveTo>
                <a:cubicBezTo>
                  <a:pt x="4663637" y="782507"/>
                  <a:pt x="4670642" y="789070"/>
                  <a:pt x="4670642" y="794904"/>
                </a:cubicBezTo>
                <a:cubicBezTo>
                  <a:pt x="4670642" y="802926"/>
                  <a:pt x="4663637" y="808761"/>
                  <a:pt x="4655853" y="808761"/>
                </a:cubicBezTo>
                <a:cubicBezTo>
                  <a:pt x="4647291" y="808761"/>
                  <a:pt x="4641064" y="802926"/>
                  <a:pt x="4641064" y="794904"/>
                </a:cubicBezTo>
                <a:cubicBezTo>
                  <a:pt x="4641064" y="789070"/>
                  <a:pt x="4647291" y="782507"/>
                  <a:pt x="4655853" y="782507"/>
                </a:cubicBezTo>
                <a:close/>
                <a:moveTo>
                  <a:pt x="4584091" y="782507"/>
                </a:moveTo>
                <a:cubicBezTo>
                  <a:pt x="4591384" y="782507"/>
                  <a:pt x="4596488" y="789070"/>
                  <a:pt x="4596488" y="794904"/>
                </a:cubicBezTo>
                <a:cubicBezTo>
                  <a:pt x="4596488" y="802926"/>
                  <a:pt x="4591384" y="808761"/>
                  <a:pt x="4584091" y="808761"/>
                </a:cubicBezTo>
                <a:cubicBezTo>
                  <a:pt x="4576069" y="808761"/>
                  <a:pt x="4570235" y="802926"/>
                  <a:pt x="4570235" y="794904"/>
                </a:cubicBezTo>
                <a:cubicBezTo>
                  <a:pt x="4570235" y="789070"/>
                  <a:pt x="4576069" y="782507"/>
                  <a:pt x="4584091" y="782507"/>
                </a:cubicBezTo>
                <a:close/>
                <a:moveTo>
                  <a:pt x="4513260" y="782507"/>
                </a:moveTo>
                <a:cubicBezTo>
                  <a:pt x="4519094" y="782507"/>
                  <a:pt x="4525657" y="789070"/>
                  <a:pt x="4525657" y="794904"/>
                </a:cubicBezTo>
                <a:cubicBezTo>
                  <a:pt x="4525657" y="802926"/>
                  <a:pt x="4519094" y="808761"/>
                  <a:pt x="4513260" y="808761"/>
                </a:cubicBezTo>
                <a:cubicBezTo>
                  <a:pt x="4505238" y="808761"/>
                  <a:pt x="4499404" y="802926"/>
                  <a:pt x="4499404" y="794904"/>
                </a:cubicBezTo>
                <a:cubicBezTo>
                  <a:pt x="4499404" y="789070"/>
                  <a:pt x="4505238" y="782507"/>
                  <a:pt x="4513260" y="782507"/>
                </a:cubicBezTo>
                <a:close/>
                <a:moveTo>
                  <a:pt x="4439056" y="782507"/>
                </a:moveTo>
                <a:cubicBezTo>
                  <a:pt x="4445619" y="782507"/>
                  <a:pt x="4451453" y="789070"/>
                  <a:pt x="4451453" y="794904"/>
                </a:cubicBezTo>
                <a:cubicBezTo>
                  <a:pt x="4451453" y="802926"/>
                  <a:pt x="4445619" y="808761"/>
                  <a:pt x="4439056" y="808761"/>
                </a:cubicBezTo>
                <a:cubicBezTo>
                  <a:pt x="4431763" y="808761"/>
                  <a:pt x="4425200" y="802926"/>
                  <a:pt x="4425200" y="794904"/>
                </a:cubicBezTo>
                <a:cubicBezTo>
                  <a:pt x="4425200" y="789070"/>
                  <a:pt x="4431763" y="782507"/>
                  <a:pt x="4439056" y="782507"/>
                </a:cubicBezTo>
                <a:close/>
                <a:moveTo>
                  <a:pt x="4366768" y="782507"/>
                </a:moveTo>
                <a:cubicBezTo>
                  <a:pt x="4374790" y="782507"/>
                  <a:pt x="4380624" y="789070"/>
                  <a:pt x="4380624" y="794904"/>
                </a:cubicBezTo>
                <a:cubicBezTo>
                  <a:pt x="4380624" y="802926"/>
                  <a:pt x="4374790" y="808761"/>
                  <a:pt x="4366768" y="808761"/>
                </a:cubicBezTo>
                <a:cubicBezTo>
                  <a:pt x="4360934" y="808761"/>
                  <a:pt x="4354371" y="802926"/>
                  <a:pt x="4354371" y="794904"/>
                </a:cubicBezTo>
                <a:cubicBezTo>
                  <a:pt x="4354371" y="789070"/>
                  <a:pt x="4360934" y="782507"/>
                  <a:pt x="4366768" y="782507"/>
                </a:cubicBezTo>
                <a:close/>
                <a:moveTo>
                  <a:pt x="4295937" y="782507"/>
                </a:moveTo>
                <a:cubicBezTo>
                  <a:pt x="4303959" y="782507"/>
                  <a:pt x="4309793" y="789070"/>
                  <a:pt x="4309793" y="794904"/>
                </a:cubicBezTo>
                <a:cubicBezTo>
                  <a:pt x="4309793" y="802926"/>
                  <a:pt x="4303959" y="808761"/>
                  <a:pt x="4295937" y="808761"/>
                </a:cubicBezTo>
                <a:cubicBezTo>
                  <a:pt x="4290103" y="808761"/>
                  <a:pt x="4283540" y="802926"/>
                  <a:pt x="4283540" y="794904"/>
                </a:cubicBezTo>
                <a:cubicBezTo>
                  <a:pt x="4283540" y="789070"/>
                  <a:pt x="4290103" y="782507"/>
                  <a:pt x="4295937" y="782507"/>
                </a:cubicBezTo>
                <a:close/>
                <a:moveTo>
                  <a:pt x="4225107" y="782507"/>
                </a:moveTo>
                <a:cubicBezTo>
                  <a:pt x="4233129" y="782507"/>
                  <a:pt x="4238963" y="789070"/>
                  <a:pt x="4238963" y="794904"/>
                </a:cubicBezTo>
                <a:cubicBezTo>
                  <a:pt x="4238963" y="802926"/>
                  <a:pt x="4233129" y="808761"/>
                  <a:pt x="4225107" y="808761"/>
                </a:cubicBezTo>
                <a:cubicBezTo>
                  <a:pt x="4217085" y="808761"/>
                  <a:pt x="4212710" y="802926"/>
                  <a:pt x="4212710" y="794904"/>
                </a:cubicBezTo>
                <a:cubicBezTo>
                  <a:pt x="4212710" y="789070"/>
                  <a:pt x="4217085" y="782507"/>
                  <a:pt x="4225107" y="782507"/>
                </a:cubicBezTo>
                <a:close/>
                <a:moveTo>
                  <a:pt x="4153295" y="782507"/>
                </a:moveTo>
                <a:cubicBezTo>
                  <a:pt x="4161078" y="782507"/>
                  <a:pt x="4168083" y="789070"/>
                  <a:pt x="4168083" y="794904"/>
                </a:cubicBezTo>
                <a:cubicBezTo>
                  <a:pt x="4168083" y="802926"/>
                  <a:pt x="4161078" y="808761"/>
                  <a:pt x="4153295" y="808761"/>
                </a:cubicBezTo>
                <a:cubicBezTo>
                  <a:pt x="4144733" y="808761"/>
                  <a:pt x="4138507" y="802926"/>
                  <a:pt x="4138507" y="794904"/>
                </a:cubicBezTo>
                <a:cubicBezTo>
                  <a:pt x="4138507" y="789070"/>
                  <a:pt x="4144733" y="782507"/>
                  <a:pt x="4153295" y="782507"/>
                </a:cubicBezTo>
                <a:close/>
                <a:moveTo>
                  <a:pt x="4082465" y="782507"/>
                </a:moveTo>
                <a:cubicBezTo>
                  <a:pt x="4090249" y="782507"/>
                  <a:pt x="4097254" y="789070"/>
                  <a:pt x="4097254" y="794904"/>
                </a:cubicBezTo>
                <a:cubicBezTo>
                  <a:pt x="4097254" y="802926"/>
                  <a:pt x="4090249" y="808761"/>
                  <a:pt x="4082465" y="808761"/>
                </a:cubicBezTo>
                <a:cubicBezTo>
                  <a:pt x="4073903" y="808761"/>
                  <a:pt x="4067676" y="802926"/>
                  <a:pt x="4067676" y="794904"/>
                </a:cubicBezTo>
                <a:cubicBezTo>
                  <a:pt x="4067676" y="789070"/>
                  <a:pt x="4073903" y="782507"/>
                  <a:pt x="4082465" y="782507"/>
                </a:cubicBezTo>
                <a:close/>
                <a:moveTo>
                  <a:pt x="4010703" y="782507"/>
                </a:moveTo>
                <a:cubicBezTo>
                  <a:pt x="4017996" y="782507"/>
                  <a:pt x="4023100" y="789070"/>
                  <a:pt x="4023100" y="794904"/>
                </a:cubicBezTo>
                <a:cubicBezTo>
                  <a:pt x="4023100" y="802926"/>
                  <a:pt x="4017996" y="808761"/>
                  <a:pt x="4010703" y="808761"/>
                </a:cubicBezTo>
                <a:cubicBezTo>
                  <a:pt x="4002681" y="808761"/>
                  <a:pt x="3996847" y="802926"/>
                  <a:pt x="3996847" y="794904"/>
                </a:cubicBezTo>
                <a:cubicBezTo>
                  <a:pt x="3996847" y="789070"/>
                  <a:pt x="4002681" y="782507"/>
                  <a:pt x="4010703" y="782507"/>
                </a:cubicBezTo>
                <a:close/>
                <a:moveTo>
                  <a:pt x="3939871" y="782507"/>
                </a:moveTo>
                <a:cubicBezTo>
                  <a:pt x="3946434" y="782507"/>
                  <a:pt x="3952268" y="789070"/>
                  <a:pt x="3952268" y="794904"/>
                </a:cubicBezTo>
                <a:cubicBezTo>
                  <a:pt x="3952268" y="802926"/>
                  <a:pt x="3946434" y="808761"/>
                  <a:pt x="3939871" y="808761"/>
                </a:cubicBezTo>
                <a:cubicBezTo>
                  <a:pt x="3932578" y="808761"/>
                  <a:pt x="3926015" y="802926"/>
                  <a:pt x="3926015" y="794904"/>
                </a:cubicBezTo>
                <a:cubicBezTo>
                  <a:pt x="3926015" y="789070"/>
                  <a:pt x="3932578" y="782507"/>
                  <a:pt x="3939871" y="782507"/>
                </a:cubicBezTo>
                <a:close/>
                <a:moveTo>
                  <a:pt x="3869042" y="782507"/>
                </a:moveTo>
                <a:cubicBezTo>
                  <a:pt x="3875605" y="782507"/>
                  <a:pt x="3881439" y="789070"/>
                  <a:pt x="3881439" y="794904"/>
                </a:cubicBezTo>
                <a:cubicBezTo>
                  <a:pt x="3881439" y="802926"/>
                  <a:pt x="3875605" y="808761"/>
                  <a:pt x="3869042" y="808761"/>
                </a:cubicBezTo>
                <a:cubicBezTo>
                  <a:pt x="3861749" y="808761"/>
                  <a:pt x="3855186" y="802926"/>
                  <a:pt x="3855186" y="794904"/>
                </a:cubicBezTo>
                <a:cubicBezTo>
                  <a:pt x="3855186" y="789070"/>
                  <a:pt x="3861749" y="782507"/>
                  <a:pt x="3869042" y="782507"/>
                </a:cubicBezTo>
                <a:close/>
                <a:moveTo>
                  <a:pt x="3796752" y="782507"/>
                </a:moveTo>
                <a:cubicBezTo>
                  <a:pt x="3804774" y="782507"/>
                  <a:pt x="3810608" y="789070"/>
                  <a:pt x="3810608" y="796363"/>
                </a:cubicBezTo>
                <a:cubicBezTo>
                  <a:pt x="3810608" y="802926"/>
                  <a:pt x="3804774" y="808761"/>
                  <a:pt x="3796752" y="808761"/>
                </a:cubicBezTo>
                <a:cubicBezTo>
                  <a:pt x="3790918" y="808761"/>
                  <a:pt x="3784355" y="802926"/>
                  <a:pt x="3784355" y="796363"/>
                </a:cubicBezTo>
                <a:cubicBezTo>
                  <a:pt x="3784355" y="789070"/>
                  <a:pt x="3790918" y="782507"/>
                  <a:pt x="3796752" y="782507"/>
                </a:cubicBezTo>
                <a:close/>
                <a:moveTo>
                  <a:pt x="3725922" y="782507"/>
                </a:moveTo>
                <a:cubicBezTo>
                  <a:pt x="3733944" y="782507"/>
                  <a:pt x="3739778" y="789070"/>
                  <a:pt x="3739778" y="796363"/>
                </a:cubicBezTo>
                <a:cubicBezTo>
                  <a:pt x="3739778" y="802926"/>
                  <a:pt x="3733944" y="808761"/>
                  <a:pt x="3725922" y="808761"/>
                </a:cubicBezTo>
                <a:cubicBezTo>
                  <a:pt x="3719359" y="808761"/>
                  <a:pt x="3713525" y="802926"/>
                  <a:pt x="3713525" y="796363"/>
                </a:cubicBezTo>
                <a:cubicBezTo>
                  <a:pt x="3713525" y="789070"/>
                  <a:pt x="3719359" y="782507"/>
                  <a:pt x="3725922" y="782507"/>
                </a:cubicBezTo>
                <a:close/>
                <a:moveTo>
                  <a:pt x="3655091" y="782507"/>
                </a:moveTo>
                <a:cubicBezTo>
                  <a:pt x="3662384" y="782507"/>
                  <a:pt x="3668947" y="789070"/>
                  <a:pt x="3668947" y="796363"/>
                </a:cubicBezTo>
                <a:cubicBezTo>
                  <a:pt x="3668947" y="802926"/>
                  <a:pt x="3662384" y="808761"/>
                  <a:pt x="3655091" y="808761"/>
                </a:cubicBezTo>
                <a:cubicBezTo>
                  <a:pt x="3647069" y="808761"/>
                  <a:pt x="3642694" y="802926"/>
                  <a:pt x="3642694" y="796363"/>
                </a:cubicBezTo>
                <a:cubicBezTo>
                  <a:pt x="3642694" y="789070"/>
                  <a:pt x="3647069" y="782507"/>
                  <a:pt x="3655091" y="782507"/>
                </a:cubicBezTo>
                <a:close/>
                <a:moveTo>
                  <a:pt x="3583280" y="782507"/>
                </a:moveTo>
                <a:cubicBezTo>
                  <a:pt x="3591064" y="782507"/>
                  <a:pt x="3598069" y="789070"/>
                  <a:pt x="3598069" y="796363"/>
                </a:cubicBezTo>
                <a:cubicBezTo>
                  <a:pt x="3598069" y="802926"/>
                  <a:pt x="3591064" y="808761"/>
                  <a:pt x="3583280" y="808761"/>
                </a:cubicBezTo>
                <a:cubicBezTo>
                  <a:pt x="3574718" y="808761"/>
                  <a:pt x="3568491" y="802926"/>
                  <a:pt x="3568491" y="796363"/>
                </a:cubicBezTo>
                <a:cubicBezTo>
                  <a:pt x="3568491" y="789070"/>
                  <a:pt x="3574718" y="782507"/>
                  <a:pt x="3583280" y="782507"/>
                </a:cubicBezTo>
                <a:close/>
                <a:moveTo>
                  <a:pt x="3512449" y="782507"/>
                </a:moveTo>
                <a:cubicBezTo>
                  <a:pt x="3520232" y="782507"/>
                  <a:pt x="3527237" y="789070"/>
                  <a:pt x="3527237" y="796363"/>
                </a:cubicBezTo>
                <a:cubicBezTo>
                  <a:pt x="3527237" y="802926"/>
                  <a:pt x="3520232" y="808761"/>
                  <a:pt x="3512449" y="808761"/>
                </a:cubicBezTo>
                <a:cubicBezTo>
                  <a:pt x="3503887" y="808761"/>
                  <a:pt x="3497661" y="802926"/>
                  <a:pt x="3497661" y="796363"/>
                </a:cubicBezTo>
                <a:cubicBezTo>
                  <a:pt x="3497661" y="789070"/>
                  <a:pt x="3503887" y="782507"/>
                  <a:pt x="3512449" y="782507"/>
                </a:cubicBezTo>
                <a:close/>
                <a:moveTo>
                  <a:pt x="3441619" y="782507"/>
                </a:moveTo>
                <a:cubicBezTo>
                  <a:pt x="3450181" y="782507"/>
                  <a:pt x="3456408" y="789070"/>
                  <a:pt x="3456408" y="796363"/>
                </a:cubicBezTo>
                <a:cubicBezTo>
                  <a:pt x="3456408" y="802926"/>
                  <a:pt x="3450181" y="808761"/>
                  <a:pt x="3441619" y="808761"/>
                </a:cubicBezTo>
                <a:cubicBezTo>
                  <a:pt x="3433835" y="808761"/>
                  <a:pt x="3426830" y="802926"/>
                  <a:pt x="3426830" y="796363"/>
                </a:cubicBezTo>
                <a:cubicBezTo>
                  <a:pt x="3426830" y="789070"/>
                  <a:pt x="3433835" y="782507"/>
                  <a:pt x="3441619" y="782507"/>
                </a:cubicBezTo>
                <a:close/>
                <a:moveTo>
                  <a:pt x="3369857" y="782507"/>
                </a:moveTo>
                <a:cubicBezTo>
                  <a:pt x="3377879" y="782507"/>
                  <a:pt x="3382254" y="789070"/>
                  <a:pt x="3382254" y="796363"/>
                </a:cubicBezTo>
                <a:cubicBezTo>
                  <a:pt x="3382254" y="802926"/>
                  <a:pt x="3377879" y="808761"/>
                  <a:pt x="3369857" y="808761"/>
                </a:cubicBezTo>
                <a:cubicBezTo>
                  <a:pt x="3362564" y="808761"/>
                  <a:pt x="3356001" y="802926"/>
                  <a:pt x="3356001" y="796363"/>
                </a:cubicBezTo>
                <a:cubicBezTo>
                  <a:pt x="3356001" y="789070"/>
                  <a:pt x="3362564" y="782507"/>
                  <a:pt x="3369857" y="782507"/>
                </a:cubicBezTo>
                <a:close/>
                <a:moveTo>
                  <a:pt x="3299083" y="782507"/>
                </a:moveTo>
                <a:cubicBezTo>
                  <a:pt x="3305645" y="782507"/>
                  <a:pt x="3311480" y="789070"/>
                  <a:pt x="3311480" y="796363"/>
                </a:cubicBezTo>
                <a:cubicBezTo>
                  <a:pt x="3311480" y="802926"/>
                  <a:pt x="3305645" y="808761"/>
                  <a:pt x="3299083" y="808761"/>
                </a:cubicBezTo>
                <a:cubicBezTo>
                  <a:pt x="3291789" y="808761"/>
                  <a:pt x="3285229" y="802926"/>
                  <a:pt x="3285229" y="796363"/>
                </a:cubicBezTo>
                <a:cubicBezTo>
                  <a:pt x="3285229" y="789070"/>
                  <a:pt x="3291789" y="782507"/>
                  <a:pt x="3299083" y="782507"/>
                </a:cubicBezTo>
                <a:close/>
                <a:moveTo>
                  <a:pt x="3228250" y="782507"/>
                </a:moveTo>
                <a:cubicBezTo>
                  <a:pt x="3234814" y="782507"/>
                  <a:pt x="3240649" y="789070"/>
                  <a:pt x="3240649" y="796363"/>
                </a:cubicBezTo>
                <a:cubicBezTo>
                  <a:pt x="3240649" y="802926"/>
                  <a:pt x="3234814" y="808761"/>
                  <a:pt x="3228250" y="808761"/>
                </a:cubicBezTo>
                <a:cubicBezTo>
                  <a:pt x="3220230" y="808761"/>
                  <a:pt x="3214395" y="802926"/>
                  <a:pt x="3214395" y="796363"/>
                </a:cubicBezTo>
                <a:cubicBezTo>
                  <a:pt x="3214395" y="789070"/>
                  <a:pt x="3220230" y="782507"/>
                  <a:pt x="3228250" y="782507"/>
                </a:cubicBezTo>
                <a:close/>
                <a:moveTo>
                  <a:pt x="3152591" y="782507"/>
                </a:moveTo>
                <a:cubicBezTo>
                  <a:pt x="3159884" y="782507"/>
                  <a:pt x="3166447" y="789070"/>
                  <a:pt x="3166447" y="796363"/>
                </a:cubicBezTo>
                <a:cubicBezTo>
                  <a:pt x="3166447" y="802926"/>
                  <a:pt x="3159884" y="808761"/>
                  <a:pt x="3152591" y="808761"/>
                </a:cubicBezTo>
                <a:cubicBezTo>
                  <a:pt x="3146027" y="808761"/>
                  <a:pt x="3140193" y="802926"/>
                  <a:pt x="3140193" y="796363"/>
                </a:cubicBezTo>
                <a:cubicBezTo>
                  <a:pt x="3140193" y="789070"/>
                  <a:pt x="3146027" y="782507"/>
                  <a:pt x="3152591" y="782507"/>
                </a:cubicBezTo>
                <a:close/>
                <a:moveTo>
                  <a:pt x="1226672" y="782507"/>
                </a:moveTo>
                <a:cubicBezTo>
                  <a:pt x="1233964" y="782507"/>
                  <a:pt x="1240529" y="789337"/>
                  <a:pt x="1240529" y="796926"/>
                </a:cubicBezTo>
                <a:cubicBezTo>
                  <a:pt x="1240529" y="805275"/>
                  <a:pt x="1233964" y="812105"/>
                  <a:pt x="1226672" y="812105"/>
                </a:cubicBezTo>
                <a:cubicBezTo>
                  <a:pt x="1218658" y="812105"/>
                  <a:pt x="1214283" y="805275"/>
                  <a:pt x="1214283" y="796926"/>
                </a:cubicBezTo>
                <a:cubicBezTo>
                  <a:pt x="1214283" y="789337"/>
                  <a:pt x="1218658" y="782507"/>
                  <a:pt x="1226672" y="782507"/>
                </a:cubicBezTo>
                <a:close/>
                <a:moveTo>
                  <a:pt x="1154869" y="782507"/>
                </a:moveTo>
                <a:cubicBezTo>
                  <a:pt x="1162652" y="782507"/>
                  <a:pt x="1169658" y="789337"/>
                  <a:pt x="1169658" y="796926"/>
                </a:cubicBezTo>
                <a:cubicBezTo>
                  <a:pt x="1169658" y="805275"/>
                  <a:pt x="1162652" y="812105"/>
                  <a:pt x="1154869" y="812105"/>
                </a:cubicBezTo>
                <a:cubicBezTo>
                  <a:pt x="1146307" y="812105"/>
                  <a:pt x="1140080" y="805275"/>
                  <a:pt x="1140080" y="796926"/>
                </a:cubicBezTo>
                <a:cubicBezTo>
                  <a:pt x="1140080" y="789337"/>
                  <a:pt x="1146307" y="782507"/>
                  <a:pt x="1154869" y="782507"/>
                </a:cubicBezTo>
                <a:close/>
                <a:moveTo>
                  <a:pt x="1084040" y="782507"/>
                </a:moveTo>
                <a:cubicBezTo>
                  <a:pt x="1091822" y="782507"/>
                  <a:pt x="1098826" y="789337"/>
                  <a:pt x="1098826" y="796926"/>
                </a:cubicBezTo>
                <a:cubicBezTo>
                  <a:pt x="1098826" y="805275"/>
                  <a:pt x="1091822" y="812105"/>
                  <a:pt x="1084040" y="812105"/>
                </a:cubicBezTo>
                <a:cubicBezTo>
                  <a:pt x="1075478" y="812105"/>
                  <a:pt x="1069250" y="805275"/>
                  <a:pt x="1069250" y="796926"/>
                </a:cubicBezTo>
                <a:cubicBezTo>
                  <a:pt x="1069250" y="789337"/>
                  <a:pt x="1075478" y="782507"/>
                  <a:pt x="1084040" y="782507"/>
                </a:cubicBezTo>
                <a:close/>
                <a:moveTo>
                  <a:pt x="1013594" y="782507"/>
                </a:moveTo>
                <a:cubicBezTo>
                  <a:pt x="1021186" y="782507"/>
                  <a:pt x="1028015" y="789337"/>
                  <a:pt x="1028015" y="796926"/>
                </a:cubicBezTo>
                <a:cubicBezTo>
                  <a:pt x="1028015" y="805275"/>
                  <a:pt x="1021186" y="812105"/>
                  <a:pt x="1013594" y="812105"/>
                </a:cubicBezTo>
                <a:cubicBezTo>
                  <a:pt x="1005249" y="812105"/>
                  <a:pt x="998417" y="805275"/>
                  <a:pt x="998417" y="796926"/>
                </a:cubicBezTo>
                <a:cubicBezTo>
                  <a:pt x="998417" y="789337"/>
                  <a:pt x="1005249" y="782507"/>
                  <a:pt x="1013594" y="782507"/>
                </a:cubicBezTo>
                <a:close/>
                <a:moveTo>
                  <a:pt x="941447" y="782507"/>
                </a:moveTo>
                <a:cubicBezTo>
                  <a:pt x="949468" y="782507"/>
                  <a:pt x="953844" y="789337"/>
                  <a:pt x="953844" y="796926"/>
                </a:cubicBezTo>
                <a:cubicBezTo>
                  <a:pt x="953844" y="805275"/>
                  <a:pt x="949468" y="812105"/>
                  <a:pt x="941447" y="812105"/>
                </a:cubicBezTo>
                <a:cubicBezTo>
                  <a:pt x="934155" y="812105"/>
                  <a:pt x="927591" y="805275"/>
                  <a:pt x="927591" y="796926"/>
                </a:cubicBezTo>
                <a:cubicBezTo>
                  <a:pt x="927591" y="789337"/>
                  <a:pt x="934155" y="782507"/>
                  <a:pt x="941447" y="782507"/>
                </a:cubicBezTo>
                <a:close/>
                <a:moveTo>
                  <a:pt x="870615" y="782507"/>
                </a:moveTo>
                <a:cubicBezTo>
                  <a:pt x="877179" y="782507"/>
                  <a:pt x="883013" y="789337"/>
                  <a:pt x="883013" y="796926"/>
                </a:cubicBezTo>
                <a:cubicBezTo>
                  <a:pt x="883013" y="805275"/>
                  <a:pt x="877179" y="812105"/>
                  <a:pt x="870615" y="812105"/>
                </a:cubicBezTo>
                <a:cubicBezTo>
                  <a:pt x="863322" y="812105"/>
                  <a:pt x="856759" y="805275"/>
                  <a:pt x="856759" y="796926"/>
                </a:cubicBezTo>
                <a:cubicBezTo>
                  <a:pt x="856759" y="789337"/>
                  <a:pt x="863322" y="782507"/>
                  <a:pt x="870615" y="782507"/>
                </a:cubicBezTo>
                <a:close/>
                <a:moveTo>
                  <a:pt x="799784" y="782507"/>
                </a:moveTo>
                <a:cubicBezTo>
                  <a:pt x="806349" y="782507"/>
                  <a:pt x="812183" y="789337"/>
                  <a:pt x="812183" y="796926"/>
                </a:cubicBezTo>
                <a:cubicBezTo>
                  <a:pt x="812183" y="805275"/>
                  <a:pt x="806349" y="812105"/>
                  <a:pt x="799784" y="812105"/>
                </a:cubicBezTo>
                <a:cubicBezTo>
                  <a:pt x="792492" y="812105"/>
                  <a:pt x="785929" y="805275"/>
                  <a:pt x="785929" y="796926"/>
                </a:cubicBezTo>
                <a:cubicBezTo>
                  <a:pt x="785929" y="789337"/>
                  <a:pt x="792492" y="782507"/>
                  <a:pt x="799784" y="782507"/>
                </a:cubicBezTo>
                <a:close/>
                <a:moveTo>
                  <a:pt x="724123" y="782507"/>
                </a:moveTo>
                <a:cubicBezTo>
                  <a:pt x="731417" y="782507"/>
                  <a:pt x="737981" y="789337"/>
                  <a:pt x="737981" y="796926"/>
                </a:cubicBezTo>
                <a:cubicBezTo>
                  <a:pt x="737981" y="805275"/>
                  <a:pt x="731417" y="812105"/>
                  <a:pt x="724123" y="812105"/>
                </a:cubicBezTo>
                <a:cubicBezTo>
                  <a:pt x="717559" y="812105"/>
                  <a:pt x="711726" y="805275"/>
                  <a:pt x="711726" y="796926"/>
                </a:cubicBezTo>
                <a:cubicBezTo>
                  <a:pt x="711726" y="789337"/>
                  <a:pt x="717559" y="782507"/>
                  <a:pt x="724123" y="782507"/>
                </a:cubicBezTo>
                <a:close/>
                <a:moveTo>
                  <a:pt x="653293" y="782507"/>
                </a:moveTo>
                <a:cubicBezTo>
                  <a:pt x="660586" y="782507"/>
                  <a:pt x="667149" y="789337"/>
                  <a:pt x="667149" y="796926"/>
                </a:cubicBezTo>
                <a:cubicBezTo>
                  <a:pt x="667149" y="805275"/>
                  <a:pt x="660586" y="812105"/>
                  <a:pt x="653293" y="812105"/>
                </a:cubicBezTo>
                <a:cubicBezTo>
                  <a:pt x="645271" y="812105"/>
                  <a:pt x="640896" y="805275"/>
                  <a:pt x="640896" y="796926"/>
                </a:cubicBezTo>
                <a:cubicBezTo>
                  <a:pt x="640896" y="789337"/>
                  <a:pt x="645271" y="782507"/>
                  <a:pt x="653293" y="782507"/>
                </a:cubicBezTo>
                <a:close/>
                <a:moveTo>
                  <a:pt x="584855" y="782507"/>
                </a:moveTo>
                <a:cubicBezTo>
                  <a:pt x="592639" y="782507"/>
                  <a:pt x="599643" y="789337"/>
                  <a:pt x="599643" y="796926"/>
                </a:cubicBezTo>
                <a:cubicBezTo>
                  <a:pt x="599643" y="805275"/>
                  <a:pt x="592639" y="812105"/>
                  <a:pt x="584855" y="812105"/>
                </a:cubicBezTo>
                <a:cubicBezTo>
                  <a:pt x="576293" y="812105"/>
                  <a:pt x="570066" y="805275"/>
                  <a:pt x="570066" y="796926"/>
                </a:cubicBezTo>
                <a:cubicBezTo>
                  <a:pt x="570066" y="789337"/>
                  <a:pt x="576293" y="782507"/>
                  <a:pt x="584855" y="782507"/>
                </a:cubicBezTo>
                <a:close/>
                <a:moveTo>
                  <a:pt x="513654" y="782507"/>
                </a:moveTo>
                <a:cubicBezTo>
                  <a:pt x="522003" y="782507"/>
                  <a:pt x="528831" y="789337"/>
                  <a:pt x="528831" y="796926"/>
                </a:cubicBezTo>
                <a:cubicBezTo>
                  <a:pt x="528831" y="805275"/>
                  <a:pt x="522003" y="812105"/>
                  <a:pt x="513654" y="812105"/>
                </a:cubicBezTo>
                <a:cubicBezTo>
                  <a:pt x="506065" y="812105"/>
                  <a:pt x="499235" y="805275"/>
                  <a:pt x="499235" y="796926"/>
                </a:cubicBezTo>
                <a:cubicBezTo>
                  <a:pt x="499235" y="789337"/>
                  <a:pt x="506065" y="782507"/>
                  <a:pt x="513654" y="782507"/>
                </a:cubicBezTo>
                <a:close/>
                <a:moveTo>
                  <a:pt x="439821" y="782507"/>
                </a:moveTo>
                <a:cubicBezTo>
                  <a:pt x="448384" y="782507"/>
                  <a:pt x="454611" y="789337"/>
                  <a:pt x="454611" y="796926"/>
                </a:cubicBezTo>
                <a:cubicBezTo>
                  <a:pt x="454611" y="805275"/>
                  <a:pt x="448384" y="812105"/>
                  <a:pt x="439821" y="812105"/>
                </a:cubicBezTo>
                <a:cubicBezTo>
                  <a:pt x="432038" y="812105"/>
                  <a:pt x="425033" y="805275"/>
                  <a:pt x="425033" y="796926"/>
                </a:cubicBezTo>
                <a:cubicBezTo>
                  <a:pt x="425033" y="789337"/>
                  <a:pt x="432038" y="782507"/>
                  <a:pt x="439821" y="782507"/>
                </a:cubicBezTo>
                <a:close/>
                <a:moveTo>
                  <a:pt x="4439056" y="711678"/>
                </a:moveTo>
                <a:cubicBezTo>
                  <a:pt x="4445619" y="711678"/>
                  <a:pt x="4451453" y="716783"/>
                  <a:pt x="4451453" y="724075"/>
                </a:cubicBezTo>
                <a:cubicBezTo>
                  <a:pt x="4451453" y="732097"/>
                  <a:pt x="4445619" y="737932"/>
                  <a:pt x="4439056" y="737932"/>
                </a:cubicBezTo>
                <a:cubicBezTo>
                  <a:pt x="4431763" y="737932"/>
                  <a:pt x="4425200" y="732097"/>
                  <a:pt x="4425200" y="724075"/>
                </a:cubicBezTo>
                <a:cubicBezTo>
                  <a:pt x="4425200" y="716783"/>
                  <a:pt x="4431763" y="711678"/>
                  <a:pt x="4439056" y="711678"/>
                </a:cubicBezTo>
                <a:close/>
                <a:moveTo>
                  <a:pt x="4366768" y="711678"/>
                </a:moveTo>
                <a:cubicBezTo>
                  <a:pt x="4374790" y="711678"/>
                  <a:pt x="4380624" y="716783"/>
                  <a:pt x="4380624" y="724075"/>
                </a:cubicBezTo>
                <a:cubicBezTo>
                  <a:pt x="4380624" y="732097"/>
                  <a:pt x="4374790" y="737932"/>
                  <a:pt x="4366768" y="737932"/>
                </a:cubicBezTo>
                <a:cubicBezTo>
                  <a:pt x="4360934" y="737932"/>
                  <a:pt x="4354371" y="732097"/>
                  <a:pt x="4354371" y="724075"/>
                </a:cubicBezTo>
                <a:cubicBezTo>
                  <a:pt x="4354371" y="716783"/>
                  <a:pt x="4360934" y="711678"/>
                  <a:pt x="4366768" y="711678"/>
                </a:cubicBezTo>
                <a:close/>
                <a:moveTo>
                  <a:pt x="4295937" y="711678"/>
                </a:moveTo>
                <a:cubicBezTo>
                  <a:pt x="4303959" y="711678"/>
                  <a:pt x="4309793" y="716783"/>
                  <a:pt x="4309793" y="724075"/>
                </a:cubicBezTo>
                <a:cubicBezTo>
                  <a:pt x="4309793" y="732097"/>
                  <a:pt x="4303959" y="737932"/>
                  <a:pt x="4295937" y="737932"/>
                </a:cubicBezTo>
                <a:cubicBezTo>
                  <a:pt x="4290103" y="737932"/>
                  <a:pt x="4283540" y="732097"/>
                  <a:pt x="4283540" y="724075"/>
                </a:cubicBezTo>
                <a:cubicBezTo>
                  <a:pt x="4283540" y="716783"/>
                  <a:pt x="4290103" y="711678"/>
                  <a:pt x="4295937" y="711678"/>
                </a:cubicBezTo>
                <a:close/>
                <a:moveTo>
                  <a:pt x="4225107" y="711678"/>
                </a:moveTo>
                <a:cubicBezTo>
                  <a:pt x="4233129" y="711678"/>
                  <a:pt x="4238963" y="718241"/>
                  <a:pt x="4238963" y="724075"/>
                </a:cubicBezTo>
                <a:cubicBezTo>
                  <a:pt x="4238963" y="732097"/>
                  <a:pt x="4233129" y="737932"/>
                  <a:pt x="4225107" y="737932"/>
                </a:cubicBezTo>
                <a:cubicBezTo>
                  <a:pt x="4217085" y="737932"/>
                  <a:pt x="4212710" y="732097"/>
                  <a:pt x="4212710" y="724075"/>
                </a:cubicBezTo>
                <a:cubicBezTo>
                  <a:pt x="4212710" y="718241"/>
                  <a:pt x="4217085" y="711678"/>
                  <a:pt x="4225107" y="711678"/>
                </a:cubicBezTo>
                <a:close/>
                <a:moveTo>
                  <a:pt x="4153295" y="711678"/>
                </a:moveTo>
                <a:cubicBezTo>
                  <a:pt x="4161078" y="711678"/>
                  <a:pt x="4168083" y="718241"/>
                  <a:pt x="4168083" y="724075"/>
                </a:cubicBezTo>
                <a:cubicBezTo>
                  <a:pt x="4168083" y="732097"/>
                  <a:pt x="4161078" y="737932"/>
                  <a:pt x="4153295" y="737932"/>
                </a:cubicBezTo>
                <a:cubicBezTo>
                  <a:pt x="4144733" y="737932"/>
                  <a:pt x="4138507" y="732097"/>
                  <a:pt x="4138507" y="724075"/>
                </a:cubicBezTo>
                <a:cubicBezTo>
                  <a:pt x="4138507" y="718241"/>
                  <a:pt x="4144733" y="711678"/>
                  <a:pt x="4153295" y="711678"/>
                </a:cubicBezTo>
                <a:close/>
                <a:moveTo>
                  <a:pt x="4082465" y="711678"/>
                </a:moveTo>
                <a:cubicBezTo>
                  <a:pt x="4090249" y="711678"/>
                  <a:pt x="4097254" y="718241"/>
                  <a:pt x="4097254" y="724075"/>
                </a:cubicBezTo>
                <a:cubicBezTo>
                  <a:pt x="4097254" y="732097"/>
                  <a:pt x="4090249" y="737932"/>
                  <a:pt x="4082465" y="737932"/>
                </a:cubicBezTo>
                <a:cubicBezTo>
                  <a:pt x="4073903" y="737932"/>
                  <a:pt x="4067676" y="732097"/>
                  <a:pt x="4067676" y="724075"/>
                </a:cubicBezTo>
                <a:cubicBezTo>
                  <a:pt x="4067676" y="718241"/>
                  <a:pt x="4073903" y="711678"/>
                  <a:pt x="4082465" y="711678"/>
                </a:cubicBezTo>
                <a:close/>
                <a:moveTo>
                  <a:pt x="4010703" y="711678"/>
                </a:moveTo>
                <a:cubicBezTo>
                  <a:pt x="4017996" y="711678"/>
                  <a:pt x="4023100" y="718241"/>
                  <a:pt x="4023100" y="724075"/>
                </a:cubicBezTo>
                <a:cubicBezTo>
                  <a:pt x="4023100" y="732097"/>
                  <a:pt x="4017996" y="737932"/>
                  <a:pt x="4010703" y="737932"/>
                </a:cubicBezTo>
                <a:cubicBezTo>
                  <a:pt x="4002681" y="737932"/>
                  <a:pt x="3996847" y="732097"/>
                  <a:pt x="3996847" y="724075"/>
                </a:cubicBezTo>
                <a:cubicBezTo>
                  <a:pt x="3996847" y="718241"/>
                  <a:pt x="4002681" y="711678"/>
                  <a:pt x="4010703" y="711678"/>
                </a:cubicBezTo>
                <a:close/>
                <a:moveTo>
                  <a:pt x="3939871" y="711678"/>
                </a:moveTo>
                <a:cubicBezTo>
                  <a:pt x="3946434" y="711678"/>
                  <a:pt x="3952268" y="718241"/>
                  <a:pt x="3952268" y="724075"/>
                </a:cubicBezTo>
                <a:cubicBezTo>
                  <a:pt x="3952268" y="732097"/>
                  <a:pt x="3946434" y="737932"/>
                  <a:pt x="3939871" y="737932"/>
                </a:cubicBezTo>
                <a:cubicBezTo>
                  <a:pt x="3932578" y="737932"/>
                  <a:pt x="3926015" y="732097"/>
                  <a:pt x="3926015" y="724075"/>
                </a:cubicBezTo>
                <a:cubicBezTo>
                  <a:pt x="3926015" y="718241"/>
                  <a:pt x="3932578" y="711678"/>
                  <a:pt x="3939871" y="711678"/>
                </a:cubicBezTo>
                <a:close/>
                <a:moveTo>
                  <a:pt x="3869042" y="711678"/>
                </a:moveTo>
                <a:cubicBezTo>
                  <a:pt x="3875605" y="711678"/>
                  <a:pt x="3881439" y="718241"/>
                  <a:pt x="3881439" y="724075"/>
                </a:cubicBezTo>
                <a:cubicBezTo>
                  <a:pt x="3881439" y="732097"/>
                  <a:pt x="3875605" y="737932"/>
                  <a:pt x="3869042" y="737932"/>
                </a:cubicBezTo>
                <a:cubicBezTo>
                  <a:pt x="3861749" y="737932"/>
                  <a:pt x="3855186" y="732097"/>
                  <a:pt x="3855186" y="724075"/>
                </a:cubicBezTo>
                <a:cubicBezTo>
                  <a:pt x="3855186" y="718241"/>
                  <a:pt x="3861749" y="711678"/>
                  <a:pt x="3869042" y="711678"/>
                </a:cubicBezTo>
                <a:close/>
                <a:moveTo>
                  <a:pt x="3796752" y="711678"/>
                </a:moveTo>
                <a:cubicBezTo>
                  <a:pt x="3804774" y="711678"/>
                  <a:pt x="3810608" y="718241"/>
                  <a:pt x="3810608" y="724075"/>
                </a:cubicBezTo>
                <a:cubicBezTo>
                  <a:pt x="3810608" y="732097"/>
                  <a:pt x="3804774" y="737932"/>
                  <a:pt x="3796752" y="737932"/>
                </a:cubicBezTo>
                <a:cubicBezTo>
                  <a:pt x="3790918" y="737932"/>
                  <a:pt x="3784355" y="732097"/>
                  <a:pt x="3784355" y="724075"/>
                </a:cubicBezTo>
                <a:cubicBezTo>
                  <a:pt x="3784355" y="718241"/>
                  <a:pt x="3790918" y="711678"/>
                  <a:pt x="3796752" y="711678"/>
                </a:cubicBezTo>
                <a:close/>
                <a:moveTo>
                  <a:pt x="3725922" y="711678"/>
                </a:moveTo>
                <a:cubicBezTo>
                  <a:pt x="3733944" y="711678"/>
                  <a:pt x="3739778" y="718241"/>
                  <a:pt x="3739778" y="724075"/>
                </a:cubicBezTo>
                <a:cubicBezTo>
                  <a:pt x="3739778" y="732097"/>
                  <a:pt x="3733944" y="737932"/>
                  <a:pt x="3725922" y="737932"/>
                </a:cubicBezTo>
                <a:cubicBezTo>
                  <a:pt x="3719359" y="737932"/>
                  <a:pt x="3713525" y="732097"/>
                  <a:pt x="3713525" y="724075"/>
                </a:cubicBezTo>
                <a:cubicBezTo>
                  <a:pt x="3713525" y="718241"/>
                  <a:pt x="3719359" y="711678"/>
                  <a:pt x="3725922" y="711678"/>
                </a:cubicBezTo>
                <a:close/>
                <a:moveTo>
                  <a:pt x="3655091" y="711678"/>
                </a:moveTo>
                <a:cubicBezTo>
                  <a:pt x="3662384" y="711678"/>
                  <a:pt x="3668947" y="718241"/>
                  <a:pt x="3668947" y="724075"/>
                </a:cubicBezTo>
                <a:cubicBezTo>
                  <a:pt x="3668947" y="732097"/>
                  <a:pt x="3662384" y="737932"/>
                  <a:pt x="3655091" y="737932"/>
                </a:cubicBezTo>
                <a:cubicBezTo>
                  <a:pt x="3647069" y="737932"/>
                  <a:pt x="3642694" y="732097"/>
                  <a:pt x="3642694" y="724075"/>
                </a:cubicBezTo>
                <a:cubicBezTo>
                  <a:pt x="3642694" y="718241"/>
                  <a:pt x="3647069" y="711678"/>
                  <a:pt x="3655091" y="711678"/>
                </a:cubicBezTo>
                <a:close/>
                <a:moveTo>
                  <a:pt x="3583280" y="711678"/>
                </a:moveTo>
                <a:cubicBezTo>
                  <a:pt x="3591064" y="711678"/>
                  <a:pt x="3598069" y="718241"/>
                  <a:pt x="3598069" y="724075"/>
                </a:cubicBezTo>
                <a:cubicBezTo>
                  <a:pt x="3598069" y="732097"/>
                  <a:pt x="3591064" y="737932"/>
                  <a:pt x="3583280" y="737932"/>
                </a:cubicBezTo>
                <a:cubicBezTo>
                  <a:pt x="3574718" y="737932"/>
                  <a:pt x="3568491" y="732097"/>
                  <a:pt x="3568491" y="724075"/>
                </a:cubicBezTo>
                <a:cubicBezTo>
                  <a:pt x="3568491" y="718241"/>
                  <a:pt x="3574718" y="711678"/>
                  <a:pt x="3583280" y="711678"/>
                </a:cubicBezTo>
                <a:close/>
                <a:moveTo>
                  <a:pt x="3512449" y="711678"/>
                </a:moveTo>
                <a:cubicBezTo>
                  <a:pt x="3520232" y="711678"/>
                  <a:pt x="3527237" y="718241"/>
                  <a:pt x="3527237" y="724075"/>
                </a:cubicBezTo>
                <a:cubicBezTo>
                  <a:pt x="3527237" y="732097"/>
                  <a:pt x="3520232" y="737932"/>
                  <a:pt x="3512449" y="737932"/>
                </a:cubicBezTo>
                <a:cubicBezTo>
                  <a:pt x="3503887" y="737932"/>
                  <a:pt x="3497661" y="732097"/>
                  <a:pt x="3497661" y="724075"/>
                </a:cubicBezTo>
                <a:cubicBezTo>
                  <a:pt x="3497661" y="718241"/>
                  <a:pt x="3503887" y="711678"/>
                  <a:pt x="3512449" y="711678"/>
                </a:cubicBezTo>
                <a:close/>
                <a:moveTo>
                  <a:pt x="3441619" y="711678"/>
                </a:moveTo>
                <a:cubicBezTo>
                  <a:pt x="3450181" y="711678"/>
                  <a:pt x="3456408" y="718241"/>
                  <a:pt x="3456408" y="724075"/>
                </a:cubicBezTo>
                <a:cubicBezTo>
                  <a:pt x="3456408" y="732097"/>
                  <a:pt x="3450181" y="737932"/>
                  <a:pt x="3441619" y="737932"/>
                </a:cubicBezTo>
                <a:cubicBezTo>
                  <a:pt x="3433835" y="737932"/>
                  <a:pt x="3426830" y="732097"/>
                  <a:pt x="3426830" y="724075"/>
                </a:cubicBezTo>
                <a:cubicBezTo>
                  <a:pt x="3426830" y="718241"/>
                  <a:pt x="3433835" y="711678"/>
                  <a:pt x="3441619" y="711678"/>
                </a:cubicBezTo>
                <a:close/>
                <a:moveTo>
                  <a:pt x="3369857" y="711678"/>
                </a:moveTo>
                <a:cubicBezTo>
                  <a:pt x="3377879" y="711678"/>
                  <a:pt x="3382254" y="718241"/>
                  <a:pt x="3382254" y="724075"/>
                </a:cubicBezTo>
                <a:cubicBezTo>
                  <a:pt x="3382254" y="732097"/>
                  <a:pt x="3377879" y="737932"/>
                  <a:pt x="3369857" y="737932"/>
                </a:cubicBezTo>
                <a:cubicBezTo>
                  <a:pt x="3362564" y="737932"/>
                  <a:pt x="3356001" y="732097"/>
                  <a:pt x="3356001" y="724075"/>
                </a:cubicBezTo>
                <a:cubicBezTo>
                  <a:pt x="3356001" y="718241"/>
                  <a:pt x="3362564" y="711678"/>
                  <a:pt x="3369857" y="711678"/>
                </a:cubicBezTo>
                <a:close/>
                <a:moveTo>
                  <a:pt x="3299086" y="711678"/>
                </a:moveTo>
                <a:cubicBezTo>
                  <a:pt x="3305651" y="711678"/>
                  <a:pt x="3311485" y="718241"/>
                  <a:pt x="3311485" y="724075"/>
                </a:cubicBezTo>
                <a:cubicBezTo>
                  <a:pt x="3311485" y="732097"/>
                  <a:pt x="3305651" y="737932"/>
                  <a:pt x="3299086" y="737932"/>
                </a:cubicBezTo>
                <a:cubicBezTo>
                  <a:pt x="3291794" y="737932"/>
                  <a:pt x="3285234" y="732097"/>
                  <a:pt x="3285234" y="724075"/>
                </a:cubicBezTo>
                <a:cubicBezTo>
                  <a:pt x="3285234" y="718241"/>
                  <a:pt x="3291794" y="711678"/>
                  <a:pt x="3299086" y="711678"/>
                </a:cubicBezTo>
                <a:close/>
                <a:moveTo>
                  <a:pt x="3228255" y="711678"/>
                </a:moveTo>
                <a:cubicBezTo>
                  <a:pt x="3234819" y="711678"/>
                  <a:pt x="3240654" y="718241"/>
                  <a:pt x="3240654" y="724075"/>
                </a:cubicBezTo>
                <a:cubicBezTo>
                  <a:pt x="3240654" y="732097"/>
                  <a:pt x="3234819" y="737932"/>
                  <a:pt x="3228255" y="737932"/>
                </a:cubicBezTo>
                <a:cubicBezTo>
                  <a:pt x="3220233" y="737932"/>
                  <a:pt x="3214398" y="732097"/>
                  <a:pt x="3214398" y="724075"/>
                </a:cubicBezTo>
                <a:cubicBezTo>
                  <a:pt x="3214398" y="718241"/>
                  <a:pt x="3220233" y="711678"/>
                  <a:pt x="3228255" y="711678"/>
                </a:cubicBezTo>
                <a:close/>
                <a:moveTo>
                  <a:pt x="3152594" y="711678"/>
                </a:moveTo>
                <a:cubicBezTo>
                  <a:pt x="3159889" y="711678"/>
                  <a:pt x="3166451" y="718241"/>
                  <a:pt x="3166451" y="724075"/>
                </a:cubicBezTo>
                <a:cubicBezTo>
                  <a:pt x="3166451" y="732097"/>
                  <a:pt x="3159889" y="737932"/>
                  <a:pt x="3152594" y="737932"/>
                </a:cubicBezTo>
                <a:cubicBezTo>
                  <a:pt x="3146031" y="737932"/>
                  <a:pt x="3140198" y="732097"/>
                  <a:pt x="3140198" y="725534"/>
                </a:cubicBezTo>
                <a:cubicBezTo>
                  <a:pt x="3140198" y="718241"/>
                  <a:pt x="3146031" y="711678"/>
                  <a:pt x="3152594" y="711678"/>
                </a:cubicBezTo>
                <a:close/>
                <a:moveTo>
                  <a:pt x="3081763" y="711678"/>
                </a:moveTo>
                <a:cubicBezTo>
                  <a:pt x="3089057" y="711678"/>
                  <a:pt x="3095617" y="718241"/>
                  <a:pt x="3095617" y="725534"/>
                </a:cubicBezTo>
                <a:cubicBezTo>
                  <a:pt x="3095617" y="732097"/>
                  <a:pt x="3089057" y="737932"/>
                  <a:pt x="3081763" y="737932"/>
                </a:cubicBezTo>
                <a:cubicBezTo>
                  <a:pt x="3073740" y="737932"/>
                  <a:pt x="3069364" y="732097"/>
                  <a:pt x="3069364" y="725534"/>
                </a:cubicBezTo>
                <a:cubicBezTo>
                  <a:pt x="3069364" y="718241"/>
                  <a:pt x="3073740" y="711678"/>
                  <a:pt x="3081763" y="711678"/>
                </a:cubicBezTo>
                <a:close/>
                <a:moveTo>
                  <a:pt x="3013707" y="711678"/>
                </a:moveTo>
                <a:cubicBezTo>
                  <a:pt x="3021299" y="711678"/>
                  <a:pt x="3028128" y="718241"/>
                  <a:pt x="3028128" y="725534"/>
                </a:cubicBezTo>
                <a:cubicBezTo>
                  <a:pt x="3028128" y="732097"/>
                  <a:pt x="3021299" y="737932"/>
                  <a:pt x="3013707" y="737932"/>
                </a:cubicBezTo>
                <a:cubicBezTo>
                  <a:pt x="3005360" y="737932"/>
                  <a:pt x="2998531" y="732097"/>
                  <a:pt x="2998531" y="725534"/>
                </a:cubicBezTo>
                <a:cubicBezTo>
                  <a:pt x="2998531" y="718241"/>
                  <a:pt x="3005360" y="711678"/>
                  <a:pt x="3013707" y="711678"/>
                </a:cubicBezTo>
                <a:close/>
                <a:moveTo>
                  <a:pt x="2942485" y="711678"/>
                </a:moveTo>
                <a:cubicBezTo>
                  <a:pt x="2951045" y="711678"/>
                  <a:pt x="2957280" y="718241"/>
                  <a:pt x="2957280" y="725534"/>
                </a:cubicBezTo>
                <a:cubicBezTo>
                  <a:pt x="2957280" y="732097"/>
                  <a:pt x="2951045" y="737932"/>
                  <a:pt x="2942485" y="737932"/>
                </a:cubicBezTo>
                <a:cubicBezTo>
                  <a:pt x="2934705" y="737932"/>
                  <a:pt x="2927700" y="732097"/>
                  <a:pt x="2927700" y="725534"/>
                </a:cubicBezTo>
                <a:cubicBezTo>
                  <a:pt x="2927700" y="718241"/>
                  <a:pt x="2934705" y="711678"/>
                  <a:pt x="2942485" y="711678"/>
                </a:cubicBezTo>
                <a:close/>
                <a:moveTo>
                  <a:pt x="1440620" y="711678"/>
                </a:moveTo>
                <a:cubicBezTo>
                  <a:pt x="1447182" y="711678"/>
                  <a:pt x="1453017" y="718683"/>
                  <a:pt x="1453017" y="726466"/>
                </a:cubicBezTo>
                <a:cubicBezTo>
                  <a:pt x="1453017" y="735028"/>
                  <a:pt x="1447182" y="741255"/>
                  <a:pt x="1440620" y="741255"/>
                </a:cubicBezTo>
                <a:cubicBezTo>
                  <a:pt x="1433328" y="741255"/>
                  <a:pt x="1426765" y="735028"/>
                  <a:pt x="1426765" y="726466"/>
                </a:cubicBezTo>
                <a:cubicBezTo>
                  <a:pt x="1426765" y="718683"/>
                  <a:pt x="1433328" y="711678"/>
                  <a:pt x="1440620" y="711678"/>
                </a:cubicBezTo>
                <a:close/>
                <a:moveTo>
                  <a:pt x="1368338" y="711678"/>
                </a:moveTo>
                <a:cubicBezTo>
                  <a:pt x="1376356" y="711678"/>
                  <a:pt x="1382190" y="718683"/>
                  <a:pt x="1382190" y="726466"/>
                </a:cubicBezTo>
                <a:cubicBezTo>
                  <a:pt x="1382190" y="735028"/>
                  <a:pt x="1376356" y="741255"/>
                  <a:pt x="1368338" y="741255"/>
                </a:cubicBezTo>
                <a:cubicBezTo>
                  <a:pt x="1362502" y="741255"/>
                  <a:pt x="1355939" y="735028"/>
                  <a:pt x="1355939" y="726466"/>
                </a:cubicBezTo>
                <a:cubicBezTo>
                  <a:pt x="1355939" y="718683"/>
                  <a:pt x="1362502" y="711678"/>
                  <a:pt x="1368338" y="711678"/>
                </a:cubicBezTo>
                <a:close/>
                <a:moveTo>
                  <a:pt x="1297509" y="711678"/>
                </a:moveTo>
                <a:cubicBezTo>
                  <a:pt x="1305532" y="711678"/>
                  <a:pt x="1311366" y="718683"/>
                  <a:pt x="1311366" y="726466"/>
                </a:cubicBezTo>
                <a:cubicBezTo>
                  <a:pt x="1311366" y="735028"/>
                  <a:pt x="1305532" y="741255"/>
                  <a:pt x="1297509" y="741255"/>
                </a:cubicBezTo>
                <a:cubicBezTo>
                  <a:pt x="1291675" y="741255"/>
                  <a:pt x="1285113" y="735028"/>
                  <a:pt x="1285113" y="726466"/>
                </a:cubicBezTo>
                <a:cubicBezTo>
                  <a:pt x="1285113" y="718683"/>
                  <a:pt x="1291675" y="711678"/>
                  <a:pt x="1297509" y="711678"/>
                </a:cubicBezTo>
                <a:close/>
                <a:moveTo>
                  <a:pt x="1226678" y="711678"/>
                </a:moveTo>
                <a:cubicBezTo>
                  <a:pt x="1233970" y="711678"/>
                  <a:pt x="1240535" y="718683"/>
                  <a:pt x="1240535" y="726466"/>
                </a:cubicBezTo>
                <a:cubicBezTo>
                  <a:pt x="1240535" y="735028"/>
                  <a:pt x="1233970" y="741255"/>
                  <a:pt x="1226678" y="741255"/>
                </a:cubicBezTo>
                <a:cubicBezTo>
                  <a:pt x="1218663" y="741255"/>
                  <a:pt x="1214288" y="735028"/>
                  <a:pt x="1214288" y="726466"/>
                </a:cubicBezTo>
                <a:cubicBezTo>
                  <a:pt x="1214288" y="718683"/>
                  <a:pt x="1218663" y="711678"/>
                  <a:pt x="1226678" y="711678"/>
                </a:cubicBezTo>
                <a:close/>
                <a:moveTo>
                  <a:pt x="1154874" y="711678"/>
                </a:moveTo>
                <a:cubicBezTo>
                  <a:pt x="1162657" y="711678"/>
                  <a:pt x="1169663" y="718683"/>
                  <a:pt x="1169663" y="726466"/>
                </a:cubicBezTo>
                <a:cubicBezTo>
                  <a:pt x="1169663" y="735028"/>
                  <a:pt x="1162657" y="741255"/>
                  <a:pt x="1154874" y="741255"/>
                </a:cubicBezTo>
                <a:cubicBezTo>
                  <a:pt x="1146312" y="741255"/>
                  <a:pt x="1140086" y="735028"/>
                  <a:pt x="1140086" y="726466"/>
                </a:cubicBezTo>
                <a:cubicBezTo>
                  <a:pt x="1140086" y="718683"/>
                  <a:pt x="1146312" y="711678"/>
                  <a:pt x="1154874" y="711678"/>
                </a:cubicBezTo>
                <a:close/>
                <a:moveTo>
                  <a:pt x="1084045" y="711678"/>
                </a:moveTo>
                <a:cubicBezTo>
                  <a:pt x="1091827" y="711678"/>
                  <a:pt x="1098833" y="718683"/>
                  <a:pt x="1098833" y="726466"/>
                </a:cubicBezTo>
                <a:cubicBezTo>
                  <a:pt x="1098833" y="735028"/>
                  <a:pt x="1091827" y="741255"/>
                  <a:pt x="1084045" y="741255"/>
                </a:cubicBezTo>
                <a:cubicBezTo>
                  <a:pt x="1075483" y="741255"/>
                  <a:pt x="1069255" y="735028"/>
                  <a:pt x="1069255" y="726466"/>
                </a:cubicBezTo>
                <a:cubicBezTo>
                  <a:pt x="1069255" y="718683"/>
                  <a:pt x="1075483" y="711678"/>
                  <a:pt x="1084045" y="711678"/>
                </a:cubicBezTo>
                <a:close/>
                <a:moveTo>
                  <a:pt x="1013599" y="711678"/>
                </a:moveTo>
                <a:cubicBezTo>
                  <a:pt x="1021190" y="711678"/>
                  <a:pt x="1028021" y="718683"/>
                  <a:pt x="1028021" y="726466"/>
                </a:cubicBezTo>
                <a:cubicBezTo>
                  <a:pt x="1028021" y="735028"/>
                  <a:pt x="1021190" y="741255"/>
                  <a:pt x="1013599" y="741255"/>
                </a:cubicBezTo>
                <a:cubicBezTo>
                  <a:pt x="1005254" y="741255"/>
                  <a:pt x="998423" y="735028"/>
                  <a:pt x="998423" y="726466"/>
                </a:cubicBezTo>
                <a:cubicBezTo>
                  <a:pt x="998423" y="718683"/>
                  <a:pt x="1005254" y="711678"/>
                  <a:pt x="1013599" y="711678"/>
                </a:cubicBezTo>
                <a:close/>
                <a:moveTo>
                  <a:pt x="941452" y="711678"/>
                </a:moveTo>
                <a:cubicBezTo>
                  <a:pt x="949474" y="711678"/>
                  <a:pt x="953848" y="718683"/>
                  <a:pt x="953848" y="726466"/>
                </a:cubicBezTo>
                <a:cubicBezTo>
                  <a:pt x="953848" y="735028"/>
                  <a:pt x="949474" y="741255"/>
                  <a:pt x="941452" y="741255"/>
                </a:cubicBezTo>
                <a:cubicBezTo>
                  <a:pt x="934159" y="741255"/>
                  <a:pt x="927596" y="735028"/>
                  <a:pt x="927596" y="726466"/>
                </a:cubicBezTo>
                <a:cubicBezTo>
                  <a:pt x="927596" y="718683"/>
                  <a:pt x="934159" y="711678"/>
                  <a:pt x="941452" y="711678"/>
                </a:cubicBezTo>
                <a:close/>
                <a:moveTo>
                  <a:pt x="870620" y="711678"/>
                </a:moveTo>
                <a:cubicBezTo>
                  <a:pt x="877183" y="711678"/>
                  <a:pt x="883018" y="718683"/>
                  <a:pt x="883018" y="726466"/>
                </a:cubicBezTo>
                <a:cubicBezTo>
                  <a:pt x="883018" y="735028"/>
                  <a:pt x="877183" y="741255"/>
                  <a:pt x="870620" y="741255"/>
                </a:cubicBezTo>
                <a:cubicBezTo>
                  <a:pt x="863327" y="741255"/>
                  <a:pt x="856764" y="735028"/>
                  <a:pt x="856764" y="726466"/>
                </a:cubicBezTo>
                <a:cubicBezTo>
                  <a:pt x="856764" y="718683"/>
                  <a:pt x="863327" y="711678"/>
                  <a:pt x="870620" y="711678"/>
                </a:cubicBezTo>
                <a:close/>
                <a:moveTo>
                  <a:pt x="798331" y="711678"/>
                </a:moveTo>
                <a:cubicBezTo>
                  <a:pt x="806354" y="711678"/>
                  <a:pt x="812189" y="718683"/>
                  <a:pt x="812189" y="726466"/>
                </a:cubicBezTo>
                <a:cubicBezTo>
                  <a:pt x="812189" y="735028"/>
                  <a:pt x="806354" y="741255"/>
                  <a:pt x="798331" y="741255"/>
                </a:cubicBezTo>
                <a:cubicBezTo>
                  <a:pt x="792497" y="741255"/>
                  <a:pt x="785934" y="735028"/>
                  <a:pt x="785934" y="726466"/>
                </a:cubicBezTo>
                <a:cubicBezTo>
                  <a:pt x="785934" y="718683"/>
                  <a:pt x="792497" y="711678"/>
                  <a:pt x="798331" y="711678"/>
                </a:cubicBezTo>
                <a:close/>
                <a:moveTo>
                  <a:pt x="724129" y="711678"/>
                </a:moveTo>
                <a:cubicBezTo>
                  <a:pt x="731422" y="711678"/>
                  <a:pt x="737986" y="718683"/>
                  <a:pt x="737986" y="726466"/>
                </a:cubicBezTo>
                <a:cubicBezTo>
                  <a:pt x="737986" y="735028"/>
                  <a:pt x="731422" y="741255"/>
                  <a:pt x="724129" y="741255"/>
                </a:cubicBezTo>
                <a:cubicBezTo>
                  <a:pt x="717565" y="741255"/>
                  <a:pt x="711732" y="735028"/>
                  <a:pt x="711732" y="726466"/>
                </a:cubicBezTo>
                <a:cubicBezTo>
                  <a:pt x="711732" y="718683"/>
                  <a:pt x="717565" y="711678"/>
                  <a:pt x="724129" y="711678"/>
                </a:cubicBezTo>
                <a:close/>
                <a:moveTo>
                  <a:pt x="653298" y="711678"/>
                </a:moveTo>
                <a:cubicBezTo>
                  <a:pt x="660590" y="711678"/>
                  <a:pt x="667154" y="718683"/>
                  <a:pt x="667154" y="726466"/>
                </a:cubicBezTo>
                <a:cubicBezTo>
                  <a:pt x="667154" y="735028"/>
                  <a:pt x="660590" y="741255"/>
                  <a:pt x="653298" y="741255"/>
                </a:cubicBezTo>
                <a:cubicBezTo>
                  <a:pt x="645277" y="741255"/>
                  <a:pt x="640901" y="735028"/>
                  <a:pt x="640901" y="726466"/>
                </a:cubicBezTo>
                <a:cubicBezTo>
                  <a:pt x="640901" y="718683"/>
                  <a:pt x="645277" y="711678"/>
                  <a:pt x="653298" y="711678"/>
                </a:cubicBezTo>
                <a:close/>
                <a:moveTo>
                  <a:pt x="584861" y="711678"/>
                </a:moveTo>
                <a:cubicBezTo>
                  <a:pt x="592644" y="711678"/>
                  <a:pt x="599648" y="718683"/>
                  <a:pt x="599648" y="726466"/>
                </a:cubicBezTo>
                <a:cubicBezTo>
                  <a:pt x="599648" y="735028"/>
                  <a:pt x="592644" y="741255"/>
                  <a:pt x="584861" y="741255"/>
                </a:cubicBezTo>
                <a:cubicBezTo>
                  <a:pt x="576299" y="741255"/>
                  <a:pt x="570071" y="735028"/>
                  <a:pt x="570071" y="726466"/>
                </a:cubicBezTo>
                <a:cubicBezTo>
                  <a:pt x="570071" y="718683"/>
                  <a:pt x="576299" y="711678"/>
                  <a:pt x="584861" y="711678"/>
                </a:cubicBezTo>
                <a:close/>
                <a:moveTo>
                  <a:pt x="513660" y="711678"/>
                </a:moveTo>
                <a:cubicBezTo>
                  <a:pt x="522008" y="711678"/>
                  <a:pt x="528837" y="718683"/>
                  <a:pt x="528837" y="726466"/>
                </a:cubicBezTo>
                <a:cubicBezTo>
                  <a:pt x="528837" y="735028"/>
                  <a:pt x="522008" y="741255"/>
                  <a:pt x="513660" y="741255"/>
                </a:cubicBezTo>
                <a:cubicBezTo>
                  <a:pt x="506071" y="741255"/>
                  <a:pt x="499241" y="735028"/>
                  <a:pt x="499241" y="726466"/>
                </a:cubicBezTo>
                <a:cubicBezTo>
                  <a:pt x="499241" y="718683"/>
                  <a:pt x="506071" y="711678"/>
                  <a:pt x="513660" y="711678"/>
                </a:cubicBezTo>
                <a:close/>
                <a:moveTo>
                  <a:pt x="439826" y="711678"/>
                </a:moveTo>
                <a:cubicBezTo>
                  <a:pt x="448389" y="711678"/>
                  <a:pt x="454616" y="718683"/>
                  <a:pt x="454616" y="726466"/>
                </a:cubicBezTo>
                <a:cubicBezTo>
                  <a:pt x="454616" y="735028"/>
                  <a:pt x="448389" y="741255"/>
                  <a:pt x="439826" y="741255"/>
                </a:cubicBezTo>
                <a:cubicBezTo>
                  <a:pt x="432043" y="741255"/>
                  <a:pt x="425038" y="735028"/>
                  <a:pt x="425038" y="726466"/>
                </a:cubicBezTo>
                <a:cubicBezTo>
                  <a:pt x="425038" y="718683"/>
                  <a:pt x="432043" y="711678"/>
                  <a:pt x="439826" y="711678"/>
                </a:cubicBezTo>
                <a:close/>
                <a:moveTo>
                  <a:pt x="368064" y="711678"/>
                </a:moveTo>
                <a:cubicBezTo>
                  <a:pt x="376085" y="711678"/>
                  <a:pt x="380462" y="718683"/>
                  <a:pt x="380462" y="726466"/>
                </a:cubicBezTo>
                <a:cubicBezTo>
                  <a:pt x="380462" y="735028"/>
                  <a:pt x="376085" y="741255"/>
                  <a:pt x="368064" y="741255"/>
                </a:cubicBezTo>
                <a:cubicBezTo>
                  <a:pt x="360772" y="741255"/>
                  <a:pt x="354207" y="735028"/>
                  <a:pt x="354207" y="726466"/>
                </a:cubicBezTo>
                <a:cubicBezTo>
                  <a:pt x="354207" y="718683"/>
                  <a:pt x="360772" y="711678"/>
                  <a:pt x="368064" y="711678"/>
                </a:cubicBezTo>
                <a:close/>
                <a:moveTo>
                  <a:pt x="297232" y="711678"/>
                </a:moveTo>
                <a:cubicBezTo>
                  <a:pt x="303795" y="711678"/>
                  <a:pt x="309630" y="718683"/>
                  <a:pt x="309630" y="726466"/>
                </a:cubicBezTo>
                <a:cubicBezTo>
                  <a:pt x="309630" y="735028"/>
                  <a:pt x="303795" y="741255"/>
                  <a:pt x="297232" y="741255"/>
                </a:cubicBezTo>
                <a:cubicBezTo>
                  <a:pt x="289939" y="741255"/>
                  <a:pt x="283376" y="735028"/>
                  <a:pt x="283376" y="726466"/>
                </a:cubicBezTo>
                <a:cubicBezTo>
                  <a:pt x="283376" y="718683"/>
                  <a:pt x="289939" y="711678"/>
                  <a:pt x="297232" y="711678"/>
                </a:cubicBezTo>
                <a:close/>
                <a:moveTo>
                  <a:pt x="226403" y="711678"/>
                </a:moveTo>
                <a:cubicBezTo>
                  <a:pt x="232238" y="711678"/>
                  <a:pt x="238801" y="718683"/>
                  <a:pt x="238801" y="726466"/>
                </a:cubicBezTo>
                <a:cubicBezTo>
                  <a:pt x="238801" y="735028"/>
                  <a:pt x="232238" y="741255"/>
                  <a:pt x="226403" y="741255"/>
                </a:cubicBezTo>
                <a:cubicBezTo>
                  <a:pt x="218381" y="741255"/>
                  <a:pt x="212548" y="735028"/>
                  <a:pt x="212548" y="726466"/>
                </a:cubicBezTo>
                <a:cubicBezTo>
                  <a:pt x="212548" y="718683"/>
                  <a:pt x="218381" y="711678"/>
                  <a:pt x="226403" y="711678"/>
                </a:cubicBezTo>
                <a:close/>
                <a:moveTo>
                  <a:pt x="154106" y="711678"/>
                </a:moveTo>
                <a:cubicBezTo>
                  <a:pt x="161398" y="711678"/>
                  <a:pt x="167962" y="718683"/>
                  <a:pt x="167962" y="726466"/>
                </a:cubicBezTo>
                <a:cubicBezTo>
                  <a:pt x="167962" y="735028"/>
                  <a:pt x="161398" y="741255"/>
                  <a:pt x="154106" y="741255"/>
                </a:cubicBezTo>
                <a:cubicBezTo>
                  <a:pt x="147542" y="741255"/>
                  <a:pt x="141708" y="735028"/>
                  <a:pt x="141708" y="726466"/>
                </a:cubicBezTo>
                <a:cubicBezTo>
                  <a:pt x="141708" y="718683"/>
                  <a:pt x="147542" y="711678"/>
                  <a:pt x="154106" y="711678"/>
                </a:cubicBezTo>
                <a:close/>
                <a:moveTo>
                  <a:pt x="4227498" y="640846"/>
                </a:moveTo>
                <a:cubicBezTo>
                  <a:pt x="4236060" y="640846"/>
                  <a:pt x="4242286" y="645221"/>
                  <a:pt x="4242286" y="653243"/>
                </a:cubicBezTo>
                <a:cubicBezTo>
                  <a:pt x="4242286" y="661265"/>
                  <a:pt x="4236060" y="667100"/>
                  <a:pt x="4227498" y="667100"/>
                </a:cubicBezTo>
                <a:cubicBezTo>
                  <a:pt x="4218936" y="667100"/>
                  <a:pt x="4212710" y="661265"/>
                  <a:pt x="4212710" y="653243"/>
                </a:cubicBezTo>
                <a:cubicBezTo>
                  <a:pt x="4212710" y="645221"/>
                  <a:pt x="4218936" y="640846"/>
                  <a:pt x="4227498" y="640846"/>
                </a:cubicBezTo>
                <a:close/>
                <a:moveTo>
                  <a:pt x="4153295" y="640846"/>
                </a:moveTo>
                <a:cubicBezTo>
                  <a:pt x="4161078" y="640846"/>
                  <a:pt x="4168083" y="645221"/>
                  <a:pt x="4168083" y="653243"/>
                </a:cubicBezTo>
                <a:cubicBezTo>
                  <a:pt x="4168083" y="661265"/>
                  <a:pt x="4161078" y="667100"/>
                  <a:pt x="4153295" y="667100"/>
                </a:cubicBezTo>
                <a:cubicBezTo>
                  <a:pt x="4144733" y="667100"/>
                  <a:pt x="4138507" y="661265"/>
                  <a:pt x="4138507" y="653243"/>
                </a:cubicBezTo>
                <a:cubicBezTo>
                  <a:pt x="4138507" y="645221"/>
                  <a:pt x="4144733" y="640846"/>
                  <a:pt x="4153295" y="640846"/>
                </a:cubicBezTo>
                <a:close/>
                <a:moveTo>
                  <a:pt x="4082465" y="640846"/>
                </a:moveTo>
                <a:cubicBezTo>
                  <a:pt x="4090249" y="640846"/>
                  <a:pt x="4097254" y="645221"/>
                  <a:pt x="4097254" y="653243"/>
                </a:cubicBezTo>
                <a:cubicBezTo>
                  <a:pt x="4097254" y="661265"/>
                  <a:pt x="4090249" y="667100"/>
                  <a:pt x="4082465" y="667100"/>
                </a:cubicBezTo>
                <a:cubicBezTo>
                  <a:pt x="4073903" y="667100"/>
                  <a:pt x="4067676" y="661265"/>
                  <a:pt x="4067676" y="653243"/>
                </a:cubicBezTo>
                <a:cubicBezTo>
                  <a:pt x="4067676" y="645221"/>
                  <a:pt x="4073903" y="640846"/>
                  <a:pt x="4082465" y="640846"/>
                </a:cubicBezTo>
                <a:close/>
                <a:moveTo>
                  <a:pt x="4010703" y="640846"/>
                </a:moveTo>
                <a:cubicBezTo>
                  <a:pt x="4017996" y="640846"/>
                  <a:pt x="4023100" y="645221"/>
                  <a:pt x="4023100" y="653243"/>
                </a:cubicBezTo>
                <a:cubicBezTo>
                  <a:pt x="4023100" y="661265"/>
                  <a:pt x="4017996" y="667100"/>
                  <a:pt x="4010703" y="667100"/>
                </a:cubicBezTo>
                <a:cubicBezTo>
                  <a:pt x="4002681" y="667100"/>
                  <a:pt x="3996847" y="661265"/>
                  <a:pt x="3996847" y="653243"/>
                </a:cubicBezTo>
                <a:cubicBezTo>
                  <a:pt x="3996847" y="645221"/>
                  <a:pt x="4002681" y="640846"/>
                  <a:pt x="4010703" y="640846"/>
                </a:cubicBezTo>
                <a:close/>
                <a:moveTo>
                  <a:pt x="3939871" y="640846"/>
                </a:moveTo>
                <a:cubicBezTo>
                  <a:pt x="3946434" y="640846"/>
                  <a:pt x="3952268" y="645221"/>
                  <a:pt x="3952268" y="653243"/>
                </a:cubicBezTo>
                <a:cubicBezTo>
                  <a:pt x="3952268" y="661265"/>
                  <a:pt x="3946434" y="667100"/>
                  <a:pt x="3939871" y="667100"/>
                </a:cubicBezTo>
                <a:cubicBezTo>
                  <a:pt x="3932578" y="667100"/>
                  <a:pt x="3926015" y="661265"/>
                  <a:pt x="3926015" y="653243"/>
                </a:cubicBezTo>
                <a:cubicBezTo>
                  <a:pt x="3926015" y="645221"/>
                  <a:pt x="3932578" y="640846"/>
                  <a:pt x="3939871" y="640846"/>
                </a:cubicBezTo>
                <a:close/>
                <a:moveTo>
                  <a:pt x="3869042" y="640846"/>
                </a:moveTo>
                <a:cubicBezTo>
                  <a:pt x="3875605" y="640846"/>
                  <a:pt x="3881439" y="645221"/>
                  <a:pt x="3881439" y="653243"/>
                </a:cubicBezTo>
                <a:cubicBezTo>
                  <a:pt x="3881439" y="661265"/>
                  <a:pt x="3875605" y="667100"/>
                  <a:pt x="3869042" y="667100"/>
                </a:cubicBezTo>
                <a:cubicBezTo>
                  <a:pt x="3861749" y="667100"/>
                  <a:pt x="3855186" y="661265"/>
                  <a:pt x="3855186" y="653243"/>
                </a:cubicBezTo>
                <a:cubicBezTo>
                  <a:pt x="3855186" y="645221"/>
                  <a:pt x="3861749" y="640846"/>
                  <a:pt x="3869042" y="640846"/>
                </a:cubicBezTo>
                <a:close/>
                <a:moveTo>
                  <a:pt x="3796752" y="640846"/>
                </a:moveTo>
                <a:cubicBezTo>
                  <a:pt x="3804774" y="640846"/>
                  <a:pt x="3810608" y="645221"/>
                  <a:pt x="3810608" y="653243"/>
                </a:cubicBezTo>
                <a:cubicBezTo>
                  <a:pt x="3810608" y="661265"/>
                  <a:pt x="3804774" y="667100"/>
                  <a:pt x="3796752" y="667100"/>
                </a:cubicBezTo>
                <a:cubicBezTo>
                  <a:pt x="3790918" y="667100"/>
                  <a:pt x="3784355" y="661265"/>
                  <a:pt x="3784355" y="653243"/>
                </a:cubicBezTo>
                <a:cubicBezTo>
                  <a:pt x="3784355" y="645221"/>
                  <a:pt x="3790918" y="640846"/>
                  <a:pt x="3796752" y="640846"/>
                </a:cubicBezTo>
                <a:close/>
                <a:moveTo>
                  <a:pt x="3725922" y="640846"/>
                </a:moveTo>
                <a:cubicBezTo>
                  <a:pt x="3733944" y="640846"/>
                  <a:pt x="3739778" y="645221"/>
                  <a:pt x="3739778" y="653243"/>
                </a:cubicBezTo>
                <a:cubicBezTo>
                  <a:pt x="3739778" y="661265"/>
                  <a:pt x="3733944" y="667100"/>
                  <a:pt x="3725922" y="667100"/>
                </a:cubicBezTo>
                <a:cubicBezTo>
                  <a:pt x="3719359" y="667100"/>
                  <a:pt x="3713525" y="661265"/>
                  <a:pt x="3713525" y="653243"/>
                </a:cubicBezTo>
                <a:cubicBezTo>
                  <a:pt x="3713525" y="645221"/>
                  <a:pt x="3719359" y="640846"/>
                  <a:pt x="3725922" y="640846"/>
                </a:cubicBezTo>
                <a:close/>
                <a:moveTo>
                  <a:pt x="3655091" y="640846"/>
                </a:moveTo>
                <a:cubicBezTo>
                  <a:pt x="3662384" y="640846"/>
                  <a:pt x="3668947" y="647409"/>
                  <a:pt x="3668947" y="653243"/>
                </a:cubicBezTo>
                <a:cubicBezTo>
                  <a:pt x="3668947" y="661265"/>
                  <a:pt x="3662384" y="667100"/>
                  <a:pt x="3655091" y="667100"/>
                </a:cubicBezTo>
                <a:cubicBezTo>
                  <a:pt x="3647069" y="667100"/>
                  <a:pt x="3642694" y="661265"/>
                  <a:pt x="3642694" y="653243"/>
                </a:cubicBezTo>
                <a:cubicBezTo>
                  <a:pt x="3642694" y="647409"/>
                  <a:pt x="3647069" y="640846"/>
                  <a:pt x="3655091" y="640846"/>
                </a:cubicBezTo>
                <a:close/>
                <a:moveTo>
                  <a:pt x="3583280" y="640846"/>
                </a:moveTo>
                <a:cubicBezTo>
                  <a:pt x="3591064" y="640846"/>
                  <a:pt x="3598069" y="647409"/>
                  <a:pt x="3598069" y="653243"/>
                </a:cubicBezTo>
                <a:cubicBezTo>
                  <a:pt x="3598069" y="661265"/>
                  <a:pt x="3591064" y="667100"/>
                  <a:pt x="3583280" y="667100"/>
                </a:cubicBezTo>
                <a:cubicBezTo>
                  <a:pt x="3574718" y="667100"/>
                  <a:pt x="3568491" y="661265"/>
                  <a:pt x="3568491" y="653243"/>
                </a:cubicBezTo>
                <a:cubicBezTo>
                  <a:pt x="3568491" y="647409"/>
                  <a:pt x="3574718" y="640846"/>
                  <a:pt x="3583280" y="640846"/>
                </a:cubicBezTo>
                <a:close/>
                <a:moveTo>
                  <a:pt x="3512449" y="640846"/>
                </a:moveTo>
                <a:cubicBezTo>
                  <a:pt x="3520232" y="640846"/>
                  <a:pt x="3527237" y="647409"/>
                  <a:pt x="3527237" y="653243"/>
                </a:cubicBezTo>
                <a:cubicBezTo>
                  <a:pt x="3527237" y="661265"/>
                  <a:pt x="3520232" y="667100"/>
                  <a:pt x="3512449" y="667100"/>
                </a:cubicBezTo>
                <a:cubicBezTo>
                  <a:pt x="3503887" y="667100"/>
                  <a:pt x="3497661" y="661265"/>
                  <a:pt x="3497661" y="653243"/>
                </a:cubicBezTo>
                <a:cubicBezTo>
                  <a:pt x="3497661" y="647409"/>
                  <a:pt x="3503887" y="640846"/>
                  <a:pt x="3512449" y="640846"/>
                </a:cubicBezTo>
                <a:close/>
                <a:moveTo>
                  <a:pt x="3441619" y="640846"/>
                </a:moveTo>
                <a:cubicBezTo>
                  <a:pt x="3450181" y="640846"/>
                  <a:pt x="3456408" y="647409"/>
                  <a:pt x="3456408" y="653243"/>
                </a:cubicBezTo>
                <a:cubicBezTo>
                  <a:pt x="3456408" y="661265"/>
                  <a:pt x="3450181" y="667100"/>
                  <a:pt x="3441619" y="667100"/>
                </a:cubicBezTo>
                <a:cubicBezTo>
                  <a:pt x="3433835" y="667100"/>
                  <a:pt x="3426830" y="661265"/>
                  <a:pt x="3426830" y="653243"/>
                </a:cubicBezTo>
                <a:cubicBezTo>
                  <a:pt x="3426830" y="647409"/>
                  <a:pt x="3433835" y="640846"/>
                  <a:pt x="3441619" y="640846"/>
                </a:cubicBezTo>
                <a:close/>
                <a:moveTo>
                  <a:pt x="3369857" y="640846"/>
                </a:moveTo>
                <a:cubicBezTo>
                  <a:pt x="3377879" y="640846"/>
                  <a:pt x="3382254" y="647409"/>
                  <a:pt x="3382254" y="653243"/>
                </a:cubicBezTo>
                <a:cubicBezTo>
                  <a:pt x="3382254" y="661265"/>
                  <a:pt x="3377879" y="667100"/>
                  <a:pt x="3369857" y="667100"/>
                </a:cubicBezTo>
                <a:cubicBezTo>
                  <a:pt x="3362564" y="667100"/>
                  <a:pt x="3356001" y="661265"/>
                  <a:pt x="3356001" y="653243"/>
                </a:cubicBezTo>
                <a:cubicBezTo>
                  <a:pt x="3356001" y="647409"/>
                  <a:pt x="3362564" y="640846"/>
                  <a:pt x="3369857" y="640846"/>
                </a:cubicBezTo>
                <a:close/>
                <a:moveTo>
                  <a:pt x="3299091" y="640846"/>
                </a:moveTo>
                <a:cubicBezTo>
                  <a:pt x="3305653" y="640846"/>
                  <a:pt x="3311488" y="647409"/>
                  <a:pt x="3311488" y="653243"/>
                </a:cubicBezTo>
                <a:cubicBezTo>
                  <a:pt x="3311488" y="661265"/>
                  <a:pt x="3305653" y="667100"/>
                  <a:pt x="3299091" y="667100"/>
                </a:cubicBezTo>
                <a:cubicBezTo>
                  <a:pt x="3291796" y="667100"/>
                  <a:pt x="3285237" y="661265"/>
                  <a:pt x="3285237" y="653243"/>
                </a:cubicBezTo>
                <a:cubicBezTo>
                  <a:pt x="3285237" y="647409"/>
                  <a:pt x="3291796" y="640846"/>
                  <a:pt x="3299091" y="640846"/>
                </a:cubicBezTo>
                <a:close/>
                <a:moveTo>
                  <a:pt x="3228258" y="640846"/>
                </a:moveTo>
                <a:cubicBezTo>
                  <a:pt x="3234823" y="640846"/>
                  <a:pt x="3240658" y="647409"/>
                  <a:pt x="3240658" y="653243"/>
                </a:cubicBezTo>
                <a:cubicBezTo>
                  <a:pt x="3240658" y="661265"/>
                  <a:pt x="3234823" y="667100"/>
                  <a:pt x="3228258" y="667100"/>
                </a:cubicBezTo>
                <a:cubicBezTo>
                  <a:pt x="3220236" y="667100"/>
                  <a:pt x="3214403" y="661265"/>
                  <a:pt x="3214403" y="653243"/>
                </a:cubicBezTo>
                <a:cubicBezTo>
                  <a:pt x="3214403" y="647409"/>
                  <a:pt x="3220236" y="640846"/>
                  <a:pt x="3228258" y="640846"/>
                </a:cubicBezTo>
                <a:close/>
                <a:moveTo>
                  <a:pt x="3152597" y="640846"/>
                </a:moveTo>
                <a:cubicBezTo>
                  <a:pt x="3159891" y="640846"/>
                  <a:pt x="3166454" y="647409"/>
                  <a:pt x="3166454" y="653243"/>
                </a:cubicBezTo>
                <a:cubicBezTo>
                  <a:pt x="3166454" y="661265"/>
                  <a:pt x="3159891" y="667100"/>
                  <a:pt x="3152597" y="667100"/>
                </a:cubicBezTo>
                <a:cubicBezTo>
                  <a:pt x="3146035" y="667100"/>
                  <a:pt x="3140200" y="661265"/>
                  <a:pt x="3140200" y="653243"/>
                </a:cubicBezTo>
                <a:cubicBezTo>
                  <a:pt x="3140200" y="647409"/>
                  <a:pt x="3146035" y="640846"/>
                  <a:pt x="3152597" y="640846"/>
                </a:cubicBezTo>
                <a:close/>
                <a:moveTo>
                  <a:pt x="3081767" y="640846"/>
                </a:moveTo>
                <a:cubicBezTo>
                  <a:pt x="3089058" y="640846"/>
                  <a:pt x="3095620" y="647409"/>
                  <a:pt x="3095620" y="653243"/>
                </a:cubicBezTo>
                <a:cubicBezTo>
                  <a:pt x="3095620" y="661265"/>
                  <a:pt x="3089058" y="667100"/>
                  <a:pt x="3081767" y="667100"/>
                </a:cubicBezTo>
                <a:cubicBezTo>
                  <a:pt x="3073743" y="667100"/>
                  <a:pt x="3069366" y="661265"/>
                  <a:pt x="3069366" y="653243"/>
                </a:cubicBezTo>
                <a:cubicBezTo>
                  <a:pt x="3069366" y="647409"/>
                  <a:pt x="3073743" y="640846"/>
                  <a:pt x="3081767" y="640846"/>
                </a:cubicBezTo>
                <a:close/>
                <a:moveTo>
                  <a:pt x="3013710" y="640846"/>
                </a:moveTo>
                <a:cubicBezTo>
                  <a:pt x="3021299" y="640846"/>
                  <a:pt x="3028129" y="647409"/>
                  <a:pt x="3028129" y="653243"/>
                </a:cubicBezTo>
                <a:cubicBezTo>
                  <a:pt x="3028129" y="661265"/>
                  <a:pt x="3021299" y="667100"/>
                  <a:pt x="3013710" y="667100"/>
                </a:cubicBezTo>
                <a:cubicBezTo>
                  <a:pt x="3005363" y="667100"/>
                  <a:pt x="2998534" y="661265"/>
                  <a:pt x="2998534" y="653243"/>
                </a:cubicBezTo>
                <a:cubicBezTo>
                  <a:pt x="2998534" y="647409"/>
                  <a:pt x="3005363" y="640846"/>
                  <a:pt x="3013710" y="640846"/>
                </a:cubicBezTo>
                <a:close/>
                <a:moveTo>
                  <a:pt x="2942488" y="640846"/>
                </a:moveTo>
                <a:cubicBezTo>
                  <a:pt x="2951049" y="640846"/>
                  <a:pt x="2957280" y="647409"/>
                  <a:pt x="2957280" y="653243"/>
                </a:cubicBezTo>
                <a:cubicBezTo>
                  <a:pt x="2957280" y="661265"/>
                  <a:pt x="2951049" y="667100"/>
                  <a:pt x="2942488" y="667100"/>
                </a:cubicBezTo>
                <a:cubicBezTo>
                  <a:pt x="2934708" y="667100"/>
                  <a:pt x="2927703" y="661265"/>
                  <a:pt x="2927703" y="653243"/>
                </a:cubicBezTo>
                <a:cubicBezTo>
                  <a:pt x="2927703" y="647409"/>
                  <a:pt x="2934708" y="640846"/>
                  <a:pt x="2942488" y="640846"/>
                </a:cubicBezTo>
                <a:close/>
                <a:moveTo>
                  <a:pt x="2868288" y="640846"/>
                </a:moveTo>
                <a:cubicBezTo>
                  <a:pt x="2876853" y="640846"/>
                  <a:pt x="2883082" y="647409"/>
                  <a:pt x="2883082" y="653243"/>
                </a:cubicBezTo>
                <a:cubicBezTo>
                  <a:pt x="2883082" y="661265"/>
                  <a:pt x="2876853" y="667100"/>
                  <a:pt x="2868288" y="667100"/>
                </a:cubicBezTo>
                <a:cubicBezTo>
                  <a:pt x="2860506" y="667100"/>
                  <a:pt x="2853498" y="661265"/>
                  <a:pt x="2853498" y="653243"/>
                </a:cubicBezTo>
                <a:cubicBezTo>
                  <a:pt x="2853498" y="647409"/>
                  <a:pt x="2860506" y="640846"/>
                  <a:pt x="2868288" y="640846"/>
                </a:cubicBezTo>
                <a:close/>
                <a:moveTo>
                  <a:pt x="2796532" y="640846"/>
                </a:moveTo>
                <a:cubicBezTo>
                  <a:pt x="2804550" y="640846"/>
                  <a:pt x="2808926" y="647409"/>
                  <a:pt x="2808926" y="653243"/>
                </a:cubicBezTo>
                <a:cubicBezTo>
                  <a:pt x="2808926" y="661265"/>
                  <a:pt x="2804550" y="667100"/>
                  <a:pt x="2796532" y="667100"/>
                </a:cubicBezTo>
                <a:cubicBezTo>
                  <a:pt x="2789237" y="667100"/>
                  <a:pt x="2782673" y="661265"/>
                  <a:pt x="2782673" y="653243"/>
                </a:cubicBezTo>
                <a:cubicBezTo>
                  <a:pt x="2782673" y="647409"/>
                  <a:pt x="2789237" y="640846"/>
                  <a:pt x="2796532" y="640846"/>
                </a:cubicBezTo>
                <a:close/>
                <a:moveTo>
                  <a:pt x="2725692" y="640846"/>
                </a:moveTo>
                <a:cubicBezTo>
                  <a:pt x="2731527" y="640846"/>
                  <a:pt x="2738097" y="647409"/>
                  <a:pt x="2738097" y="653243"/>
                </a:cubicBezTo>
                <a:cubicBezTo>
                  <a:pt x="2738097" y="661265"/>
                  <a:pt x="2731527" y="667100"/>
                  <a:pt x="2725692" y="667100"/>
                </a:cubicBezTo>
                <a:cubicBezTo>
                  <a:pt x="2717681" y="667100"/>
                  <a:pt x="2711843" y="661265"/>
                  <a:pt x="2711843" y="653243"/>
                </a:cubicBezTo>
                <a:cubicBezTo>
                  <a:pt x="2711843" y="647409"/>
                  <a:pt x="2717681" y="640846"/>
                  <a:pt x="2725692" y="640846"/>
                </a:cubicBezTo>
                <a:close/>
                <a:moveTo>
                  <a:pt x="2654867" y="640846"/>
                </a:moveTo>
                <a:cubicBezTo>
                  <a:pt x="2660705" y="640846"/>
                  <a:pt x="2667266" y="647409"/>
                  <a:pt x="2667266" y="653243"/>
                </a:cubicBezTo>
                <a:cubicBezTo>
                  <a:pt x="2667266" y="661265"/>
                  <a:pt x="2660705" y="667100"/>
                  <a:pt x="2654867" y="667100"/>
                </a:cubicBezTo>
                <a:cubicBezTo>
                  <a:pt x="2646847" y="667100"/>
                  <a:pt x="2641013" y="661265"/>
                  <a:pt x="2641013" y="653243"/>
                </a:cubicBezTo>
                <a:cubicBezTo>
                  <a:pt x="2641013" y="647409"/>
                  <a:pt x="2646847" y="640846"/>
                  <a:pt x="2654867" y="640846"/>
                </a:cubicBezTo>
                <a:close/>
                <a:moveTo>
                  <a:pt x="2582577" y="640846"/>
                </a:moveTo>
                <a:cubicBezTo>
                  <a:pt x="2589870" y="640846"/>
                  <a:pt x="2596432" y="647409"/>
                  <a:pt x="2596432" y="654702"/>
                </a:cubicBezTo>
                <a:cubicBezTo>
                  <a:pt x="2596432" y="661265"/>
                  <a:pt x="2589870" y="667100"/>
                  <a:pt x="2582577" y="667100"/>
                </a:cubicBezTo>
                <a:cubicBezTo>
                  <a:pt x="2576016" y="667100"/>
                  <a:pt x="2570181" y="661265"/>
                  <a:pt x="2570181" y="654702"/>
                </a:cubicBezTo>
                <a:cubicBezTo>
                  <a:pt x="2570181" y="647409"/>
                  <a:pt x="2576016" y="640846"/>
                  <a:pt x="2582577" y="640846"/>
                </a:cubicBezTo>
                <a:close/>
                <a:moveTo>
                  <a:pt x="1728254" y="640846"/>
                </a:moveTo>
                <a:cubicBezTo>
                  <a:pt x="1736820" y="640846"/>
                  <a:pt x="1743044" y="647409"/>
                  <a:pt x="1743044" y="654702"/>
                </a:cubicBezTo>
                <a:cubicBezTo>
                  <a:pt x="1743044" y="661265"/>
                  <a:pt x="1736820" y="667100"/>
                  <a:pt x="1728254" y="667100"/>
                </a:cubicBezTo>
                <a:cubicBezTo>
                  <a:pt x="1719691" y="667100"/>
                  <a:pt x="1713464" y="661265"/>
                  <a:pt x="1713464" y="654702"/>
                </a:cubicBezTo>
                <a:cubicBezTo>
                  <a:pt x="1713464" y="647409"/>
                  <a:pt x="1719691" y="640846"/>
                  <a:pt x="1728254" y="640846"/>
                </a:cubicBezTo>
                <a:close/>
                <a:moveTo>
                  <a:pt x="1657423" y="640846"/>
                </a:moveTo>
                <a:cubicBezTo>
                  <a:pt x="1665208" y="640846"/>
                  <a:pt x="1672215" y="647409"/>
                  <a:pt x="1672215" y="654702"/>
                </a:cubicBezTo>
                <a:cubicBezTo>
                  <a:pt x="1672215" y="661265"/>
                  <a:pt x="1665208" y="667100"/>
                  <a:pt x="1657423" y="667100"/>
                </a:cubicBezTo>
                <a:cubicBezTo>
                  <a:pt x="1648867" y="667100"/>
                  <a:pt x="1642644" y="661265"/>
                  <a:pt x="1642644" y="654702"/>
                </a:cubicBezTo>
                <a:cubicBezTo>
                  <a:pt x="1642644" y="647409"/>
                  <a:pt x="1648867" y="640846"/>
                  <a:pt x="1657423" y="640846"/>
                </a:cubicBezTo>
                <a:close/>
                <a:moveTo>
                  <a:pt x="1582290" y="640846"/>
                </a:moveTo>
                <a:cubicBezTo>
                  <a:pt x="1589584" y="640846"/>
                  <a:pt x="1594694" y="647409"/>
                  <a:pt x="1594694" y="654702"/>
                </a:cubicBezTo>
                <a:cubicBezTo>
                  <a:pt x="1594694" y="661265"/>
                  <a:pt x="1589584" y="667100"/>
                  <a:pt x="1582290" y="667100"/>
                </a:cubicBezTo>
                <a:cubicBezTo>
                  <a:pt x="1574268" y="667100"/>
                  <a:pt x="1568435" y="661265"/>
                  <a:pt x="1568435" y="654702"/>
                </a:cubicBezTo>
                <a:cubicBezTo>
                  <a:pt x="1568435" y="647409"/>
                  <a:pt x="1574268" y="640846"/>
                  <a:pt x="1582290" y="640846"/>
                </a:cubicBezTo>
                <a:close/>
                <a:moveTo>
                  <a:pt x="1512190" y="640846"/>
                </a:moveTo>
                <a:cubicBezTo>
                  <a:pt x="1518025" y="640846"/>
                  <a:pt x="1523859" y="647409"/>
                  <a:pt x="1523859" y="654702"/>
                </a:cubicBezTo>
                <a:cubicBezTo>
                  <a:pt x="1523859" y="661265"/>
                  <a:pt x="1518025" y="667100"/>
                  <a:pt x="1512190" y="667100"/>
                </a:cubicBezTo>
                <a:cubicBezTo>
                  <a:pt x="1504169" y="667100"/>
                  <a:pt x="1497604" y="662724"/>
                  <a:pt x="1497604" y="654702"/>
                </a:cubicBezTo>
                <a:cubicBezTo>
                  <a:pt x="1497604" y="647409"/>
                  <a:pt x="1504169" y="640846"/>
                  <a:pt x="1512190" y="640846"/>
                </a:cubicBezTo>
                <a:close/>
                <a:moveTo>
                  <a:pt x="1440623" y="640846"/>
                </a:moveTo>
                <a:cubicBezTo>
                  <a:pt x="1447182" y="640846"/>
                  <a:pt x="1453017" y="647409"/>
                  <a:pt x="1453017" y="654702"/>
                </a:cubicBezTo>
                <a:cubicBezTo>
                  <a:pt x="1453017" y="662724"/>
                  <a:pt x="1447182" y="667100"/>
                  <a:pt x="1440623" y="667100"/>
                </a:cubicBezTo>
                <a:cubicBezTo>
                  <a:pt x="1433331" y="667100"/>
                  <a:pt x="1426767" y="662724"/>
                  <a:pt x="1426767" y="654702"/>
                </a:cubicBezTo>
                <a:cubicBezTo>
                  <a:pt x="1426767" y="647409"/>
                  <a:pt x="1433331" y="640846"/>
                  <a:pt x="1440623" y="640846"/>
                </a:cubicBezTo>
                <a:close/>
                <a:moveTo>
                  <a:pt x="1368339" y="640846"/>
                </a:moveTo>
                <a:cubicBezTo>
                  <a:pt x="1376363" y="640846"/>
                  <a:pt x="1382194" y="647409"/>
                  <a:pt x="1382194" y="654702"/>
                </a:cubicBezTo>
                <a:cubicBezTo>
                  <a:pt x="1382194" y="662724"/>
                  <a:pt x="1376363" y="667100"/>
                  <a:pt x="1368339" y="667100"/>
                </a:cubicBezTo>
                <a:cubicBezTo>
                  <a:pt x="1362505" y="667100"/>
                  <a:pt x="1355943" y="662724"/>
                  <a:pt x="1355943" y="654702"/>
                </a:cubicBezTo>
                <a:cubicBezTo>
                  <a:pt x="1355943" y="647409"/>
                  <a:pt x="1362505" y="640846"/>
                  <a:pt x="1368339" y="640846"/>
                </a:cubicBezTo>
                <a:close/>
                <a:moveTo>
                  <a:pt x="1297512" y="640846"/>
                </a:moveTo>
                <a:cubicBezTo>
                  <a:pt x="1305535" y="640846"/>
                  <a:pt x="1311369" y="647409"/>
                  <a:pt x="1311369" y="654702"/>
                </a:cubicBezTo>
                <a:cubicBezTo>
                  <a:pt x="1311369" y="662724"/>
                  <a:pt x="1305535" y="667100"/>
                  <a:pt x="1297512" y="667100"/>
                </a:cubicBezTo>
                <a:cubicBezTo>
                  <a:pt x="1291678" y="667100"/>
                  <a:pt x="1285116" y="662724"/>
                  <a:pt x="1285116" y="654702"/>
                </a:cubicBezTo>
                <a:cubicBezTo>
                  <a:pt x="1285116" y="647409"/>
                  <a:pt x="1291678" y="640846"/>
                  <a:pt x="1297512" y="640846"/>
                </a:cubicBezTo>
                <a:close/>
                <a:moveTo>
                  <a:pt x="1226680" y="640846"/>
                </a:moveTo>
                <a:cubicBezTo>
                  <a:pt x="1233973" y="640846"/>
                  <a:pt x="1240537" y="647409"/>
                  <a:pt x="1240537" y="654702"/>
                </a:cubicBezTo>
                <a:cubicBezTo>
                  <a:pt x="1240537" y="662724"/>
                  <a:pt x="1233973" y="667100"/>
                  <a:pt x="1226680" y="667100"/>
                </a:cubicBezTo>
                <a:cubicBezTo>
                  <a:pt x="1218667" y="667100"/>
                  <a:pt x="1214291" y="662724"/>
                  <a:pt x="1214291" y="654702"/>
                </a:cubicBezTo>
                <a:cubicBezTo>
                  <a:pt x="1214291" y="647409"/>
                  <a:pt x="1218667" y="640846"/>
                  <a:pt x="1226680" y="640846"/>
                </a:cubicBezTo>
                <a:close/>
                <a:moveTo>
                  <a:pt x="1154878" y="640846"/>
                </a:moveTo>
                <a:cubicBezTo>
                  <a:pt x="1162660" y="640846"/>
                  <a:pt x="1169666" y="647409"/>
                  <a:pt x="1169666" y="654702"/>
                </a:cubicBezTo>
                <a:cubicBezTo>
                  <a:pt x="1169666" y="662724"/>
                  <a:pt x="1162660" y="667100"/>
                  <a:pt x="1154878" y="667100"/>
                </a:cubicBezTo>
                <a:cubicBezTo>
                  <a:pt x="1146318" y="667100"/>
                  <a:pt x="1140088" y="662724"/>
                  <a:pt x="1140088" y="654702"/>
                </a:cubicBezTo>
                <a:cubicBezTo>
                  <a:pt x="1140088" y="647409"/>
                  <a:pt x="1146318" y="640846"/>
                  <a:pt x="1154878" y="640846"/>
                </a:cubicBezTo>
                <a:close/>
                <a:moveTo>
                  <a:pt x="1084051" y="640846"/>
                </a:moveTo>
                <a:cubicBezTo>
                  <a:pt x="1091834" y="640846"/>
                  <a:pt x="1098838" y="647409"/>
                  <a:pt x="1098838" y="654702"/>
                </a:cubicBezTo>
                <a:cubicBezTo>
                  <a:pt x="1098838" y="662724"/>
                  <a:pt x="1091834" y="667100"/>
                  <a:pt x="1084051" y="667100"/>
                </a:cubicBezTo>
                <a:cubicBezTo>
                  <a:pt x="1075486" y="667100"/>
                  <a:pt x="1069261" y="662724"/>
                  <a:pt x="1069261" y="654702"/>
                </a:cubicBezTo>
                <a:cubicBezTo>
                  <a:pt x="1069261" y="647409"/>
                  <a:pt x="1075486" y="640846"/>
                  <a:pt x="1084051" y="640846"/>
                </a:cubicBezTo>
                <a:close/>
                <a:moveTo>
                  <a:pt x="1013010" y="640846"/>
                </a:moveTo>
                <a:cubicBezTo>
                  <a:pt x="1020306" y="640846"/>
                  <a:pt x="1024682" y="647409"/>
                  <a:pt x="1024682" y="654702"/>
                </a:cubicBezTo>
                <a:cubicBezTo>
                  <a:pt x="1024682" y="662724"/>
                  <a:pt x="1020306" y="667100"/>
                  <a:pt x="1013010" y="667100"/>
                </a:cubicBezTo>
                <a:cubicBezTo>
                  <a:pt x="1004989" y="667100"/>
                  <a:pt x="998429" y="662724"/>
                  <a:pt x="998429" y="654702"/>
                </a:cubicBezTo>
                <a:cubicBezTo>
                  <a:pt x="998429" y="647409"/>
                  <a:pt x="1004989" y="640846"/>
                  <a:pt x="1013010" y="640846"/>
                </a:cubicBezTo>
                <a:close/>
                <a:moveTo>
                  <a:pt x="941457" y="640846"/>
                </a:moveTo>
                <a:cubicBezTo>
                  <a:pt x="948018" y="640846"/>
                  <a:pt x="953852" y="647409"/>
                  <a:pt x="953852" y="654702"/>
                </a:cubicBezTo>
                <a:cubicBezTo>
                  <a:pt x="953852" y="662724"/>
                  <a:pt x="948018" y="667100"/>
                  <a:pt x="941457" y="667100"/>
                </a:cubicBezTo>
                <a:cubicBezTo>
                  <a:pt x="934166" y="667100"/>
                  <a:pt x="927599" y="662724"/>
                  <a:pt x="927599" y="654702"/>
                </a:cubicBezTo>
                <a:cubicBezTo>
                  <a:pt x="927599" y="647409"/>
                  <a:pt x="934166" y="640846"/>
                  <a:pt x="941457" y="640846"/>
                </a:cubicBezTo>
                <a:close/>
                <a:moveTo>
                  <a:pt x="870622" y="640846"/>
                </a:moveTo>
                <a:cubicBezTo>
                  <a:pt x="877190" y="640846"/>
                  <a:pt x="883024" y="647409"/>
                  <a:pt x="883024" y="654702"/>
                </a:cubicBezTo>
                <a:cubicBezTo>
                  <a:pt x="883024" y="662724"/>
                  <a:pt x="877190" y="667100"/>
                  <a:pt x="870622" y="667100"/>
                </a:cubicBezTo>
                <a:cubicBezTo>
                  <a:pt x="863332" y="667100"/>
                  <a:pt x="856770" y="662724"/>
                  <a:pt x="856770" y="654702"/>
                </a:cubicBezTo>
                <a:cubicBezTo>
                  <a:pt x="856770" y="647409"/>
                  <a:pt x="863332" y="640846"/>
                  <a:pt x="870622" y="640846"/>
                </a:cubicBezTo>
                <a:close/>
                <a:moveTo>
                  <a:pt x="798337" y="640846"/>
                </a:moveTo>
                <a:cubicBezTo>
                  <a:pt x="806358" y="640846"/>
                  <a:pt x="812191" y="647851"/>
                  <a:pt x="812191" y="655635"/>
                </a:cubicBezTo>
                <a:cubicBezTo>
                  <a:pt x="812191" y="664197"/>
                  <a:pt x="806358" y="670424"/>
                  <a:pt x="798337" y="670424"/>
                </a:cubicBezTo>
                <a:cubicBezTo>
                  <a:pt x="792503" y="670424"/>
                  <a:pt x="785937" y="664197"/>
                  <a:pt x="785937" y="655635"/>
                </a:cubicBezTo>
                <a:cubicBezTo>
                  <a:pt x="785937" y="647851"/>
                  <a:pt x="792503" y="640846"/>
                  <a:pt x="798337" y="640846"/>
                </a:cubicBezTo>
                <a:close/>
                <a:moveTo>
                  <a:pt x="724134" y="640846"/>
                </a:moveTo>
                <a:cubicBezTo>
                  <a:pt x="731428" y="640846"/>
                  <a:pt x="737989" y="647851"/>
                  <a:pt x="737989" y="655635"/>
                </a:cubicBezTo>
                <a:cubicBezTo>
                  <a:pt x="737989" y="664197"/>
                  <a:pt x="731428" y="670424"/>
                  <a:pt x="724134" y="670424"/>
                </a:cubicBezTo>
                <a:cubicBezTo>
                  <a:pt x="717567" y="670424"/>
                  <a:pt x="711735" y="664197"/>
                  <a:pt x="711735" y="655635"/>
                </a:cubicBezTo>
                <a:cubicBezTo>
                  <a:pt x="711735" y="647851"/>
                  <a:pt x="717567" y="640846"/>
                  <a:pt x="724134" y="640846"/>
                </a:cubicBezTo>
                <a:close/>
                <a:moveTo>
                  <a:pt x="653301" y="640846"/>
                </a:moveTo>
                <a:cubicBezTo>
                  <a:pt x="660594" y="640846"/>
                  <a:pt x="667160" y="647851"/>
                  <a:pt x="667160" y="655635"/>
                </a:cubicBezTo>
                <a:cubicBezTo>
                  <a:pt x="667160" y="664197"/>
                  <a:pt x="660594" y="670424"/>
                  <a:pt x="653301" y="670424"/>
                </a:cubicBezTo>
                <a:cubicBezTo>
                  <a:pt x="645283" y="670424"/>
                  <a:pt x="640907" y="664197"/>
                  <a:pt x="640907" y="655635"/>
                </a:cubicBezTo>
                <a:cubicBezTo>
                  <a:pt x="640907" y="647851"/>
                  <a:pt x="645283" y="640846"/>
                  <a:pt x="653301" y="640846"/>
                </a:cubicBezTo>
                <a:close/>
                <a:moveTo>
                  <a:pt x="584864" y="640846"/>
                </a:moveTo>
                <a:cubicBezTo>
                  <a:pt x="592646" y="640846"/>
                  <a:pt x="599651" y="647851"/>
                  <a:pt x="599651" y="655635"/>
                </a:cubicBezTo>
                <a:cubicBezTo>
                  <a:pt x="599651" y="664197"/>
                  <a:pt x="592646" y="670424"/>
                  <a:pt x="584864" y="670424"/>
                </a:cubicBezTo>
                <a:cubicBezTo>
                  <a:pt x="576304" y="670424"/>
                  <a:pt x="570075" y="664197"/>
                  <a:pt x="570075" y="655635"/>
                </a:cubicBezTo>
                <a:cubicBezTo>
                  <a:pt x="570075" y="647851"/>
                  <a:pt x="576304" y="640846"/>
                  <a:pt x="584864" y="640846"/>
                </a:cubicBezTo>
                <a:close/>
                <a:moveTo>
                  <a:pt x="513663" y="640846"/>
                </a:moveTo>
                <a:cubicBezTo>
                  <a:pt x="522010" y="640846"/>
                  <a:pt x="528843" y="647851"/>
                  <a:pt x="528843" y="655635"/>
                </a:cubicBezTo>
                <a:cubicBezTo>
                  <a:pt x="528843" y="664197"/>
                  <a:pt x="522010" y="670424"/>
                  <a:pt x="513663" y="670424"/>
                </a:cubicBezTo>
                <a:cubicBezTo>
                  <a:pt x="506076" y="670424"/>
                  <a:pt x="499246" y="664197"/>
                  <a:pt x="499246" y="655635"/>
                </a:cubicBezTo>
                <a:cubicBezTo>
                  <a:pt x="499246" y="647851"/>
                  <a:pt x="506076" y="640846"/>
                  <a:pt x="513663" y="640846"/>
                </a:cubicBezTo>
                <a:close/>
                <a:moveTo>
                  <a:pt x="439832" y="640846"/>
                </a:moveTo>
                <a:cubicBezTo>
                  <a:pt x="448391" y="640846"/>
                  <a:pt x="454622" y="647851"/>
                  <a:pt x="454622" y="655635"/>
                </a:cubicBezTo>
                <a:cubicBezTo>
                  <a:pt x="454622" y="664197"/>
                  <a:pt x="448391" y="670424"/>
                  <a:pt x="439832" y="670424"/>
                </a:cubicBezTo>
                <a:cubicBezTo>
                  <a:pt x="432049" y="670424"/>
                  <a:pt x="425044" y="664197"/>
                  <a:pt x="425044" y="655635"/>
                </a:cubicBezTo>
                <a:cubicBezTo>
                  <a:pt x="425044" y="647851"/>
                  <a:pt x="432049" y="640846"/>
                  <a:pt x="439832" y="640846"/>
                </a:cubicBezTo>
                <a:close/>
                <a:moveTo>
                  <a:pt x="368070" y="640846"/>
                </a:moveTo>
                <a:cubicBezTo>
                  <a:pt x="376088" y="640846"/>
                  <a:pt x="380465" y="647851"/>
                  <a:pt x="380465" y="655635"/>
                </a:cubicBezTo>
                <a:cubicBezTo>
                  <a:pt x="380465" y="664197"/>
                  <a:pt x="376088" y="670424"/>
                  <a:pt x="368070" y="670424"/>
                </a:cubicBezTo>
                <a:cubicBezTo>
                  <a:pt x="360777" y="670424"/>
                  <a:pt x="354211" y="664197"/>
                  <a:pt x="354211" y="655635"/>
                </a:cubicBezTo>
                <a:cubicBezTo>
                  <a:pt x="354211" y="647851"/>
                  <a:pt x="360777" y="640846"/>
                  <a:pt x="368070" y="640846"/>
                </a:cubicBezTo>
                <a:close/>
                <a:moveTo>
                  <a:pt x="297235" y="640846"/>
                </a:moveTo>
                <a:cubicBezTo>
                  <a:pt x="303798" y="640846"/>
                  <a:pt x="309631" y="647851"/>
                  <a:pt x="309631" y="655635"/>
                </a:cubicBezTo>
                <a:cubicBezTo>
                  <a:pt x="309631" y="664197"/>
                  <a:pt x="303798" y="670424"/>
                  <a:pt x="297235" y="670424"/>
                </a:cubicBezTo>
                <a:cubicBezTo>
                  <a:pt x="289944" y="670424"/>
                  <a:pt x="283379" y="664197"/>
                  <a:pt x="283379" y="655635"/>
                </a:cubicBezTo>
                <a:cubicBezTo>
                  <a:pt x="283379" y="647851"/>
                  <a:pt x="289944" y="640846"/>
                  <a:pt x="297235" y="640846"/>
                </a:cubicBezTo>
                <a:close/>
                <a:moveTo>
                  <a:pt x="4082465" y="570017"/>
                </a:moveTo>
                <a:cubicBezTo>
                  <a:pt x="4090249" y="570017"/>
                  <a:pt x="4097254" y="576244"/>
                  <a:pt x="4097254" y="584805"/>
                </a:cubicBezTo>
                <a:cubicBezTo>
                  <a:pt x="4097254" y="593367"/>
                  <a:pt x="4090249" y="599594"/>
                  <a:pt x="4082465" y="599594"/>
                </a:cubicBezTo>
                <a:cubicBezTo>
                  <a:pt x="4073903" y="599594"/>
                  <a:pt x="4067676" y="593367"/>
                  <a:pt x="4067676" y="584805"/>
                </a:cubicBezTo>
                <a:cubicBezTo>
                  <a:pt x="4067676" y="576244"/>
                  <a:pt x="4073903" y="570017"/>
                  <a:pt x="4082465" y="570017"/>
                </a:cubicBezTo>
                <a:close/>
                <a:moveTo>
                  <a:pt x="4010703" y="570017"/>
                </a:moveTo>
                <a:cubicBezTo>
                  <a:pt x="4017996" y="570017"/>
                  <a:pt x="4023100" y="576244"/>
                  <a:pt x="4023100" y="584805"/>
                </a:cubicBezTo>
                <a:cubicBezTo>
                  <a:pt x="4023100" y="593367"/>
                  <a:pt x="4017996" y="599594"/>
                  <a:pt x="4010703" y="599594"/>
                </a:cubicBezTo>
                <a:cubicBezTo>
                  <a:pt x="4002681" y="599594"/>
                  <a:pt x="3996847" y="593367"/>
                  <a:pt x="3996847" y="584805"/>
                </a:cubicBezTo>
                <a:cubicBezTo>
                  <a:pt x="3996847" y="576244"/>
                  <a:pt x="4002681" y="570017"/>
                  <a:pt x="4010703" y="570017"/>
                </a:cubicBezTo>
                <a:close/>
                <a:moveTo>
                  <a:pt x="3939871" y="570017"/>
                </a:moveTo>
                <a:cubicBezTo>
                  <a:pt x="3946434" y="570017"/>
                  <a:pt x="3952268" y="576244"/>
                  <a:pt x="3952268" y="584805"/>
                </a:cubicBezTo>
                <a:cubicBezTo>
                  <a:pt x="3952268" y="593367"/>
                  <a:pt x="3946434" y="599594"/>
                  <a:pt x="3939871" y="599594"/>
                </a:cubicBezTo>
                <a:cubicBezTo>
                  <a:pt x="3932578" y="599594"/>
                  <a:pt x="3926015" y="593367"/>
                  <a:pt x="3926015" y="584805"/>
                </a:cubicBezTo>
                <a:cubicBezTo>
                  <a:pt x="3926015" y="576244"/>
                  <a:pt x="3932578" y="570017"/>
                  <a:pt x="3939871" y="570017"/>
                </a:cubicBezTo>
                <a:close/>
                <a:moveTo>
                  <a:pt x="3869042" y="570017"/>
                </a:moveTo>
                <a:cubicBezTo>
                  <a:pt x="3875605" y="570017"/>
                  <a:pt x="3881439" y="576244"/>
                  <a:pt x="3881439" y="584805"/>
                </a:cubicBezTo>
                <a:cubicBezTo>
                  <a:pt x="3881439" y="593367"/>
                  <a:pt x="3875605" y="599594"/>
                  <a:pt x="3869042" y="599594"/>
                </a:cubicBezTo>
                <a:cubicBezTo>
                  <a:pt x="3861749" y="599594"/>
                  <a:pt x="3855186" y="593367"/>
                  <a:pt x="3855186" y="584805"/>
                </a:cubicBezTo>
                <a:cubicBezTo>
                  <a:pt x="3855186" y="576244"/>
                  <a:pt x="3861749" y="570017"/>
                  <a:pt x="3869042" y="570017"/>
                </a:cubicBezTo>
                <a:close/>
                <a:moveTo>
                  <a:pt x="3796752" y="570017"/>
                </a:moveTo>
                <a:cubicBezTo>
                  <a:pt x="3804774" y="570017"/>
                  <a:pt x="3810608" y="576244"/>
                  <a:pt x="3810608" y="584805"/>
                </a:cubicBezTo>
                <a:cubicBezTo>
                  <a:pt x="3810608" y="593367"/>
                  <a:pt x="3804774" y="599594"/>
                  <a:pt x="3796752" y="599594"/>
                </a:cubicBezTo>
                <a:cubicBezTo>
                  <a:pt x="3790918" y="599594"/>
                  <a:pt x="3784355" y="593367"/>
                  <a:pt x="3784355" y="584805"/>
                </a:cubicBezTo>
                <a:cubicBezTo>
                  <a:pt x="3784355" y="576244"/>
                  <a:pt x="3790918" y="570017"/>
                  <a:pt x="3796752" y="570017"/>
                </a:cubicBezTo>
                <a:close/>
                <a:moveTo>
                  <a:pt x="3725922" y="570017"/>
                </a:moveTo>
                <a:cubicBezTo>
                  <a:pt x="3733944" y="570017"/>
                  <a:pt x="3739778" y="576244"/>
                  <a:pt x="3739778" y="584805"/>
                </a:cubicBezTo>
                <a:cubicBezTo>
                  <a:pt x="3739778" y="593367"/>
                  <a:pt x="3733944" y="599594"/>
                  <a:pt x="3725922" y="599594"/>
                </a:cubicBezTo>
                <a:cubicBezTo>
                  <a:pt x="3719359" y="599594"/>
                  <a:pt x="3713525" y="593367"/>
                  <a:pt x="3713525" y="584805"/>
                </a:cubicBezTo>
                <a:cubicBezTo>
                  <a:pt x="3713525" y="576244"/>
                  <a:pt x="3719359" y="570017"/>
                  <a:pt x="3725922" y="570017"/>
                </a:cubicBezTo>
                <a:close/>
                <a:moveTo>
                  <a:pt x="3655091" y="570017"/>
                </a:moveTo>
                <a:cubicBezTo>
                  <a:pt x="3662384" y="570017"/>
                  <a:pt x="3668947" y="574392"/>
                  <a:pt x="3668947" y="582414"/>
                </a:cubicBezTo>
                <a:cubicBezTo>
                  <a:pt x="3668947" y="590436"/>
                  <a:pt x="3662384" y="596271"/>
                  <a:pt x="3655091" y="596271"/>
                </a:cubicBezTo>
                <a:cubicBezTo>
                  <a:pt x="3647069" y="596271"/>
                  <a:pt x="3642694" y="590436"/>
                  <a:pt x="3642694" y="582414"/>
                </a:cubicBezTo>
                <a:cubicBezTo>
                  <a:pt x="3642694" y="574392"/>
                  <a:pt x="3647069" y="570017"/>
                  <a:pt x="3655091" y="570017"/>
                </a:cubicBezTo>
                <a:close/>
                <a:moveTo>
                  <a:pt x="3583280" y="570017"/>
                </a:moveTo>
                <a:cubicBezTo>
                  <a:pt x="3591064" y="570017"/>
                  <a:pt x="3598069" y="574392"/>
                  <a:pt x="3598069" y="582414"/>
                </a:cubicBezTo>
                <a:cubicBezTo>
                  <a:pt x="3598069" y="590436"/>
                  <a:pt x="3591064" y="596271"/>
                  <a:pt x="3583280" y="596271"/>
                </a:cubicBezTo>
                <a:cubicBezTo>
                  <a:pt x="3574718" y="596271"/>
                  <a:pt x="3568491" y="590436"/>
                  <a:pt x="3568491" y="582414"/>
                </a:cubicBezTo>
                <a:cubicBezTo>
                  <a:pt x="3568491" y="574392"/>
                  <a:pt x="3574718" y="570017"/>
                  <a:pt x="3583280" y="570017"/>
                </a:cubicBezTo>
                <a:close/>
                <a:moveTo>
                  <a:pt x="3512449" y="570017"/>
                </a:moveTo>
                <a:cubicBezTo>
                  <a:pt x="3520232" y="570017"/>
                  <a:pt x="3527237" y="574392"/>
                  <a:pt x="3527237" y="582414"/>
                </a:cubicBezTo>
                <a:cubicBezTo>
                  <a:pt x="3527237" y="590436"/>
                  <a:pt x="3520232" y="596271"/>
                  <a:pt x="3512449" y="596271"/>
                </a:cubicBezTo>
                <a:cubicBezTo>
                  <a:pt x="3503887" y="596271"/>
                  <a:pt x="3497661" y="590436"/>
                  <a:pt x="3497661" y="582414"/>
                </a:cubicBezTo>
                <a:cubicBezTo>
                  <a:pt x="3497661" y="574392"/>
                  <a:pt x="3503887" y="570017"/>
                  <a:pt x="3512449" y="570017"/>
                </a:cubicBezTo>
                <a:close/>
                <a:moveTo>
                  <a:pt x="3441619" y="570017"/>
                </a:moveTo>
                <a:cubicBezTo>
                  <a:pt x="3450181" y="570017"/>
                  <a:pt x="3456408" y="574392"/>
                  <a:pt x="3456408" y="582414"/>
                </a:cubicBezTo>
                <a:cubicBezTo>
                  <a:pt x="3456408" y="590436"/>
                  <a:pt x="3450181" y="596271"/>
                  <a:pt x="3441619" y="596271"/>
                </a:cubicBezTo>
                <a:cubicBezTo>
                  <a:pt x="3433835" y="596271"/>
                  <a:pt x="3426830" y="590436"/>
                  <a:pt x="3426830" y="582414"/>
                </a:cubicBezTo>
                <a:cubicBezTo>
                  <a:pt x="3426830" y="574392"/>
                  <a:pt x="3433835" y="570017"/>
                  <a:pt x="3441619" y="570017"/>
                </a:cubicBezTo>
                <a:close/>
                <a:moveTo>
                  <a:pt x="3369857" y="570017"/>
                </a:moveTo>
                <a:cubicBezTo>
                  <a:pt x="3377879" y="570017"/>
                  <a:pt x="3382254" y="574392"/>
                  <a:pt x="3382254" y="582414"/>
                </a:cubicBezTo>
                <a:cubicBezTo>
                  <a:pt x="3382254" y="590436"/>
                  <a:pt x="3377879" y="596271"/>
                  <a:pt x="3369857" y="596271"/>
                </a:cubicBezTo>
                <a:cubicBezTo>
                  <a:pt x="3362564" y="596271"/>
                  <a:pt x="3356001" y="590436"/>
                  <a:pt x="3356001" y="582414"/>
                </a:cubicBezTo>
                <a:cubicBezTo>
                  <a:pt x="3356001" y="574392"/>
                  <a:pt x="3362564" y="570017"/>
                  <a:pt x="3369857" y="570017"/>
                </a:cubicBezTo>
                <a:close/>
                <a:moveTo>
                  <a:pt x="3299091" y="570017"/>
                </a:moveTo>
                <a:cubicBezTo>
                  <a:pt x="3305656" y="570017"/>
                  <a:pt x="3311491" y="574392"/>
                  <a:pt x="3311491" y="582414"/>
                </a:cubicBezTo>
                <a:cubicBezTo>
                  <a:pt x="3311491" y="590436"/>
                  <a:pt x="3305656" y="596271"/>
                  <a:pt x="3299091" y="596271"/>
                </a:cubicBezTo>
                <a:cubicBezTo>
                  <a:pt x="3291802" y="596271"/>
                  <a:pt x="3285240" y="590436"/>
                  <a:pt x="3285240" y="582414"/>
                </a:cubicBezTo>
                <a:cubicBezTo>
                  <a:pt x="3285240" y="574392"/>
                  <a:pt x="3291802" y="570017"/>
                  <a:pt x="3299091" y="570017"/>
                </a:cubicBezTo>
                <a:close/>
                <a:moveTo>
                  <a:pt x="3226803" y="570017"/>
                </a:moveTo>
                <a:cubicBezTo>
                  <a:pt x="3234823" y="570017"/>
                  <a:pt x="3240660" y="574392"/>
                  <a:pt x="3240660" y="582414"/>
                </a:cubicBezTo>
                <a:cubicBezTo>
                  <a:pt x="3240660" y="590436"/>
                  <a:pt x="3234823" y="596271"/>
                  <a:pt x="3226803" y="596271"/>
                </a:cubicBezTo>
                <a:cubicBezTo>
                  <a:pt x="3220242" y="596271"/>
                  <a:pt x="3214406" y="590436"/>
                  <a:pt x="3214406" y="582414"/>
                </a:cubicBezTo>
                <a:cubicBezTo>
                  <a:pt x="3214406" y="574392"/>
                  <a:pt x="3220242" y="570017"/>
                  <a:pt x="3226803" y="570017"/>
                </a:cubicBezTo>
                <a:close/>
                <a:moveTo>
                  <a:pt x="3152600" y="570017"/>
                </a:moveTo>
                <a:cubicBezTo>
                  <a:pt x="3159892" y="570017"/>
                  <a:pt x="3166454" y="574392"/>
                  <a:pt x="3166454" y="582414"/>
                </a:cubicBezTo>
                <a:cubicBezTo>
                  <a:pt x="3166454" y="590436"/>
                  <a:pt x="3159892" y="596271"/>
                  <a:pt x="3152600" y="596271"/>
                </a:cubicBezTo>
                <a:cubicBezTo>
                  <a:pt x="3146037" y="596271"/>
                  <a:pt x="3140203" y="590436"/>
                  <a:pt x="3140203" y="582414"/>
                </a:cubicBezTo>
                <a:cubicBezTo>
                  <a:pt x="3140203" y="574392"/>
                  <a:pt x="3146037" y="570017"/>
                  <a:pt x="3152600" y="570017"/>
                </a:cubicBezTo>
                <a:close/>
                <a:moveTo>
                  <a:pt x="3081770" y="570017"/>
                </a:moveTo>
                <a:cubicBezTo>
                  <a:pt x="3089064" y="570017"/>
                  <a:pt x="3095622" y="575851"/>
                  <a:pt x="3095622" y="582414"/>
                </a:cubicBezTo>
                <a:cubicBezTo>
                  <a:pt x="3095622" y="590436"/>
                  <a:pt x="3089064" y="596271"/>
                  <a:pt x="3081770" y="596271"/>
                </a:cubicBezTo>
                <a:cubicBezTo>
                  <a:pt x="3073746" y="596271"/>
                  <a:pt x="3069369" y="590436"/>
                  <a:pt x="3069369" y="582414"/>
                </a:cubicBezTo>
                <a:cubicBezTo>
                  <a:pt x="3069369" y="575851"/>
                  <a:pt x="3073746" y="570017"/>
                  <a:pt x="3081770" y="570017"/>
                </a:cubicBezTo>
                <a:close/>
                <a:moveTo>
                  <a:pt x="3013712" y="570017"/>
                </a:moveTo>
                <a:cubicBezTo>
                  <a:pt x="3021305" y="570017"/>
                  <a:pt x="3028132" y="575851"/>
                  <a:pt x="3028132" y="582414"/>
                </a:cubicBezTo>
                <a:cubicBezTo>
                  <a:pt x="3028132" y="590436"/>
                  <a:pt x="3021305" y="596271"/>
                  <a:pt x="3013712" y="596271"/>
                </a:cubicBezTo>
                <a:cubicBezTo>
                  <a:pt x="3005366" y="596271"/>
                  <a:pt x="2998537" y="590436"/>
                  <a:pt x="2998537" y="582414"/>
                </a:cubicBezTo>
                <a:cubicBezTo>
                  <a:pt x="2998537" y="575851"/>
                  <a:pt x="3005366" y="570017"/>
                  <a:pt x="3013712" y="570017"/>
                </a:cubicBezTo>
                <a:close/>
                <a:moveTo>
                  <a:pt x="2942491" y="570017"/>
                </a:moveTo>
                <a:cubicBezTo>
                  <a:pt x="2951049" y="570017"/>
                  <a:pt x="2957285" y="575851"/>
                  <a:pt x="2957285" y="582414"/>
                </a:cubicBezTo>
                <a:cubicBezTo>
                  <a:pt x="2957285" y="590436"/>
                  <a:pt x="2951049" y="596271"/>
                  <a:pt x="2942491" y="596271"/>
                </a:cubicBezTo>
                <a:cubicBezTo>
                  <a:pt x="2934710" y="596271"/>
                  <a:pt x="2927705" y="590436"/>
                  <a:pt x="2927705" y="582414"/>
                </a:cubicBezTo>
                <a:cubicBezTo>
                  <a:pt x="2927705" y="575851"/>
                  <a:pt x="2934710" y="570017"/>
                  <a:pt x="2942491" y="570017"/>
                </a:cubicBezTo>
                <a:close/>
                <a:moveTo>
                  <a:pt x="2868288" y="570017"/>
                </a:moveTo>
                <a:cubicBezTo>
                  <a:pt x="2876856" y="570017"/>
                  <a:pt x="2883082" y="575851"/>
                  <a:pt x="2883082" y="582414"/>
                </a:cubicBezTo>
                <a:cubicBezTo>
                  <a:pt x="2883082" y="590436"/>
                  <a:pt x="2876856" y="596271"/>
                  <a:pt x="2868288" y="596271"/>
                </a:cubicBezTo>
                <a:cubicBezTo>
                  <a:pt x="2860506" y="596271"/>
                  <a:pt x="2853502" y="590436"/>
                  <a:pt x="2853502" y="582414"/>
                </a:cubicBezTo>
                <a:cubicBezTo>
                  <a:pt x="2853502" y="575851"/>
                  <a:pt x="2860506" y="570017"/>
                  <a:pt x="2868288" y="570017"/>
                </a:cubicBezTo>
                <a:close/>
                <a:moveTo>
                  <a:pt x="2796532" y="570017"/>
                </a:moveTo>
                <a:cubicBezTo>
                  <a:pt x="2804552" y="570017"/>
                  <a:pt x="2808931" y="575851"/>
                  <a:pt x="2808931" y="582414"/>
                </a:cubicBezTo>
                <a:cubicBezTo>
                  <a:pt x="2808931" y="590436"/>
                  <a:pt x="2804552" y="596271"/>
                  <a:pt x="2796532" y="596271"/>
                </a:cubicBezTo>
                <a:cubicBezTo>
                  <a:pt x="2789240" y="596271"/>
                  <a:pt x="2782675" y="590436"/>
                  <a:pt x="2782675" y="582414"/>
                </a:cubicBezTo>
                <a:cubicBezTo>
                  <a:pt x="2782675" y="575851"/>
                  <a:pt x="2789240" y="570017"/>
                  <a:pt x="2796532" y="570017"/>
                </a:cubicBezTo>
                <a:close/>
                <a:moveTo>
                  <a:pt x="2725695" y="570017"/>
                </a:moveTo>
                <a:cubicBezTo>
                  <a:pt x="2731529" y="570017"/>
                  <a:pt x="2738097" y="575851"/>
                  <a:pt x="2738097" y="582414"/>
                </a:cubicBezTo>
                <a:cubicBezTo>
                  <a:pt x="2738097" y="590436"/>
                  <a:pt x="2731529" y="596271"/>
                  <a:pt x="2725695" y="596271"/>
                </a:cubicBezTo>
                <a:cubicBezTo>
                  <a:pt x="2717681" y="596271"/>
                  <a:pt x="2711843" y="590436"/>
                  <a:pt x="2711843" y="582414"/>
                </a:cubicBezTo>
                <a:cubicBezTo>
                  <a:pt x="2711843" y="575851"/>
                  <a:pt x="2717681" y="570017"/>
                  <a:pt x="2725695" y="570017"/>
                </a:cubicBezTo>
                <a:close/>
                <a:moveTo>
                  <a:pt x="2654867" y="570017"/>
                </a:moveTo>
                <a:cubicBezTo>
                  <a:pt x="2660705" y="570017"/>
                  <a:pt x="2667266" y="575851"/>
                  <a:pt x="2667266" y="582414"/>
                </a:cubicBezTo>
                <a:cubicBezTo>
                  <a:pt x="2667266" y="590436"/>
                  <a:pt x="2660705" y="596271"/>
                  <a:pt x="2654867" y="596271"/>
                </a:cubicBezTo>
                <a:cubicBezTo>
                  <a:pt x="2646847" y="596271"/>
                  <a:pt x="2641013" y="590436"/>
                  <a:pt x="2641013" y="582414"/>
                </a:cubicBezTo>
                <a:cubicBezTo>
                  <a:pt x="2641013" y="575851"/>
                  <a:pt x="2646847" y="570017"/>
                  <a:pt x="2654867" y="570017"/>
                </a:cubicBezTo>
                <a:close/>
                <a:moveTo>
                  <a:pt x="2582580" y="570017"/>
                </a:moveTo>
                <a:cubicBezTo>
                  <a:pt x="2589873" y="570017"/>
                  <a:pt x="2596435" y="575851"/>
                  <a:pt x="2596435" y="582414"/>
                </a:cubicBezTo>
                <a:cubicBezTo>
                  <a:pt x="2596435" y="590436"/>
                  <a:pt x="2589873" y="596271"/>
                  <a:pt x="2582580" y="596271"/>
                </a:cubicBezTo>
                <a:cubicBezTo>
                  <a:pt x="2576018" y="596271"/>
                  <a:pt x="2570184" y="590436"/>
                  <a:pt x="2570184" y="582414"/>
                </a:cubicBezTo>
                <a:cubicBezTo>
                  <a:pt x="2570184" y="575851"/>
                  <a:pt x="2576018" y="570017"/>
                  <a:pt x="2582580" y="570017"/>
                </a:cubicBezTo>
                <a:close/>
                <a:moveTo>
                  <a:pt x="2511026" y="570017"/>
                </a:moveTo>
                <a:cubicBezTo>
                  <a:pt x="2519047" y="570017"/>
                  <a:pt x="2525610" y="575851"/>
                  <a:pt x="2525610" y="582414"/>
                </a:cubicBezTo>
                <a:cubicBezTo>
                  <a:pt x="2525610" y="590436"/>
                  <a:pt x="2519047" y="596271"/>
                  <a:pt x="2511026" y="596271"/>
                </a:cubicBezTo>
                <a:cubicBezTo>
                  <a:pt x="2505193" y="596271"/>
                  <a:pt x="2499358" y="590436"/>
                  <a:pt x="2499358" y="582414"/>
                </a:cubicBezTo>
                <a:cubicBezTo>
                  <a:pt x="2499358" y="575851"/>
                  <a:pt x="2505193" y="570017"/>
                  <a:pt x="2511026" y="570017"/>
                </a:cubicBezTo>
                <a:close/>
                <a:moveTo>
                  <a:pt x="2440921" y="570017"/>
                </a:moveTo>
                <a:cubicBezTo>
                  <a:pt x="2448943" y="570017"/>
                  <a:pt x="2454778" y="575851"/>
                  <a:pt x="2454778" y="582414"/>
                </a:cubicBezTo>
                <a:cubicBezTo>
                  <a:pt x="2454778" y="590436"/>
                  <a:pt x="2448943" y="596271"/>
                  <a:pt x="2440921" y="596271"/>
                </a:cubicBezTo>
                <a:cubicBezTo>
                  <a:pt x="2433632" y="596271"/>
                  <a:pt x="2428525" y="590436"/>
                  <a:pt x="2428525" y="582414"/>
                </a:cubicBezTo>
                <a:cubicBezTo>
                  <a:pt x="2428525" y="575851"/>
                  <a:pt x="2433632" y="570017"/>
                  <a:pt x="2440921" y="570017"/>
                </a:cubicBezTo>
                <a:close/>
                <a:moveTo>
                  <a:pt x="2369108" y="570017"/>
                </a:moveTo>
                <a:cubicBezTo>
                  <a:pt x="2377669" y="570017"/>
                  <a:pt x="2383896" y="575851"/>
                  <a:pt x="2383896" y="582414"/>
                </a:cubicBezTo>
                <a:cubicBezTo>
                  <a:pt x="2383896" y="590436"/>
                  <a:pt x="2377669" y="596271"/>
                  <a:pt x="2369108" y="596271"/>
                </a:cubicBezTo>
                <a:cubicBezTo>
                  <a:pt x="2361324" y="596271"/>
                  <a:pt x="2354319" y="590436"/>
                  <a:pt x="2354319" y="582414"/>
                </a:cubicBezTo>
                <a:cubicBezTo>
                  <a:pt x="2354319" y="575851"/>
                  <a:pt x="2361324" y="570017"/>
                  <a:pt x="2369108" y="570017"/>
                </a:cubicBezTo>
                <a:close/>
                <a:moveTo>
                  <a:pt x="2298275" y="570017"/>
                </a:moveTo>
                <a:cubicBezTo>
                  <a:pt x="2306839" y="570017"/>
                  <a:pt x="2313064" y="575851"/>
                  <a:pt x="2313064" y="582414"/>
                </a:cubicBezTo>
                <a:cubicBezTo>
                  <a:pt x="2313064" y="590436"/>
                  <a:pt x="2306839" y="596271"/>
                  <a:pt x="2298275" y="596271"/>
                </a:cubicBezTo>
                <a:cubicBezTo>
                  <a:pt x="2290494" y="596271"/>
                  <a:pt x="2283487" y="590436"/>
                  <a:pt x="2283487" y="582414"/>
                </a:cubicBezTo>
                <a:cubicBezTo>
                  <a:pt x="2283487" y="575851"/>
                  <a:pt x="2290494" y="570017"/>
                  <a:pt x="2298275" y="570017"/>
                </a:cubicBezTo>
                <a:close/>
                <a:moveTo>
                  <a:pt x="2226512" y="570017"/>
                </a:moveTo>
                <a:cubicBezTo>
                  <a:pt x="2234534" y="570017"/>
                  <a:pt x="2238911" y="575851"/>
                  <a:pt x="2238911" y="582414"/>
                </a:cubicBezTo>
                <a:cubicBezTo>
                  <a:pt x="2238911" y="590436"/>
                  <a:pt x="2234534" y="596271"/>
                  <a:pt x="2226512" y="596271"/>
                </a:cubicBezTo>
                <a:cubicBezTo>
                  <a:pt x="2218490" y="596271"/>
                  <a:pt x="2212655" y="590436"/>
                  <a:pt x="2212655" y="582414"/>
                </a:cubicBezTo>
                <a:cubicBezTo>
                  <a:pt x="2212655" y="575851"/>
                  <a:pt x="2218490" y="570017"/>
                  <a:pt x="2226512" y="570017"/>
                </a:cubicBezTo>
                <a:close/>
                <a:moveTo>
                  <a:pt x="2155680" y="570017"/>
                </a:moveTo>
                <a:cubicBezTo>
                  <a:pt x="2161514" y="570017"/>
                  <a:pt x="2168079" y="575851"/>
                  <a:pt x="2168079" y="582414"/>
                </a:cubicBezTo>
                <a:cubicBezTo>
                  <a:pt x="2168079" y="590436"/>
                  <a:pt x="2161514" y="596271"/>
                  <a:pt x="2155680" y="596271"/>
                </a:cubicBezTo>
                <a:cubicBezTo>
                  <a:pt x="2147658" y="596271"/>
                  <a:pt x="2141823" y="590436"/>
                  <a:pt x="2141823" y="582414"/>
                </a:cubicBezTo>
                <a:cubicBezTo>
                  <a:pt x="2141823" y="575851"/>
                  <a:pt x="2147658" y="570017"/>
                  <a:pt x="2155680" y="570017"/>
                </a:cubicBezTo>
                <a:close/>
                <a:moveTo>
                  <a:pt x="2084846" y="570017"/>
                </a:moveTo>
                <a:cubicBezTo>
                  <a:pt x="2090680" y="570017"/>
                  <a:pt x="2097246" y="575851"/>
                  <a:pt x="2097246" y="582414"/>
                </a:cubicBezTo>
                <a:cubicBezTo>
                  <a:pt x="2097246" y="590436"/>
                  <a:pt x="2090680" y="596271"/>
                  <a:pt x="2084846" y="596271"/>
                </a:cubicBezTo>
                <a:cubicBezTo>
                  <a:pt x="2076824" y="596271"/>
                  <a:pt x="2070989" y="590436"/>
                  <a:pt x="2070989" y="582414"/>
                </a:cubicBezTo>
                <a:cubicBezTo>
                  <a:pt x="2070989" y="575851"/>
                  <a:pt x="2076824" y="570017"/>
                  <a:pt x="2084846" y="570017"/>
                </a:cubicBezTo>
                <a:close/>
                <a:moveTo>
                  <a:pt x="2011831" y="570017"/>
                </a:moveTo>
                <a:cubicBezTo>
                  <a:pt x="2019854" y="570017"/>
                  <a:pt x="2026416" y="575851"/>
                  <a:pt x="2026416" y="582414"/>
                </a:cubicBezTo>
                <a:cubicBezTo>
                  <a:pt x="2026416" y="590436"/>
                  <a:pt x="2019854" y="596271"/>
                  <a:pt x="2011831" y="596271"/>
                </a:cubicBezTo>
                <a:cubicBezTo>
                  <a:pt x="2005997" y="596271"/>
                  <a:pt x="2000163" y="590436"/>
                  <a:pt x="2000163" y="582414"/>
                </a:cubicBezTo>
                <a:cubicBezTo>
                  <a:pt x="2000163" y="575851"/>
                  <a:pt x="2005997" y="570017"/>
                  <a:pt x="2011831" y="570017"/>
                </a:cubicBezTo>
                <a:close/>
                <a:moveTo>
                  <a:pt x="1938359" y="570017"/>
                </a:moveTo>
                <a:cubicBezTo>
                  <a:pt x="1946379" y="570017"/>
                  <a:pt x="1952216" y="575851"/>
                  <a:pt x="1952216" y="583873"/>
                </a:cubicBezTo>
                <a:cubicBezTo>
                  <a:pt x="1952216" y="590436"/>
                  <a:pt x="1946379" y="596271"/>
                  <a:pt x="1938359" y="596271"/>
                </a:cubicBezTo>
                <a:cubicBezTo>
                  <a:pt x="1932525" y="596271"/>
                  <a:pt x="1925962" y="590436"/>
                  <a:pt x="1925962" y="583873"/>
                </a:cubicBezTo>
                <a:cubicBezTo>
                  <a:pt x="1925962" y="575851"/>
                  <a:pt x="1932525" y="570017"/>
                  <a:pt x="1938359" y="570017"/>
                </a:cubicBezTo>
                <a:close/>
                <a:moveTo>
                  <a:pt x="1867522" y="570017"/>
                </a:moveTo>
                <a:cubicBezTo>
                  <a:pt x="1875545" y="570017"/>
                  <a:pt x="1881382" y="575851"/>
                  <a:pt x="1881382" y="583873"/>
                </a:cubicBezTo>
                <a:cubicBezTo>
                  <a:pt x="1881382" y="590436"/>
                  <a:pt x="1875545" y="596271"/>
                  <a:pt x="1867522" y="596271"/>
                </a:cubicBezTo>
                <a:cubicBezTo>
                  <a:pt x="1860229" y="596271"/>
                  <a:pt x="1855124" y="590436"/>
                  <a:pt x="1855124" y="583873"/>
                </a:cubicBezTo>
                <a:cubicBezTo>
                  <a:pt x="1855124" y="575851"/>
                  <a:pt x="1860229" y="570017"/>
                  <a:pt x="1867522" y="570017"/>
                </a:cubicBezTo>
                <a:close/>
                <a:moveTo>
                  <a:pt x="1799082" y="570017"/>
                </a:moveTo>
                <a:cubicBezTo>
                  <a:pt x="1807643" y="570017"/>
                  <a:pt x="1813871" y="575851"/>
                  <a:pt x="1813871" y="583873"/>
                </a:cubicBezTo>
                <a:cubicBezTo>
                  <a:pt x="1813871" y="590436"/>
                  <a:pt x="1807643" y="596271"/>
                  <a:pt x="1799082" y="596271"/>
                </a:cubicBezTo>
                <a:cubicBezTo>
                  <a:pt x="1790521" y="596271"/>
                  <a:pt x="1784295" y="590436"/>
                  <a:pt x="1784295" y="583873"/>
                </a:cubicBezTo>
                <a:cubicBezTo>
                  <a:pt x="1784295" y="575851"/>
                  <a:pt x="1790521" y="570017"/>
                  <a:pt x="1799082" y="570017"/>
                </a:cubicBezTo>
                <a:close/>
                <a:moveTo>
                  <a:pt x="1728257" y="570017"/>
                </a:moveTo>
                <a:cubicBezTo>
                  <a:pt x="1736820" y="570017"/>
                  <a:pt x="1743046" y="575851"/>
                  <a:pt x="1743046" y="583873"/>
                </a:cubicBezTo>
                <a:cubicBezTo>
                  <a:pt x="1743046" y="590436"/>
                  <a:pt x="1736820" y="596271"/>
                  <a:pt x="1728257" y="596271"/>
                </a:cubicBezTo>
                <a:cubicBezTo>
                  <a:pt x="1719694" y="596271"/>
                  <a:pt x="1713467" y="590436"/>
                  <a:pt x="1713467" y="583873"/>
                </a:cubicBezTo>
                <a:cubicBezTo>
                  <a:pt x="1713467" y="575851"/>
                  <a:pt x="1719694" y="570017"/>
                  <a:pt x="1728257" y="570017"/>
                </a:cubicBezTo>
                <a:close/>
                <a:moveTo>
                  <a:pt x="1657426" y="570017"/>
                </a:moveTo>
                <a:cubicBezTo>
                  <a:pt x="1665210" y="570017"/>
                  <a:pt x="1672218" y="575851"/>
                  <a:pt x="1672218" y="583873"/>
                </a:cubicBezTo>
                <a:cubicBezTo>
                  <a:pt x="1672218" y="590436"/>
                  <a:pt x="1665210" y="596271"/>
                  <a:pt x="1657426" y="596271"/>
                </a:cubicBezTo>
                <a:cubicBezTo>
                  <a:pt x="1648867" y="596271"/>
                  <a:pt x="1642647" y="590436"/>
                  <a:pt x="1642647" y="583873"/>
                </a:cubicBezTo>
                <a:cubicBezTo>
                  <a:pt x="1642647" y="575851"/>
                  <a:pt x="1648867" y="570017"/>
                  <a:pt x="1657426" y="570017"/>
                </a:cubicBezTo>
                <a:close/>
                <a:moveTo>
                  <a:pt x="1582294" y="570017"/>
                </a:moveTo>
                <a:cubicBezTo>
                  <a:pt x="1589587" y="570017"/>
                  <a:pt x="1594694" y="575851"/>
                  <a:pt x="1594694" y="583873"/>
                </a:cubicBezTo>
                <a:cubicBezTo>
                  <a:pt x="1594694" y="590436"/>
                  <a:pt x="1589587" y="596271"/>
                  <a:pt x="1582294" y="596271"/>
                </a:cubicBezTo>
                <a:cubicBezTo>
                  <a:pt x="1574271" y="596271"/>
                  <a:pt x="1568438" y="590436"/>
                  <a:pt x="1568438" y="583873"/>
                </a:cubicBezTo>
                <a:cubicBezTo>
                  <a:pt x="1568438" y="575851"/>
                  <a:pt x="1574271" y="570017"/>
                  <a:pt x="1582294" y="570017"/>
                </a:cubicBezTo>
                <a:close/>
                <a:moveTo>
                  <a:pt x="1512190" y="570017"/>
                </a:moveTo>
                <a:cubicBezTo>
                  <a:pt x="1518025" y="570017"/>
                  <a:pt x="1523859" y="575851"/>
                  <a:pt x="1523859" y="583873"/>
                </a:cubicBezTo>
                <a:cubicBezTo>
                  <a:pt x="1523859" y="590436"/>
                  <a:pt x="1518025" y="596271"/>
                  <a:pt x="1512190" y="596271"/>
                </a:cubicBezTo>
                <a:cubicBezTo>
                  <a:pt x="1504169" y="596271"/>
                  <a:pt x="1497607" y="590436"/>
                  <a:pt x="1497607" y="583873"/>
                </a:cubicBezTo>
                <a:cubicBezTo>
                  <a:pt x="1497607" y="575851"/>
                  <a:pt x="1504169" y="570017"/>
                  <a:pt x="1512190" y="570017"/>
                </a:cubicBezTo>
                <a:close/>
                <a:moveTo>
                  <a:pt x="1440623" y="570017"/>
                </a:moveTo>
                <a:cubicBezTo>
                  <a:pt x="1447188" y="570017"/>
                  <a:pt x="1453020" y="575851"/>
                  <a:pt x="1453020" y="583873"/>
                </a:cubicBezTo>
                <a:cubicBezTo>
                  <a:pt x="1453020" y="590436"/>
                  <a:pt x="1447188" y="596271"/>
                  <a:pt x="1440623" y="596271"/>
                </a:cubicBezTo>
                <a:cubicBezTo>
                  <a:pt x="1433333" y="596271"/>
                  <a:pt x="1426771" y="590436"/>
                  <a:pt x="1426771" y="583873"/>
                </a:cubicBezTo>
                <a:cubicBezTo>
                  <a:pt x="1426771" y="575851"/>
                  <a:pt x="1433333" y="570017"/>
                  <a:pt x="1440623" y="570017"/>
                </a:cubicBezTo>
                <a:close/>
                <a:moveTo>
                  <a:pt x="1368341" y="570017"/>
                </a:moveTo>
                <a:cubicBezTo>
                  <a:pt x="1376363" y="570017"/>
                  <a:pt x="1382194" y="575851"/>
                  <a:pt x="1382194" y="583873"/>
                </a:cubicBezTo>
                <a:cubicBezTo>
                  <a:pt x="1382194" y="590436"/>
                  <a:pt x="1376363" y="596271"/>
                  <a:pt x="1368341" y="596271"/>
                </a:cubicBezTo>
                <a:cubicBezTo>
                  <a:pt x="1362508" y="596271"/>
                  <a:pt x="1355945" y="590436"/>
                  <a:pt x="1355945" y="583873"/>
                </a:cubicBezTo>
                <a:cubicBezTo>
                  <a:pt x="1355945" y="575851"/>
                  <a:pt x="1362508" y="570017"/>
                  <a:pt x="1368341" y="570017"/>
                </a:cubicBezTo>
                <a:close/>
                <a:moveTo>
                  <a:pt x="1297515" y="570017"/>
                </a:moveTo>
                <a:cubicBezTo>
                  <a:pt x="1305535" y="570017"/>
                  <a:pt x="1311369" y="575851"/>
                  <a:pt x="1311369" y="583873"/>
                </a:cubicBezTo>
                <a:cubicBezTo>
                  <a:pt x="1311369" y="590436"/>
                  <a:pt x="1305535" y="596271"/>
                  <a:pt x="1297515" y="596271"/>
                </a:cubicBezTo>
                <a:cubicBezTo>
                  <a:pt x="1291680" y="596271"/>
                  <a:pt x="1285116" y="590436"/>
                  <a:pt x="1285116" y="583873"/>
                </a:cubicBezTo>
                <a:cubicBezTo>
                  <a:pt x="1285116" y="575851"/>
                  <a:pt x="1289492" y="570017"/>
                  <a:pt x="1297515" y="570017"/>
                </a:cubicBezTo>
                <a:close/>
                <a:moveTo>
                  <a:pt x="1226680" y="570017"/>
                </a:moveTo>
                <a:cubicBezTo>
                  <a:pt x="1233973" y="570017"/>
                  <a:pt x="1240537" y="575851"/>
                  <a:pt x="1240537" y="583873"/>
                </a:cubicBezTo>
                <a:cubicBezTo>
                  <a:pt x="1240537" y="590436"/>
                  <a:pt x="1233973" y="596271"/>
                  <a:pt x="1226680" y="596271"/>
                </a:cubicBezTo>
                <a:cubicBezTo>
                  <a:pt x="1218671" y="596271"/>
                  <a:pt x="1214296" y="590436"/>
                  <a:pt x="1214296" y="583873"/>
                </a:cubicBezTo>
                <a:cubicBezTo>
                  <a:pt x="1214296" y="575851"/>
                  <a:pt x="1218671" y="570017"/>
                  <a:pt x="1226680" y="570017"/>
                </a:cubicBezTo>
                <a:close/>
                <a:moveTo>
                  <a:pt x="1154879" y="570017"/>
                </a:moveTo>
                <a:cubicBezTo>
                  <a:pt x="1162662" y="570017"/>
                  <a:pt x="1169669" y="575851"/>
                  <a:pt x="1169669" y="583873"/>
                </a:cubicBezTo>
                <a:cubicBezTo>
                  <a:pt x="1169669" y="590436"/>
                  <a:pt x="1162662" y="596271"/>
                  <a:pt x="1154879" y="596271"/>
                </a:cubicBezTo>
                <a:cubicBezTo>
                  <a:pt x="1146319" y="596271"/>
                  <a:pt x="1140090" y="590436"/>
                  <a:pt x="1140090" y="583873"/>
                </a:cubicBezTo>
                <a:cubicBezTo>
                  <a:pt x="1140090" y="575851"/>
                  <a:pt x="1146319" y="570017"/>
                  <a:pt x="1154879" y="570017"/>
                </a:cubicBezTo>
                <a:close/>
                <a:moveTo>
                  <a:pt x="1084053" y="570017"/>
                </a:moveTo>
                <a:cubicBezTo>
                  <a:pt x="1091836" y="570017"/>
                  <a:pt x="1098840" y="575851"/>
                  <a:pt x="1098840" y="583873"/>
                </a:cubicBezTo>
                <a:cubicBezTo>
                  <a:pt x="1098840" y="590436"/>
                  <a:pt x="1091836" y="596271"/>
                  <a:pt x="1084053" y="596271"/>
                </a:cubicBezTo>
                <a:cubicBezTo>
                  <a:pt x="1075487" y="596271"/>
                  <a:pt x="1069263" y="590436"/>
                  <a:pt x="1069263" y="583873"/>
                </a:cubicBezTo>
                <a:cubicBezTo>
                  <a:pt x="1069263" y="575851"/>
                  <a:pt x="1075487" y="570017"/>
                  <a:pt x="1084053" y="570017"/>
                </a:cubicBezTo>
                <a:close/>
                <a:moveTo>
                  <a:pt x="1013010" y="570017"/>
                </a:moveTo>
                <a:cubicBezTo>
                  <a:pt x="1020306" y="570017"/>
                  <a:pt x="1024682" y="575851"/>
                  <a:pt x="1024682" y="583873"/>
                </a:cubicBezTo>
                <a:cubicBezTo>
                  <a:pt x="1024682" y="590436"/>
                  <a:pt x="1020306" y="596271"/>
                  <a:pt x="1013010" y="596271"/>
                </a:cubicBezTo>
                <a:cubicBezTo>
                  <a:pt x="1004991" y="596271"/>
                  <a:pt x="998433" y="590436"/>
                  <a:pt x="998433" y="583873"/>
                </a:cubicBezTo>
                <a:cubicBezTo>
                  <a:pt x="998433" y="575851"/>
                  <a:pt x="1004991" y="570017"/>
                  <a:pt x="1013010" y="570017"/>
                </a:cubicBezTo>
                <a:close/>
                <a:moveTo>
                  <a:pt x="941458" y="570017"/>
                </a:moveTo>
                <a:cubicBezTo>
                  <a:pt x="948019" y="570017"/>
                  <a:pt x="953857" y="575851"/>
                  <a:pt x="953857" y="583873"/>
                </a:cubicBezTo>
                <a:cubicBezTo>
                  <a:pt x="953857" y="590436"/>
                  <a:pt x="948019" y="596271"/>
                  <a:pt x="941458" y="596271"/>
                </a:cubicBezTo>
                <a:cubicBezTo>
                  <a:pt x="934166" y="596271"/>
                  <a:pt x="927601" y="590436"/>
                  <a:pt x="927601" y="583873"/>
                </a:cubicBezTo>
                <a:cubicBezTo>
                  <a:pt x="927601" y="575851"/>
                  <a:pt x="934166" y="570017"/>
                  <a:pt x="941458" y="570017"/>
                </a:cubicBezTo>
                <a:close/>
                <a:moveTo>
                  <a:pt x="870626" y="570017"/>
                </a:moveTo>
                <a:cubicBezTo>
                  <a:pt x="877192" y="570017"/>
                  <a:pt x="883027" y="575851"/>
                  <a:pt x="883027" y="583873"/>
                </a:cubicBezTo>
                <a:cubicBezTo>
                  <a:pt x="883027" y="590436"/>
                  <a:pt x="877192" y="596271"/>
                  <a:pt x="870626" y="596271"/>
                </a:cubicBezTo>
                <a:cubicBezTo>
                  <a:pt x="863333" y="596271"/>
                  <a:pt x="856772" y="591895"/>
                  <a:pt x="856772" y="583873"/>
                </a:cubicBezTo>
                <a:cubicBezTo>
                  <a:pt x="856772" y="575851"/>
                  <a:pt x="863333" y="570017"/>
                  <a:pt x="870626" y="570017"/>
                </a:cubicBezTo>
                <a:close/>
                <a:moveTo>
                  <a:pt x="798340" y="570017"/>
                </a:moveTo>
                <a:cubicBezTo>
                  <a:pt x="806360" y="570017"/>
                  <a:pt x="812193" y="575851"/>
                  <a:pt x="812193" y="583873"/>
                </a:cubicBezTo>
                <a:cubicBezTo>
                  <a:pt x="812193" y="591895"/>
                  <a:pt x="806360" y="596271"/>
                  <a:pt x="798340" y="596271"/>
                </a:cubicBezTo>
                <a:cubicBezTo>
                  <a:pt x="792504" y="596271"/>
                  <a:pt x="785941" y="591895"/>
                  <a:pt x="785941" y="583873"/>
                </a:cubicBezTo>
                <a:cubicBezTo>
                  <a:pt x="785941" y="575851"/>
                  <a:pt x="792504" y="570017"/>
                  <a:pt x="798340" y="570017"/>
                </a:cubicBezTo>
                <a:close/>
                <a:moveTo>
                  <a:pt x="724135" y="570017"/>
                </a:moveTo>
                <a:cubicBezTo>
                  <a:pt x="731429" y="570017"/>
                  <a:pt x="737991" y="575851"/>
                  <a:pt x="737991" y="583873"/>
                </a:cubicBezTo>
                <a:cubicBezTo>
                  <a:pt x="737991" y="591895"/>
                  <a:pt x="731429" y="596271"/>
                  <a:pt x="724135" y="596271"/>
                </a:cubicBezTo>
                <a:cubicBezTo>
                  <a:pt x="717571" y="596271"/>
                  <a:pt x="711737" y="591895"/>
                  <a:pt x="711737" y="583873"/>
                </a:cubicBezTo>
                <a:cubicBezTo>
                  <a:pt x="711737" y="575851"/>
                  <a:pt x="717571" y="570017"/>
                  <a:pt x="724135" y="570017"/>
                </a:cubicBezTo>
                <a:close/>
                <a:moveTo>
                  <a:pt x="653306" y="570017"/>
                </a:moveTo>
                <a:cubicBezTo>
                  <a:pt x="660598" y="570017"/>
                  <a:pt x="667161" y="575851"/>
                  <a:pt x="667161" y="583873"/>
                </a:cubicBezTo>
                <a:cubicBezTo>
                  <a:pt x="667161" y="591895"/>
                  <a:pt x="660598" y="596271"/>
                  <a:pt x="653306" y="596271"/>
                </a:cubicBezTo>
                <a:cubicBezTo>
                  <a:pt x="645286" y="596271"/>
                  <a:pt x="640910" y="591895"/>
                  <a:pt x="640910" y="583873"/>
                </a:cubicBezTo>
                <a:cubicBezTo>
                  <a:pt x="640910" y="575851"/>
                  <a:pt x="645286" y="570017"/>
                  <a:pt x="653306" y="570017"/>
                </a:cubicBezTo>
                <a:close/>
                <a:moveTo>
                  <a:pt x="584865" y="570017"/>
                </a:moveTo>
                <a:cubicBezTo>
                  <a:pt x="592648" y="570017"/>
                  <a:pt x="599654" y="575851"/>
                  <a:pt x="599654" y="583873"/>
                </a:cubicBezTo>
                <a:cubicBezTo>
                  <a:pt x="599654" y="591895"/>
                  <a:pt x="592648" y="596271"/>
                  <a:pt x="584865" y="596271"/>
                </a:cubicBezTo>
                <a:cubicBezTo>
                  <a:pt x="576307" y="596271"/>
                  <a:pt x="570076" y="591895"/>
                  <a:pt x="570076" y="583873"/>
                </a:cubicBezTo>
                <a:cubicBezTo>
                  <a:pt x="570076" y="575851"/>
                  <a:pt x="576307" y="570017"/>
                  <a:pt x="584865" y="570017"/>
                </a:cubicBezTo>
                <a:close/>
                <a:moveTo>
                  <a:pt x="513668" y="570017"/>
                </a:moveTo>
                <a:cubicBezTo>
                  <a:pt x="522015" y="570017"/>
                  <a:pt x="528846" y="575851"/>
                  <a:pt x="528846" y="583873"/>
                </a:cubicBezTo>
                <a:cubicBezTo>
                  <a:pt x="528846" y="591895"/>
                  <a:pt x="522015" y="596271"/>
                  <a:pt x="513668" y="596271"/>
                </a:cubicBezTo>
                <a:cubicBezTo>
                  <a:pt x="506076" y="596271"/>
                  <a:pt x="499248" y="591895"/>
                  <a:pt x="499248" y="583873"/>
                </a:cubicBezTo>
                <a:cubicBezTo>
                  <a:pt x="499248" y="575851"/>
                  <a:pt x="506076" y="570017"/>
                  <a:pt x="513668" y="570017"/>
                </a:cubicBezTo>
                <a:close/>
                <a:moveTo>
                  <a:pt x="439833" y="570017"/>
                </a:moveTo>
                <a:cubicBezTo>
                  <a:pt x="448394" y="570017"/>
                  <a:pt x="454623" y="575851"/>
                  <a:pt x="454623" y="583873"/>
                </a:cubicBezTo>
                <a:cubicBezTo>
                  <a:pt x="454623" y="591895"/>
                  <a:pt x="448394" y="596271"/>
                  <a:pt x="439833" y="596271"/>
                </a:cubicBezTo>
                <a:cubicBezTo>
                  <a:pt x="432049" y="596271"/>
                  <a:pt x="425044" y="591895"/>
                  <a:pt x="425044" y="583873"/>
                </a:cubicBezTo>
                <a:cubicBezTo>
                  <a:pt x="425044" y="575851"/>
                  <a:pt x="432049" y="570017"/>
                  <a:pt x="439833" y="570017"/>
                </a:cubicBezTo>
                <a:close/>
                <a:moveTo>
                  <a:pt x="368072" y="570017"/>
                </a:moveTo>
                <a:cubicBezTo>
                  <a:pt x="376089" y="570017"/>
                  <a:pt x="380467" y="575851"/>
                  <a:pt x="380467" y="583873"/>
                </a:cubicBezTo>
                <a:cubicBezTo>
                  <a:pt x="380467" y="591895"/>
                  <a:pt x="376089" y="596271"/>
                  <a:pt x="368072" y="596271"/>
                </a:cubicBezTo>
                <a:cubicBezTo>
                  <a:pt x="360778" y="596271"/>
                  <a:pt x="354211" y="591895"/>
                  <a:pt x="354211" y="583873"/>
                </a:cubicBezTo>
                <a:cubicBezTo>
                  <a:pt x="354211" y="575851"/>
                  <a:pt x="360778" y="570017"/>
                  <a:pt x="368072" y="570017"/>
                </a:cubicBezTo>
                <a:close/>
                <a:moveTo>
                  <a:pt x="3081772" y="499186"/>
                </a:moveTo>
                <a:cubicBezTo>
                  <a:pt x="3089064" y="499186"/>
                  <a:pt x="3095622" y="503561"/>
                  <a:pt x="3095622" y="511583"/>
                </a:cubicBezTo>
                <a:cubicBezTo>
                  <a:pt x="3095622" y="518876"/>
                  <a:pt x="3089064" y="525440"/>
                  <a:pt x="3081772" y="525440"/>
                </a:cubicBezTo>
                <a:cubicBezTo>
                  <a:pt x="3073748" y="525440"/>
                  <a:pt x="3069372" y="518876"/>
                  <a:pt x="3069372" y="511583"/>
                </a:cubicBezTo>
                <a:cubicBezTo>
                  <a:pt x="3069372" y="503561"/>
                  <a:pt x="3073748" y="499186"/>
                  <a:pt x="3081772" y="499186"/>
                </a:cubicBezTo>
                <a:close/>
                <a:moveTo>
                  <a:pt x="3013712" y="499186"/>
                </a:moveTo>
                <a:cubicBezTo>
                  <a:pt x="3021305" y="499186"/>
                  <a:pt x="3028135" y="503561"/>
                  <a:pt x="3028135" y="511583"/>
                </a:cubicBezTo>
                <a:cubicBezTo>
                  <a:pt x="3028135" y="518876"/>
                  <a:pt x="3021305" y="525440"/>
                  <a:pt x="3013712" y="525440"/>
                </a:cubicBezTo>
                <a:cubicBezTo>
                  <a:pt x="3005368" y="525440"/>
                  <a:pt x="2998539" y="518876"/>
                  <a:pt x="2998539" y="511583"/>
                </a:cubicBezTo>
                <a:cubicBezTo>
                  <a:pt x="2998539" y="503561"/>
                  <a:pt x="3005368" y="499186"/>
                  <a:pt x="3013712" y="499186"/>
                </a:cubicBezTo>
                <a:close/>
                <a:moveTo>
                  <a:pt x="2942491" y="499186"/>
                </a:moveTo>
                <a:cubicBezTo>
                  <a:pt x="2951052" y="499186"/>
                  <a:pt x="2957285" y="503561"/>
                  <a:pt x="2957285" y="511583"/>
                </a:cubicBezTo>
                <a:cubicBezTo>
                  <a:pt x="2957285" y="518876"/>
                  <a:pt x="2951052" y="525440"/>
                  <a:pt x="2942491" y="525440"/>
                </a:cubicBezTo>
                <a:cubicBezTo>
                  <a:pt x="2934710" y="525440"/>
                  <a:pt x="2927705" y="518876"/>
                  <a:pt x="2927705" y="511583"/>
                </a:cubicBezTo>
                <a:cubicBezTo>
                  <a:pt x="2927705" y="503561"/>
                  <a:pt x="2934710" y="499186"/>
                  <a:pt x="2942491" y="499186"/>
                </a:cubicBezTo>
                <a:close/>
                <a:moveTo>
                  <a:pt x="2868291" y="499186"/>
                </a:moveTo>
                <a:cubicBezTo>
                  <a:pt x="2876856" y="499186"/>
                  <a:pt x="2883082" y="503561"/>
                  <a:pt x="2883082" y="511583"/>
                </a:cubicBezTo>
                <a:cubicBezTo>
                  <a:pt x="2883082" y="518876"/>
                  <a:pt x="2876856" y="525440"/>
                  <a:pt x="2868291" y="525440"/>
                </a:cubicBezTo>
                <a:cubicBezTo>
                  <a:pt x="2860509" y="525440"/>
                  <a:pt x="2853502" y="518876"/>
                  <a:pt x="2853502" y="511583"/>
                </a:cubicBezTo>
                <a:cubicBezTo>
                  <a:pt x="2853502" y="503561"/>
                  <a:pt x="2860509" y="499186"/>
                  <a:pt x="2868291" y="499186"/>
                </a:cubicBezTo>
                <a:close/>
                <a:moveTo>
                  <a:pt x="2796533" y="499186"/>
                </a:moveTo>
                <a:cubicBezTo>
                  <a:pt x="2804555" y="499186"/>
                  <a:pt x="2808931" y="503561"/>
                  <a:pt x="2808931" y="511583"/>
                </a:cubicBezTo>
                <a:cubicBezTo>
                  <a:pt x="2808931" y="518876"/>
                  <a:pt x="2804555" y="525440"/>
                  <a:pt x="2796533" y="525440"/>
                </a:cubicBezTo>
                <a:cubicBezTo>
                  <a:pt x="2789240" y="525440"/>
                  <a:pt x="2782678" y="518876"/>
                  <a:pt x="2782678" y="511583"/>
                </a:cubicBezTo>
                <a:cubicBezTo>
                  <a:pt x="2782678" y="503561"/>
                  <a:pt x="2789240" y="499186"/>
                  <a:pt x="2796533" y="499186"/>
                </a:cubicBezTo>
                <a:close/>
                <a:moveTo>
                  <a:pt x="2725695" y="499186"/>
                </a:moveTo>
                <a:cubicBezTo>
                  <a:pt x="2731532" y="499186"/>
                  <a:pt x="2738097" y="503561"/>
                  <a:pt x="2738097" y="511583"/>
                </a:cubicBezTo>
                <a:cubicBezTo>
                  <a:pt x="2738097" y="518876"/>
                  <a:pt x="2731532" y="525440"/>
                  <a:pt x="2725695" y="525440"/>
                </a:cubicBezTo>
                <a:cubicBezTo>
                  <a:pt x="2717681" y="525440"/>
                  <a:pt x="2711846" y="518876"/>
                  <a:pt x="2711846" y="511583"/>
                </a:cubicBezTo>
                <a:cubicBezTo>
                  <a:pt x="2711846" y="503561"/>
                  <a:pt x="2717681" y="499186"/>
                  <a:pt x="2725695" y="499186"/>
                </a:cubicBezTo>
                <a:close/>
                <a:moveTo>
                  <a:pt x="2654870" y="499186"/>
                </a:moveTo>
                <a:cubicBezTo>
                  <a:pt x="2660705" y="499186"/>
                  <a:pt x="2667266" y="503561"/>
                  <a:pt x="2667266" y="511583"/>
                </a:cubicBezTo>
                <a:cubicBezTo>
                  <a:pt x="2667266" y="518876"/>
                  <a:pt x="2660705" y="525440"/>
                  <a:pt x="2654870" y="525440"/>
                </a:cubicBezTo>
                <a:cubicBezTo>
                  <a:pt x="2646847" y="525440"/>
                  <a:pt x="2641013" y="518876"/>
                  <a:pt x="2641013" y="511583"/>
                </a:cubicBezTo>
                <a:cubicBezTo>
                  <a:pt x="2641013" y="503561"/>
                  <a:pt x="2646847" y="499186"/>
                  <a:pt x="2654870" y="499186"/>
                </a:cubicBezTo>
                <a:close/>
                <a:moveTo>
                  <a:pt x="2582580" y="499186"/>
                </a:moveTo>
                <a:cubicBezTo>
                  <a:pt x="2589873" y="499186"/>
                  <a:pt x="2596435" y="503561"/>
                  <a:pt x="2596435" y="511583"/>
                </a:cubicBezTo>
                <a:cubicBezTo>
                  <a:pt x="2596435" y="518876"/>
                  <a:pt x="2589873" y="525440"/>
                  <a:pt x="2582580" y="525440"/>
                </a:cubicBezTo>
                <a:cubicBezTo>
                  <a:pt x="2576018" y="525440"/>
                  <a:pt x="2570184" y="518876"/>
                  <a:pt x="2570184" y="511583"/>
                </a:cubicBezTo>
                <a:cubicBezTo>
                  <a:pt x="2570184" y="503561"/>
                  <a:pt x="2576018" y="499186"/>
                  <a:pt x="2582580" y="499186"/>
                </a:cubicBezTo>
                <a:close/>
                <a:moveTo>
                  <a:pt x="2511026" y="499186"/>
                </a:moveTo>
                <a:cubicBezTo>
                  <a:pt x="2519047" y="499186"/>
                  <a:pt x="2525610" y="503561"/>
                  <a:pt x="2525610" y="511583"/>
                </a:cubicBezTo>
                <a:cubicBezTo>
                  <a:pt x="2525610" y="518876"/>
                  <a:pt x="2519047" y="525440"/>
                  <a:pt x="2511026" y="525440"/>
                </a:cubicBezTo>
                <a:cubicBezTo>
                  <a:pt x="2505194" y="525440"/>
                  <a:pt x="2499361" y="518876"/>
                  <a:pt x="2499361" y="511583"/>
                </a:cubicBezTo>
                <a:cubicBezTo>
                  <a:pt x="2499361" y="503561"/>
                  <a:pt x="2503735" y="499186"/>
                  <a:pt x="2511026" y="499186"/>
                </a:cubicBezTo>
                <a:close/>
                <a:moveTo>
                  <a:pt x="2440924" y="499186"/>
                </a:moveTo>
                <a:cubicBezTo>
                  <a:pt x="2448944" y="499186"/>
                  <a:pt x="2454781" y="505020"/>
                  <a:pt x="2454781" y="511583"/>
                </a:cubicBezTo>
                <a:cubicBezTo>
                  <a:pt x="2454781" y="518876"/>
                  <a:pt x="2448944" y="525440"/>
                  <a:pt x="2440924" y="525440"/>
                </a:cubicBezTo>
                <a:cubicBezTo>
                  <a:pt x="2433632" y="525440"/>
                  <a:pt x="2428527" y="518876"/>
                  <a:pt x="2428527" y="511583"/>
                </a:cubicBezTo>
                <a:cubicBezTo>
                  <a:pt x="2428527" y="505020"/>
                  <a:pt x="2433632" y="499186"/>
                  <a:pt x="2440924" y="499186"/>
                </a:cubicBezTo>
                <a:close/>
                <a:moveTo>
                  <a:pt x="2369108" y="499186"/>
                </a:moveTo>
                <a:cubicBezTo>
                  <a:pt x="2377672" y="499186"/>
                  <a:pt x="2383898" y="505020"/>
                  <a:pt x="2383898" y="511583"/>
                </a:cubicBezTo>
                <a:cubicBezTo>
                  <a:pt x="2383898" y="518876"/>
                  <a:pt x="2377672" y="525440"/>
                  <a:pt x="2369108" y="525440"/>
                </a:cubicBezTo>
                <a:cubicBezTo>
                  <a:pt x="2361327" y="525440"/>
                  <a:pt x="2354319" y="518876"/>
                  <a:pt x="2354319" y="511583"/>
                </a:cubicBezTo>
                <a:cubicBezTo>
                  <a:pt x="2354319" y="505020"/>
                  <a:pt x="2361327" y="499186"/>
                  <a:pt x="2369108" y="499186"/>
                </a:cubicBezTo>
                <a:close/>
                <a:moveTo>
                  <a:pt x="2298278" y="499186"/>
                </a:moveTo>
                <a:cubicBezTo>
                  <a:pt x="2306839" y="499186"/>
                  <a:pt x="2313066" y="505020"/>
                  <a:pt x="2313066" y="511583"/>
                </a:cubicBezTo>
                <a:cubicBezTo>
                  <a:pt x="2313066" y="518876"/>
                  <a:pt x="2306839" y="525440"/>
                  <a:pt x="2298278" y="525440"/>
                </a:cubicBezTo>
                <a:cubicBezTo>
                  <a:pt x="2290494" y="525440"/>
                  <a:pt x="2283488" y="518876"/>
                  <a:pt x="2283488" y="511583"/>
                </a:cubicBezTo>
                <a:cubicBezTo>
                  <a:pt x="2283488" y="505020"/>
                  <a:pt x="2290494" y="499186"/>
                  <a:pt x="2298278" y="499186"/>
                </a:cubicBezTo>
                <a:close/>
                <a:moveTo>
                  <a:pt x="2226514" y="499186"/>
                </a:moveTo>
                <a:cubicBezTo>
                  <a:pt x="2234534" y="499186"/>
                  <a:pt x="2238914" y="505020"/>
                  <a:pt x="2238914" y="511583"/>
                </a:cubicBezTo>
                <a:cubicBezTo>
                  <a:pt x="2238914" y="518876"/>
                  <a:pt x="2234534" y="525440"/>
                  <a:pt x="2226514" y="525440"/>
                </a:cubicBezTo>
                <a:cubicBezTo>
                  <a:pt x="2218492" y="525440"/>
                  <a:pt x="2212655" y="518876"/>
                  <a:pt x="2212655" y="511583"/>
                </a:cubicBezTo>
                <a:cubicBezTo>
                  <a:pt x="2212655" y="505020"/>
                  <a:pt x="2218492" y="499186"/>
                  <a:pt x="2226514" y="499186"/>
                </a:cubicBezTo>
                <a:close/>
                <a:moveTo>
                  <a:pt x="2155680" y="499186"/>
                </a:moveTo>
                <a:cubicBezTo>
                  <a:pt x="2161514" y="499186"/>
                  <a:pt x="2168079" y="505020"/>
                  <a:pt x="2168079" y="511583"/>
                </a:cubicBezTo>
                <a:cubicBezTo>
                  <a:pt x="2168079" y="518876"/>
                  <a:pt x="2161514" y="525440"/>
                  <a:pt x="2155680" y="525440"/>
                </a:cubicBezTo>
                <a:cubicBezTo>
                  <a:pt x="2147658" y="525440"/>
                  <a:pt x="2141823" y="518876"/>
                  <a:pt x="2141823" y="511583"/>
                </a:cubicBezTo>
                <a:cubicBezTo>
                  <a:pt x="2141823" y="505020"/>
                  <a:pt x="2147658" y="499186"/>
                  <a:pt x="2155680" y="499186"/>
                </a:cubicBezTo>
                <a:close/>
                <a:moveTo>
                  <a:pt x="2084846" y="499186"/>
                </a:moveTo>
                <a:cubicBezTo>
                  <a:pt x="2090680" y="499186"/>
                  <a:pt x="2097246" y="505020"/>
                  <a:pt x="2097246" y="511583"/>
                </a:cubicBezTo>
                <a:cubicBezTo>
                  <a:pt x="2097246" y="518876"/>
                  <a:pt x="2090680" y="525440"/>
                  <a:pt x="2084846" y="525440"/>
                </a:cubicBezTo>
                <a:cubicBezTo>
                  <a:pt x="2076824" y="525440"/>
                  <a:pt x="2070991" y="518876"/>
                  <a:pt x="2070991" y="511583"/>
                </a:cubicBezTo>
                <a:cubicBezTo>
                  <a:pt x="2070991" y="505020"/>
                  <a:pt x="2076824" y="499186"/>
                  <a:pt x="2084846" y="499186"/>
                </a:cubicBezTo>
                <a:close/>
                <a:moveTo>
                  <a:pt x="2011831" y="499186"/>
                </a:moveTo>
                <a:cubicBezTo>
                  <a:pt x="2019855" y="499186"/>
                  <a:pt x="2026416" y="505020"/>
                  <a:pt x="2026416" y="511583"/>
                </a:cubicBezTo>
                <a:cubicBezTo>
                  <a:pt x="2026416" y="518876"/>
                  <a:pt x="2019855" y="525440"/>
                  <a:pt x="2011831" y="525440"/>
                </a:cubicBezTo>
                <a:cubicBezTo>
                  <a:pt x="2005998" y="525440"/>
                  <a:pt x="2000165" y="518876"/>
                  <a:pt x="2000165" y="511583"/>
                </a:cubicBezTo>
                <a:cubicBezTo>
                  <a:pt x="2000165" y="505020"/>
                  <a:pt x="2005998" y="499186"/>
                  <a:pt x="2011831" y="499186"/>
                </a:cubicBezTo>
                <a:close/>
                <a:moveTo>
                  <a:pt x="1938362" y="499186"/>
                </a:moveTo>
                <a:cubicBezTo>
                  <a:pt x="1946382" y="499186"/>
                  <a:pt x="1952216" y="505020"/>
                  <a:pt x="1952216" y="511583"/>
                </a:cubicBezTo>
                <a:cubicBezTo>
                  <a:pt x="1952216" y="518876"/>
                  <a:pt x="1946382" y="525440"/>
                  <a:pt x="1938362" y="525440"/>
                </a:cubicBezTo>
                <a:cubicBezTo>
                  <a:pt x="1932525" y="525440"/>
                  <a:pt x="1925965" y="518876"/>
                  <a:pt x="1925965" y="511583"/>
                </a:cubicBezTo>
                <a:cubicBezTo>
                  <a:pt x="1925965" y="505020"/>
                  <a:pt x="1932525" y="499186"/>
                  <a:pt x="1938362" y="499186"/>
                </a:cubicBezTo>
                <a:close/>
                <a:moveTo>
                  <a:pt x="1867525" y="499186"/>
                </a:moveTo>
                <a:cubicBezTo>
                  <a:pt x="1875547" y="499186"/>
                  <a:pt x="1881384" y="505020"/>
                  <a:pt x="1881384" y="511583"/>
                </a:cubicBezTo>
                <a:cubicBezTo>
                  <a:pt x="1881384" y="518876"/>
                  <a:pt x="1875547" y="525440"/>
                  <a:pt x="1867525" y="525440"/>
                </a:cubicBezTo>
                <a:cubicBezTo>
                  <a:pt x="1860232" y="525440"/>
                  <a:pt x="1855126" y="518876"/>
                  <a:pt x="1855126" y="511583"/>
                </a:cubicBezTo>
                <a:cubicBezTo>
                  <a:pt x="1855126" y="505020"/>
                  <a:pt x="1860232" y="499186"/>
                  <a:pt x="1867525" y="499186"/>
                </a:cubicBezTo>
                <a:close/>
                <a:moveTo>
                  <a:pt x="1799085" y="499186"/>
                </a:moveTo>
                <a:cubicBezTo>
                  <a:pt x="1807644" y="499186"/>
                  <a:pt x="1813871" y="505020"/>
                  <a:pt x="1813871" y="511583"/>
                </a:cubicBezTo>
                <a:cubicBezTo>
                  <a:pt x="1813871" y="518876"/>
                  <a:pt x="1807644" y="525440"/>
                  <a:pt x="1799085" y="525440"/>
                </a:cubicBezTo>
                <a:cubicBezTo>
                  <a:pt x="1790521" y="525440"/>
                  <a:pt x="1784295" y="518876"/>
                  <a:pt x="1784295" y="511583"/>
                </a:cubicBezTo>
                <a:cubicBezTo>
                  <a:pt x="1784295" y="505020"/>
                  <a:pt x="1790521" y="499186"/>
                  <a:pt x="1799085" y="499186"/>
                </a:cubicBezTo>
                <a:close/>
                <a:moveTo>
                  <a:pt x="1728257" y="499186"/>
                </a:moveTo>
                <a:cubicBezTo>
                  <a:pt x="1736822" y="499186"/>
                  <a:pt x="1743046" y="505020"/>
                  <a:pt x="1743046" y="511583"/>
                </a:cubicBezTo>
                <a:cubicBezTo>
                  <a:pt x="1743046" y="518876"/>
                  <a:pt x="1736822" y="525440"/>
                  <a:pt x="1728257" y="525440"/>
                </a:cubicBezTo>
                <a:cubicBezTo>
                  <a:pt x="1719694" y="525440"/>
                  <a:pt x="1713469" y="518876"/>
                  <a:pt x="1713469" y="511583"/>
                </a:cubicBezTo>
                <a:cubicBezTo>
                  <a:pt x="1713469" y="505020"/>
                  <a:pt x="1719694" y="499186"/>
                  <a:pt x="1728257" y="499186"/>
                </a:cubicBezTo>
                <a:close/>
                <a:moveTo>
                  <a:pt x="1657426" y="499186"/>
                </a:moveTo>
                <a:cubicBezTo>
                  <a:pt x="1665210" y="499186"/>
                  <a:pt x="1672218" y="505020"/>
                  <a:pt x="1672218" y="511583"/>
                </a:cubicBezTo>
                <a:cubicBezTo>
                  <a:pt x="1672218" y="518876"/>
                  <a:pt x="1665210" y="525440"/>
                  <a:pt x="1657426" y="525440"/>
                </a:cubicBezTo>
                <a:cubicBezTo>
                  <a:pt x="1648867" y="525440"/>
                  <a:pt x="1642647" y="518876"/>
                  <a:pt x="1642647" y="511583"/>
                </a:cubicBezTo>
                <a:cubicBezTo>
                  <a:pt x="1642647" y="505020"/>
                  <a:pt x="1648867" y="499186"/>
                  <a:pt x="1657426" y="499186"/>
                </a:cubicBezTo>
                <a:close/>
                <a:moveTo>
                  <a:pt x="1582294" y="499186"/>
                </a:moveTo>
                <a:cubicBezTo>
                  <a:pt x="1589590" y="499186"/>
                  <a:pt x="1594694" y="505020"/>
                  <a:pt x="1594694" y="511583"/>
                </a:cubicBezTo>
                <a:cubicBezTo>
                  <a:pt x="1594694" y="518876"/>
                  <a:pt x="1589590" y="525440"/>
                  <a:pt x="1582294" y="525440"/>
                </a:cubicBezTo>
                <a:cubicBezTo>
                  <a:pt x="1574271" y="525440"/>
                  <a:pt x="1568438" y="518876"/>
                  <a:pt x="1568438" y="511583"/>
                </a:cubicBezTo>
                <a:cubicBezTo>
                  <a:pt x="1568438" y="505020"/>
                  <a:pt x="1574271" y="499186"/>
                  <a:pt x="1582294" y="499186"/>
                </a:cubicBezTo>
                <a:close/>
                <a:moveTo>
                  <a:pt x="1512192" y="499186"/>
                </a:moveTo>
                <a:cubicBezTo>
                  <a:pt x="1518025" y="499186"/>
                  <a:pt x="1523862" y="505020"/>
                  <a:pt x="1523862" y="511583"/>
                </a:cubicBezTo>
                <a:cubicBezTo>
                  <a:pt x="1523862" y="518876"/>
                  <a:pt x="1518025" y="525440"/>
                  <a:pt x="1512192" y="525440"/>
                </a:cubicBezTo>
                <a:cubicBezTo>
                  <a:pt x="1504169" y="525440"/>
                  <a:pt x="1497607" y="518876"/>
                  <a:pt x="1497607" y="511583"/>
                </a:cubicBezTo>
                <a:cubicBezTo>
                  <a:pt x="1497607" y="505020"/>
                  <a:pt x="1504169" y="499186"/>
                  <a:pt x="1512192" y="499186"/>
                </a:cubicBezTo>
                <a:close/>
                <a:moveTo>
                  <a:pt x="1440623" y="499186"/>
                </a:moveTo>
                <a:cubicBezTo>
                  <a:pt x="1447188" y="499186"/>
                  <a:pt x="1453023" y="505020"/>
                  <a:pt x="1453023" y="511583"/>
                </a:cubicBezTo>
                <a:cubicBezTo>
                  <a:pt x="1453023" y="518876"/>
                  <a:pt x="1447188" y="525440"/>
                  <a:pt x="1440623" y="525440"/>
                </a:cubicBezTo>
                <a:cubicBezTo>
                  <a:pt x="1433333" y="525440"/>
                  <a:pt x="1426771" y="518876"/>
                  <a:pt x="1426771" y="511583"/>
                </a:cubicBezTo>
                <a:cubicBezTo>
                  <a:pt x="1426771" y="505020"/>
                  <a:pt x="1433333" y="499186"/>
                  <a:pt x="1440623" y="499186"/>
                </a:cubicBezTo>
                <a:close/>
                <a:moveTo>
                  <a:pt x="1368341" y="499186"/>
                </a:moveTo>
                <a:cubicBezTo>
                  <a:pt x="1376363" y="499186"/>
                  <a:pt x="1382196" y="505020"/>
                  <a:pt x="1382196" y="511583"/>
                </a:cubicBezTo>
                <a:cubicBezTo>
                  <a:pt x="1382196" y="518876"/>
                  <a:pt x="1376363" y="525440"/>
                  <a:pt x="1368341" y="525440"/>
                </a:cubicBezTo>
                <a:cubicBezTo>
                  <a:pt x="1362508" y="525440"/>
                  <a:pt x="1355948" y="518876"/>
                  <a:pt x="1355948" y="511583"/>
                </a:cubicBezTo>
                <a:cubicBezTo>
                  <a:pt x="1355948" y="505020"/>
                  <a:pt x="1362508" y="499186"/>
                  <a:pt x="1368341" y="499186"/>
                </a:cubicBezTo>
                <a:close/>
                <a:moveTo>
                  <a:pt x="1297515" y="499186"/>
                </a:moveTo>
                <a:cubicBezTo>
                  <a:pt x="1305538" y="499186"/>
                  <a:pt x="1311369" y="505020"/>
                  <a:pt x="1311369" y="513042"/>
                </a:cubicBezTo>
                <a:cubicBezTo>
                  <a:pt x="1311369" y="518876"/>
                  <a:pt x="1305538" y="525440"/>
                  <a:pt x="1297515" y="525440"/>
                </a:cubicBezTo>
                <a:cubicBezTo>
                  <a:pt x="1289492" y="525440"/>
                  <a:pt x="1285118" y="518876"/>
                  <a:pt x="1285118" y="513042"/>
                </a:cubicBezTo>
                <a:cubicBezTo>
                  <a:pt x="1285118" y="505020"/>
                  <a:pt x="1289492" y="499186"/>
                  <a:pt x="1297515" y="499186"/>
                </a:cubicBezTo>
                <a:close/>
                <a:moveTo>
                  <a:pt x="1225700" y="499186"/>
                </a:moveTo>
                <a:cubicBezTo>
                  <a:pt x="1233484" y="499186"/>
                  <a:pt x="1240491" y="505020"/>
                  <a:pt x="1240491" y="513042"/>
                </a:cubicBezTo>
                <a:cubicBezTo>
                  <a:pt x="1240491" y="518876"/>
                  <a:pt x="1233484" y="525440"/>
                  <a:pt x="1225700" y="525440"/>
                </a:cubicBezTo>
                <a:cubicBezTo>
                  <a:pt x="1217156" y="525440"/>
                  <a:pt x="1210925" y="518876"/>
                  <a:pt x="1210925" y="513042"/>
                </a:cubicBezTo>
                <a:cubicBezTo>
                  <a:pt x="1210925" y="505020"/>
                  <a:pt x="1217156" y="499186"/>
                  <a:pt x="1225700" y="499186"/>
                </a:cubicBezTo>
                <a:close/>
                <a:moveTo>
                  <a:pt x="1154881" y="499186"/>
                </a:moveTo>
                <a:cubicBezTo>
                  <a:pt x="1162665" y="499186"/>
                  <a:pt x="1169669" y="505020"/>
                  <a:pt x="1169669" y="513042"/>
                </a:cubicBezTo>
                <a:cubicBezTo>
                  <a:pt x="1169669" y="518876"/>
                  <a:pt x="1162665" y="525440"/>
                  <a:pt x="1154881" y="525440"/>
                </a:cubicBezTo>
                <a:cubicBezTo>
                  <a:pt x="1146323" y="525440"/>
                  <a:pt x="1140095" y="518876"/>
                  <a:pt x="1140095" y="513042"/>
                </a:cubicBezTo>
                <a:cubicBezTo>
                  <a:pt x="1140095" y="505020"/>
                  <a:pt x="1146323" y="499186"/>
                  <a:pt x="1154881" y="499186"/>
                </a:cubicBezTo>
                <a:close/>
                <a:moveTo>
                  <a:pt x="1084053" y="499186"/>
                </a:moveTo>
                <a:cubicBezTo>
                  <a:pt x="1091836" y="499186"/>
                  <a:pt x="1098842" y="505020"/>
                  <a:pt x="1098842" y="513042"/>
                </a:cubicBezTo>
                <a:cubicBezTo>
                  <a:pt x="1098842" y="518876"/>
                  <a:pt x="1091836" y="525440"/>
                  <a:pt x="1084053" y="525440"/>
                </a:cubicBezTo>
                <a:cubicBezTo>
                  <a:pt x="1075492" y="525440"/>
                  <a:pt x="1069267" y="518876"/>
                  <a:pt x="1069267" y="513042"/>
                </a:cubicBezTo>
                <a:cubicBezTo>
                  <a:pt x="1069267" y="505020"/>
                  <a:pt x="1075492" y="499186"/>
                  <a:pt x="1084053" y="499186"/>
                </a:cubicBezTo>
                <a:close/>
                <a:moveTo>
                  <a:pt x="1013012" y="499186"/>
                </a:moveTo>
                <a:cubicBezTo>
                  <a:pt x="1020310" y="499186"/>
                  <a:pt x="1024685" y="505020"/>
                  <a:pt x="1024685" y="513042"/>
                </a:cubicBezTo>
                <a:cubicBezTo>
                  <a:pt x="1024685" y="518876"/>
                  <a:pt x="1020310" y="525440"/>
                  <a:pt x="1013012" y="525440"/>
                </a:cubicBezTo>
                <a:cubicBezTo>
                  <a:pt x="1004998" y="525440"/>
                  <a:pt x="998433" y="518876"/>
                  <a:pt x="998433" y="513042"/>
                </a:cubicBezTo>
                <a:cubicBezTo>
                  <a:pt x="998433" y="505020"/>
                  <a:pt x="1004998" y="499186"/>
                  <a:pt x="1013012" y="499186"/>
                </a:cubicBezTo>
                <a:close/>
                <a:moveTo>
                  <a:pt x="941461" y="499186"/>
                </a:moveTo>
                <a:cubicBezTo>
                  <a:pt x="948026" y="499186"/>
                  <a:pt x="953861" y="505020"/>
                  <a:pt x="953861" y="513042"/>
                </a:cubicBezTo>
                <a:cubicBezTo>
                  <a:pt x="953861" y="518876"/>
                  <a:pt x="948026" y="525440"/>
                  <a:pt x="941461" y="525440"/>
                </a:cubicBezTo>
                <a:cubicBezTo>
                  <a:pt x="934167" y="525440"/>
                  <a:pt x="927607" y="518876"/>
                  <a:pt x="927607" y="513042"/>
                </a:cubicBezTo>
                <a:cubicBezTo>
                  <a:pt x="927607" y="505020"/>
                  <a:pt x="934167" y="499186"/>
                  <a:pt x="941461" y="499186"/>
                </a:cubicBezTo>
                <a:close/>
                <a:moveTo>
                  <a:pt x="870626" y="499186"/>
                </a:moveTo>
                <a:cubicBezTo>
                  <a:pt x="877192" y="499186"/>
                  <a:pt x="883027" y="505020"/>
                  <a:pt x="883027" y="513042"/>
                </a:cubicBezTo>
                <a:cubicBezTo>
                  <a:pt x="883027" y="518876"/>
                  <a:pt x="877192" y="525440"/>
                  <a:pt x="870626" y="525440"/>
                </a:cubicBezTo>
                <a:cubicBezTo>
                  <a:pt x="863340" y="525440"/>
                  <a:pt x="856774" y="518876"/>
                  <a:pt x="856774" y="513042"/>
                </a:cubicBezTo>
                <a:cubicBezTo>
                  <a:pt x="856774" y="505020"/>
                  <a:pt x="863340" y="499186"/>
                  <a:pt x="870626" y="499186"/>
                </a:cubicBezTo>
                <a:close/>
                <a:moveTo>
                  <a:pt x="798340" y="499186"/>
                </a:moveTo>
                <a:cubicBezTo>
                  <a:pt x="806362" y="499186"/>
                  <a:pt x="812196" y="505020"/>
                  <a:pt x="812196" y="513042"/>
                </a:cubicBezTo>
                <a:cubicBezTo>
                  <a:pt x="812196" y="518876"/>
                  <a:pt x="806362" y="525440"/>
                  <a:pt x="798340" y="525440"/>
                </a:cubicBezTo>
                <a:cubicBezTo>
                  <a:pt x="792508" y="525440"/>
                  <a:pt x="785941" y="518876"/>
                  <a:pt x="785941" y="513042"/>
                </a:cubicBezTo>
                <a:cubicBezTo>
                  <a:pt x="785941" y="505020"/>
                  <a:pt x="792508" y="499186"/>
                  <a:pt x="798340" y="499186"/>
                </a:cubicBezTo>
                <a:close/>
                <a:moveTo>
                  <a:pt x="724135" y="499186"/>
                </a:moveTo>
                <a:cubicBezTo>
                  <a:pt x="731429" y="499186"/>
                  <a:pt x="737991" y="505020"/>
                  <a:pt x="737991" y="513042"/>
                </a:cubicBezTo>
                <a:cubicBezTo>
                  <a:pt x="737991" y="518876"/>
                  <a:pt x="731429" y="525440"/>
                  <a:pt x="724135" y="525440"/>
                </a:cubicBezTo>
                <a:cubicBezTo>
                  <a:pt x="717574" y="525440"/>
                  <a:pt x="711744" y="518876"/>
                  <a:pt x="711744" y="513042"/>
                </a:cubicBezTo>
                <a:cubicBezTo>
                  <a:pt x="711744" y="505020"/>
                  <a:pt x="717574" y="499186"/>
                  <a:pt x="724135" y="499186"/>
                </a:cubicBezTo>
                <a:close/>
                <a:moveTo>
                  <a:pt x="653306" y="499186"/>
                </a:moveTo>
                <a:cubicBezTo>
                  <a:pt x="660598" y="499186"/>
                  <a:pt x="667164" y="505020"/>
                  <a:pt x="667164" y="513042"/>
                </a:cubicBezTo>
                <a:cubicBezTo>
                  <a:pt x="667164" y="518876"/>
                  <a:pt x="660598" y="525440"/>
                  <a:pt x="653306" y="525440"/>
                </a:cubicBezTo>
                <a:cubicBezTo>
                  <a:pt x="645287" y="525440"/>
                  <a:pt x="640910" y="518876"/>
                  <a:pt x="640910" y="513042"/>
                </a:cubicBezTo>
                <a:cubicBezTo>
                  <a:pt x="640910" y="505020"/>
                  <a:pt x="645287" y="499186"/>
                  <a:pt x="653306" y="499186"/>
                </a:cubicBezTo>
                <a:close/>
                <a:moveTo>
                  <a:pt x="584869" y="499186"/>
                </a:moveTo>
                <a:cubicBezTo>
                  <a:pt x="592652" y="499186"/>
                  <a:pt x="599654" y="505020"/>
                  <a:pt x="599654" y="513042"/>
                </a:cubicBezTo>
                <a:cubicBezTo>
                  <a:pt x="599654" y="518876"/>
                  <a:pt x="592652" y="525440"/>
                  <a:pt x="584869" y="525440"/>
                </a:cubicBezTo>
                <a:cubicBezTo>
                  <a:pt x="576309" y="525440"/>
                  <a:pt x="570076" y="518876"/>
                  <a:pt x="570076" y="513042"/>
                </a:cubicBezTo>
                <a:cubicBezTo>
                  <a:pt x="570076" y="505020"/>
                  <a:pt x="576309" y="499186"/>
                  <a:pt x="584869" y="499186"/>
                </a:cubicBezTo>
                <a:close/>
                <a:moveTo>
                  <a:pt x="513670" y="499186"/>
                </a:moveTo>
                <a:cubicBezTo>
                  <a:pt x="522020" y="499186"/>
                  <a:pt x="528846" y="505020"/>
                  <a:pt x="528846" y="513042"/>
                </a:cubicBezTo>
                <a:cubicBezTo>
                  <a:pt x="528846" y="518876"/>
                  <a:pt x="522020" y="525440"/>
                  <a:pt x="513670" y="525440"/>
                </a:cubicBezTo>
                <a:cubicBezTo>
                  <a:pt x="506076" y="525440"/>
                  <a:pt x="499248" y="518876"/>
                  <a:pt x="499248" y="513042"/>
                </a:cubicBezTo>
                <a:cubicBezTo>
                  <a:pt x="499248" y="505020"/>
                  <a:pt x="506076" y="499186"/>
                  <a:pt x="513670" y="499186"/>
                </a:cubicBezTo>
                <a:close/>
                <a:moveTo>
                  <a:pt x="3939871" y="495814"/>
                </a:moveTo>
                <a:cubicBezTo>
                  <a:pt x="3946434" y="495814"/>
                  <a:pt x="3952268" y="502041"/>
                  <a:pt x="3952268" y="510602"/>
                </a:cubicBezTo>
                <a:cubicBezTo>
                  <a:pt x="3952268" y="518386"/>
                  <a:pt x="3946434" y="525391"/>
                  <a:pt x="3939871" y="525391"/>
                </a:cubicBezTo>
                <a:cubicBezTo>
                  <a:pt x="3932578" y="525391"/>
                  <a:pt x="3926015" y="518386"/>
                  <a:pt x="3926015" y="510602"/>
                </a:cubicBezTo>
                <a:cubicBezTo>
                  <a:pt x="3926015" y="502041"/>
                  <a:pt x="3932578" y="495814"/>
                  <a:pt x="3939871" y="495814"/>
                </a:cubicBezTo>
                <a:close/>
                <a:moveTo>
                  <a:pt x="3869042" y="495814"/>
                </a:moveTo>
                <a:cubicBezTo>
                  <a:pt x="3875605" y="495814"/>
                  <a:pt x="3881439" y="502041"/>
                  <a:pt x="3881439" y="510602"/>
                </a:cubicBezTo>
                <a:cubicBezTo>
                  <a:pt x="3881439" y="518386"/>
                  <a:pt x="3875605" y="525391"/>
                  <a:pt x="3869042" y="525391"/>
                </a:cubicBezTo>
                <a:cubicBezTo>
                  <a:pt x="3861749" y="525391"/>
                  <a:pt x="3855186" y="518386"/>
                  <a:pt x="3855186" y="510602"/>
                </a:cubicBezTo>
                <a:cubicBezTo>
                  <a:pt x="3855186" y="502041"/>
                  <a:pt x="3861749" y="495814"/>
                  <a:pt x="3869042" y="495814"/>
                </a:cubicBezTo>
                <a:close/>
                <a:moveTo>
                  <a:pt x="3796752" y="495814"/>
                </a:moveTo>
                <a:cubicBezTo>
                  <a:pt x="3804774" y="495814"/>
                  <a:pt x="3810608" y="502041"/>
                  <a:pt x="3810608" y="510602"/>
                </a:cubicBezTo>
                <a:cubicBezTo>
                  <a:pt x="3810608" y="518386"/>
                  <a:pt x="3804774" y="525391"/>
                  <a:pt x="3796752" y="525391"/>
                </a:cubicBezTo>
                <a:cubicBezTo>
                  <a:pt x="3790918" y="525391"/>
                  <a:pt x="3784355" y="518386"/>
                  <a:pt x="3784355" y="510602"/>
                </a:cubicBezTo>
                <a:cubicBezTo>
                  <a:pt x="3784355" y="502041"/>
                  <a:pt x="3790918" y="495814"/>
                  <a:pt x="3796752" y="495814"/>
                </a:cubicBezTo>
                <a:close/>
                <a:moveTo>
                  <a:pt x="3725922" y="495814"/>
                </a:moveTo>
                <a:cubicBezTo>
                  <a:pt x="3733944" y="495814"/>
                  <a:pt x="3739778" y="502041"/>
                  <a:pt x="3739778" y="510602"/>
                </a:cubicBezTo>
                <a:cubicBezTo>
                  <a:pt x="3739778" y="518386"/>
                  <a:pt x="3733944" y="525391"/>
                  <a:pt x="3725922" y="525391"/>
                </a:cubicBezTo>
                <a:cubicBezTo>
                  <a:pt x="3719359" y="525391"/>
                  <a:pt x="3713525" y="518386"/>
                  <a:pt x="3713525" y="510602"/>
                </a:cubicBezTo>
                <a:cubicBezTo>
                  <a:pt x="3713525" y="502041"/>
                  <a:pt x="3719359" y="495814"/>
                  <a:pt x="3725922" y="495814"/>
                </a:cubicBezTo>
                <a:close/>
                <a:moveTo>
                  <a:pt x="3655091" y="495814"/>
                </a:moveTo>
                <a:cubicBezTo>
                  <a:pt x="3662384" y="495814"/>
                  <a:pt x="3668947" y="502041"/>
                  <a:pt x="3668947" y="510602"/>
                </a:cubicBezTo>
                <a:cubicBezTo>
                  <a:pt x="3668947" y="518386"/>
                  <a:pt x="3662384" y="525391"/>
                  <a:pt x="3655091" y="525391"/>
                </a:cubicBezTo>
                <a:cubicBezTo>
                  <a:pt x="3647069" y="525391"/>
                  <a:pt x="3642694" y="518386"/>
                  <a:pt x="3642694" y="510602"/>
                </a:cubicBezTo>
                <a:cubicBezTo>
                  <a:pt x="3642694" y="502041"/>
                  <a:pt x="3647069" y="495814"/>
                  <a:pt x="3655091" y="495814"/>
                </a:cubicBezTo>
                <a:close/>
                <a:moveTo>
                  <a:pt x="3583280" y="495814"/>
                </a:moveTo>
                <a:cubicBezTo>
                  <a:pt x="3591064" y="495814"/>
                  <a:pt x="3598069" y="502041"/>
                  <a:pt x="3598069" y="510602"/>
                </a:cubicBezTo>
                <a:cubicBezTo>
                  <a:pt x="3598069" y="518386"/>
                  <a:pt x="3591064" y="525391"/>
                  <a:pt x="3583280" y="525391"/>
                </a:cubicBezTo>
                <a:cubicBezTo>
                  <a:pt x="3574718" y="525391"/>
                  <a:pt x="3568491" y="518386"/>
                  <a:pt x="3568491" y="510602"/>
                </a:cubicBezTo>
                <a:cubicBezTo>
                  <a:pt x="3568491" y="502041"/>
                  <a:pt x="3574718" y="495814"/>
                  <a:pt x="3583280" y="495814"/>
                </a:cubicBezTo>
                <a:close/>
                <a:moveTo>
                  <a:pt x="3512449" y="495814"/>
                </a:moveTo>
                <a:cubicBezTo>
                  <a:pt x="3520232" y="495814"/>
                  <a:pt x="3527237" y="502041"/>
                  <a:pt x="3527237" y="510602"/>
                </a:cubicBezTo>
                <a:cubicBezTo>
                  <a:pt x="3527237" y="518386"/>
                  <a:pt x="3520232" y="525391"/>
                  <a:pt x="3512449" y="525391"/>
                </a:cubicBezTo>
                <a:cubicBezTo>
                  <a:pt x="3503887" y="525391"/>
                  <a:pt x="3497661" y="518386"/>
                  <a:pt x="3497661" y="510602"/>
                </a:cubicBezTo>
                <a:cubicBezTo>
                  <a:pt x="3497661" y="502041"/>
                  <a:pt x="3503887" y="495814"/>
                  <a:pt x="3512449" y="495814"/>
                </a:cubicBezTo>
                <a:close/>
                <a:moveTo>
                  <a:pt x="3440686" y="495814"/>
                </a:moveTo>
                <a:cubicBezTo>
                  <a:pt x="3448708" y="495814"/>
                  <a:pt x="3453083" y="502041"/>
                  <a:pt x="3453083" y="510602"/>
                </a:cubicBezTo>
                <a:cubicBezTo>
                  <a:pt x="3453083" y="518386"/>
                  <a:pt x="3448708" y="525391"/>
                  <a:pt x="3440686" y="525391"/>
                </a:cubicBezTo>
                <a:cubicBezTo>
                  <a:pt x="3433393" y="525391"/>
                  <a:pt x="3426830" y="518386"/>
                  <a:pt x="3426830" y="510602"/>
                </a:cubicBezTo>
                <a:cubicBezTo>
                  <a:pt x="3426830" y="502041"/>
                  <a:pt x="3433393" y="495814"/>
                  <a:pt x="3440686" y="495814"/>
                </a:cubicBezTo>
                <a:close/>
                <a:moveTo>
                  <a:pt x="3369857" y="495814"/>
                </a:moveTo>
                <a:cubicBezTo>
                  <a:pt x="3376420" y="495814"/>
                  <a:pt x="3382254" y="502041"/>
                  <a:pt x="3382254" y="510602"/>
                </a:cubicBezTo>
                <a:cubicBezTo>
                  <a:pt x="3382254" y="518386"/>
                  <a:pt x="3376420" y="525391"/>
                  <a:pt x="3369857" y="525391"/>
                </a:cubicBezTo>
                <a:cubicBezTo>
                  <a:pt x="3362564" y="525391"/>
                  <a:pt x="3356001" y="518386"/>
                  <a:pt x="3356001" y="510602"/>
                </a:cubicBezTo>
                <a:cubicBezTo>
                  <a:pt x="3356001" y="502041"/>
                  <a:pt x="3362564" y="495814"/>
                  <a:pt x="3369857" y="495814"/>
                </a:cubicBezTo>
                <a:close/>
                <a:moveTo>
                  <a:pt x="3299094" y="495814"/>
                </a:moveTo>
                <a:cubicBezTo>
                  <a:pt x="3305656" y="495814"/>
                  <a:pt x="3311491" y="502041"/>
                  <a:pt x="3311491" y="510602"/>
                </a:cubicBezTo>
                <a:cubicBezTo>
                  <a:pt x="3311491" y="518386"/>
                  <a:pt x="3305656" y="525391"/>
                  <a:pt x="3299094" y="525391"/>
                </a:cubicBezTo>
                <a:cubicBezTo>
                  <a:pt x="3291802" y="525391"/>
                  <a:pt x="3285240" y="518386"/>
                  <a:pt x="3285240" y="510602"/>
                </a:cubicBezTo>
                <a:cubicBezTo>
                  <a:pt x="3285240" y="502041"/>
                  <a:pt x="3291802" y="495814"/>
                  <a:pt x="3299094" y="495814"/>
                </a:cubicBezTo>
                <a:close/>
                <a:moveTo>
                  <a:pt x="3226805" y="495814"/>
                </a:moveTo>
                <a:cubicBezTo>
                  <a:pt x="3234825" y="495814"/>
                  <a:pt x="3240660" y="502041"/>
                  <a:pt x="3240660" y="510602"/>
                </a:cubicBezTo>
                <a:cubicBezTo>
                  <a:pt x="3240660" y="518386"/>
                  <a:pt x="3234825" y="525391"/>
                  <a:pt x="3226805" y="525391"/>
                </a:cubicBezTo>
                <a:cubicBezTo>
                  <a:pt x="3220242" y="525391"/>
                  <a:pt x="3214406" y="518386"/>
                  <a:pt x="3214406" y="510602"/>
                </a:cubicBezTo>
                <a:cubicBezTo>
                  <a:pt x="3214406" y="502041"/>
                  <a:pt x="3220242" y="495814"/>
                  <a:pt x="3226805" y="495814"/>
                </a:cubicBezTo>
                <a:close/>
                <a:moveTo>
                  <a:pt x="3152602" y="495814"/>
                </a:moveTo>
                <a:cubicBezTo>
                  <a:pt x="3159895" y="495814"/>
                  <a:pt x="3166454" y="502041"/>
                  <a:pt x="3166454" y="510602"/>
                </a:cubicBezTo>
                <a:cubicBezTo>
                  <a:pt x="3166454" y="518386"/>
                  <a:pt x="3159895" y="525391"/>
                  <a:pt x="3152602" y="525391"/>
                </a:cubicBezTo>
                <a:cubicBezTo>
                  <a:pt x="3146038" y="525391"/>
                  <a:pt x="3140203" y="518386"/>
                  <a:pt x="3140203" y="510602"/>
                </a:cubicBezTo>
                <a:cubicBezTo>
                  <a:pt x="3140203" y="502041"/>
                  <a:pt x="3146038" y="495814"/>
                  <a:pt x="3152602" y="495814"/>
                </a:cubicBezTo>
                <a:close/>
                <a:moveTo>
                  <a:pt x="2439944" y="428356"/>
                </a:moveTo>
                <a:cubicBezTo>
                  <a:pt x="2448502" y="428356"/>
                  <a:pt x="2454729" y="432731"/>
                  <a:pt x="2454729" y="440753"/>
                </a:cubicBezTo>
                <a:cubicBezTo>
                  <a:pt x="2454729" y="448046"/>
                  <a:pt x="2448502" y="454610"/>
                  <a:pt x="2439944" y="454610"/>
                </a:cubicBezTo>
                <a:cubicBezTo>
                  <a:pt x="2432159" y="454610"/>
                  <a:pt x="2425156" y="448046"/>
                  <a:pt x="2425156" y="440753"/>
                </a:cubicBezTo>
                <a:cubicBezTo>
                  <a:pt x="2425156" y="432731"/>
                  <a:pt x="2432159" y="428356"/>
                  <a:pt x="2439944" y="428356"/>
                </a:cubicBezTo>
                <a:close/>
                <a:moveTo>
                  <a:pt x="2369110" y="428356"/>
                </a:moveTo>
                <a:cubicBezTo>
                  <a:pt x="2377672" y="428356"/>
                  <a:pt x="2383898" y="432731"/>
                  <a:pt x="2383898" y="440753"/>
                </a:cubicBezTo>
                <a:cubicBezTo>
                  <a:pt x="2383898" y="448046"/>
                  <a:pt x="2377672" y="454610"/>
                  <a:pt x="2369110" y="454610"/>
                </a:cubicBezTo>
                <a:cubicBezTo>
                  <a:pt x="2361327" y="454610"/>
                  <a:pt x="2354319" y="448046"/>
                  <a:pt x="2354319" y="440753"/>
                </a:cubicBezTo>
                <a:cubicBezTo>
                  <a:pt x="2354319" y="432731"/>
                  <a:pt x="2361327" y="428356"/>
                  <a:pt x="2369110" y="428356"/>
                </a:cubicBezTo>
                <a:close/>
                <a:moveTo>
                  <a:pt x="2298278" y="428356"/>
                </a:moveTo>
                <a:cubicBezTo>
                  <a:pt x="2306842" y="428356"/>
                  <a:pt x="2313066" y="432731"/>
                  <a:pt x="2313066" y="440753"/>
                </a:cubicBezTo>
                <a:cubicBezTo>
                  <a:pt x="2313066" y="448046"/>
                  <a:pt x="2306842" y="454610"/>
                  <a:pt x="2298278" y="454610"/>
                </a:cubicBezTo>
                <a:cubicBezTo>
                  <a:pt x="2290494" y="454610"/>
                  <a:pt x="2283490" y="448046"/>
                  <a:pt x="2283490" y="440753"/>
                </a:cubicBezTo>
                <a:cubicBezTo>
                  <a:pt x="2283490" y="432731"/>
                  <a:pt x="2290494" y="428356"/>
                  <a:pt x="2298278" y="428356"/>
                </a:cubicBezTo>
                <a:close/>
                <a:moveTo>
                  <a:pt x="2226514" y="428356"/>
                </a:moveTo>
                <a:cubicBezTo>
                  <a:pt x="2234537" y="428356"/>
                  <a:pt x="2238914" y="432731"/>
                  <a:pt x="2238914" y="440753"/>
                </a:cubicBezTo>
                <a:cubicBezTo>
                  <a:pt x="2238914" y="448046"/>
                  <a:pt x="2234537" y="454610"/>
                  <a:pt x="2226514" y="454610"/>
                </a:cubicBezTo>
                <a:cubicBezTo>
                  <a:pt x="2218492" y="454610"/>
                  <a:pt x="2212656" y="448046"/>
                  <a:pt x="2212656" y="440753"/>
                </a:cubicBezTo>
                <a:cubicBezTo>
                  <a:pt x="2212656" y="432731"/>
                  <a:pt x="2218492" y="428356"/>
                  <a:pt x="2226514" y="428356"/>
                </a:cubicBezTo>
                <a:close/>
                <a:moveTo>
                  <a:pt x="2155682" y="428356"/>
                </a:moveTo>
                <a:cubicBezTo>
                  <a:pt x="2161517" y="428356"/>
                  <a:pt x="2168079" y="432731"/>
                  <a:pt x="2168079" y="440753"/>
                </a:cubicBezTo>
                <a:cubicBezTo>
                  <a:pt x="2168079" y="448046"/>
                  <a:pt x="2161517" y="454610"/>
                  <a:pt x="2155682" y="454610"/>
                </a:cubicBezTo>
                <a:cubicBezTo>
                  <a:pt x="2147658" y="454610"/>
                  <a:pt x="2141825" y="448046"/>
                  <a:pt x="2141825" y="440753"/>
                </a:cubicBezTo>
                <a:cubicBezTo>
                  <a:pt x="2141825" y="432731"/>
                  <a:pt x="2147658" y="428356"/>
                  <a:pt x="2155682" y="428356"/>
                </a:cubicBezTo>
                <a:close/>
                <a:moveTo>
                  <a:pt x="2084846" y="428356"/>
                </a:moveTo>
                <a:cubicBezTo>
                  <a:pt x="2090682" y="428356"/>
                  <a:pt x="2097246" y="432731"/>
                  <a:pt x="2097246" y="440753"/>
                </a:cubicBezTo>
                <a:cubicBezTo>
                  <a:pt x="2097246" y="448046"/>
                  <a:pt x="2090682" y="454610"/>
                  <a:pt x="2084846" y="454610"/>
                </a:cubicBezTo>
                <a:cubicBezTo>
                  <a:pt x="2076827" y="454610"/>
                  <a:pt x="2070991" y="448046"/>
                  <a:pt x="2070991" y="440753"/>
                </a:cubicBezTo>
                <a:cubicBezTo>
                  <a:pt x="2070991" y="432731"/>
                  <a:pt x="2076827" y="428356"/>
                  <a:pt x="2084846" y="428356"/>
                </a:cubicBezTo>
                <a:close/>
                <a:moveTo>
                  <a:pt x="2011832" y="428356"/>
                </a:moveTo>
                <a:cubicBezTo>
                  <a:pt x="2019855" y="428356"/>
                  <a:pt x="2026418" y="432731"/>
                  <a:pt x="2026418" y="440753"/>
                </a:cubicBezTo>
                <a:cubicBezTo>
                  <a:pt x="2026418" y="448046"/>
                  <a:pt x="2019855" y="454610"/>
                  <a:pt x="2011832" y="454610"/>
                </a:cubicBezTo>
                <a:cubicBezTo>
                  <a:pt x="2005999" y="454610"/>
                  <a:pt x="2000165" y="448046"/>
                  <a:pt x="2000165" y="440753"/>
                </a:cubicBezTo>
                <a:cubicBezTo>
                  <a:pt x="2000165" y="432731"/>
                  <a:pt x="2005999" y="428356"/>
                  <a:pt x="2011832" y="428356"/>
                </a:cubicBezTo>
                <a:close/>
                <a:moveTo>
                  <a:pt x="1938362" y="428356"/>
                </a:moveTo>
                <a:cubicBezTo>
                  <a:pt x="1946382" y="428356"/>
                  <a:pt x="1952216" y="432731"/>
                  <a:pt x="1952216" y="440753"/>
                </a:cubicBezTo>
                <a:cubicBezTo>
                  <a:pt x="1952216" y="448046"/>
                  <a:pt x="1946382" y="454610"/>
                  <a:pt x="1938362" y="454610"/>
                </a:cubicBezTo>
                <a:cubicBezTo>
                  <a:pt x="1932525" y="454610"/>
                  <a:pt x="1925965" y="448046"/>
                  <a:pt x="1925965" y="440753"/>
                </a:cubicBezTo>
                <a:cubicBezTo>
                  <a:pt x="1925965" y="432731"/>
                  <a:pt x="1932525" y="428356"/>
                  <a:pt x="1938362" y="428356"/>
                </a:cubicBezTo>
                <a:close/>
                <a:moveTo>
                  <a:pt x="1867525" y="428356"/>
                </a:moveTo>
                <a:cubicBezTo>
                  <a:pt x="1875547" y="428356"/>
                  <a:pt x="1881384" y="432731"/>
                  <a:pt x="1881384" y="440753"/>
                </a:cubicBezTo>
                <a:cubicBezTo>
                  <a:pt x="1881384" y="448046"/>
                  <a:pt x="1875547" y="454610"/>
                  <a:pt x="1867525" y="454610"/>
                </a:cubicBezTo>
                <a:cubicBezTo>
                  <a:pt x="1860232" y="454610"/>
                  <a:pt x="1855126" y="448046"/>
                  <a:pt x="1855126" y="440753"/>
                </a:cubicBezTo>
                <a:cubicBezTo>
                  <a:pt x="1855126" y="432731"/>
                  <a:pt x="1860232" y="428356"/>
                  <a:pt x="1867525" y="428356"/>
                </a:cubicBezTo>
                <a:close/>
                <a:moveTo>
                  <a:pt x="1799085" y="428356"/>
                </a:moveTo>
                <a:cubicBezTo>
                  <a:pt x="1807644" y="428356"/>
                  <a:pt x="1813873" y="434190"/>
                  <a:pt x="1813873" y="440753"/>
                </a:cubicBezTo>
                <a:cubicBezTo>
                  <a:pt x="1813873" y="448046"/>
                  <a:pt x="1807644" y="454610"/>
                  <a:pt x="1799085" y="454610"/>
                </a:cubicBezTo>
                <a:cubicBezTo>
                  <a:pt x="1790521" y="454610"/>
                  <a:pt x="1784298" y="448046"/>
                  <a:pt x="1784298" y="440753"/>
                </a:cubicBezTo>
                <a:cubicBezTo>
                  <a:pt x="1784298" y="434190"/>
                  <a:pt x="1790521" y="428356"/>
                  <a:pt x="1799085" y="428356"/>
                </a:cubicBezTo>
                <a:close/>
                <a:moveTo>
                  <a:pt x="1728260" y="428356"/>
                </a:moveTo>
                <a:cubicBezTo>
                  <a:pt x="1736822" y="428356"/>
                  <a:pt x="1743046" y="434190"/>
                  <a:pt x="1743046" y="440753"/>
                </a:cubicBezTo>
                <a:cubicBezTo>
                  <a:pt x="1743046" y="448046"/>
                  <a:pt x="1736822" y="454610"/>
                  <a:pt x="1728260" y="454610"/>
                </a:cubicBezTo>
                <a:cubicBezTo>
                  <a:pt x="1719694" y="454610"/>
                  <a:pt x="1713469" y="448046"/>
                  <a:pt x="1713469" y="440753"/>
                </a:cubicBezTo>
                <a:cubicBezTo>
                  <a:pt x="1713469" y="434190"/>
                  <a:pt x="1719694" y="428356"/>
                  <a:pt x="1728260" y="428356"/>
                </a:cubicBezTo>
                <a:close/>
                <a:moveTo>
                  <a:pt x="1657426" y="428356"/>
                </a:moveTo>
                <a:cubicBezTo>
                  <a:pt x="1665212" y="428356"/>
                  <a:pt x="1672218" y="434190"/>
                  <a:pt x="1672218" y="440753"/>
                </a:cubicBezTo>
                <a:cubicBezTo>
                  <a:pt x="1672218" y="448046"/>
                  <a:pt x="1665212" y="454610"/>
                  <a:pt x="1657426" y="454610"/>
                </a:cubicBezTo>
                <a:cubicBezTo>
                  <a:pt x="1648870" y="454610"/>
                  <a:pt x="1642647" y="448046"/>
                  <a:pt x="1642647" y="440753"/>
                </a:cubicBezTo>
                <a:cubicBezTo>
                  <a:pt x="1642647" y="434190"/>
                  <a:pt x="1648870" y="428356"/>
                  <a:pt x="1657426" y="428356"/>
                </a:cubicBezTo>
                <a:close/>
                <a:moveTo>
                  <a:pt x="1582294" y="428356"/>
                </a:moveTo>
                <a:cubicBezTo>
                  <a:pt x="1589590" y="428356"/>
                  <a:pt x="1594697" y="434190"/>
                  <a:pt x="1594697" y="440753"/>
                </a:cubicBezTo>
                <a:cubicBezTo>
                  <a:pt x="1594697" y="448046"/>
                  <a:pt x="1589590" y="454610"/>
                  <a:pt x="1582294" y="454610"/>
                </a:cubicBezTo>
                <a:cubicBezTo>
                  <a:pt x="1574274" y="454610"/>
                  <a:pt x="1568438" y="448046"/>
                  <a:pt x="1568438" y="440753"/>
                </a:cubicBezTo>
                <a:cubicBezTo>
                  <a:pt x="1568438" y="434190"/>
                  <a:pt x="1574274" y="428356"/>
                  <a:pt x="1582294" y="428356"/>
                </a:cubicBezTo>
                <a:close/>
                <a:moveTo>
                  <a:pt x="1512195" y="428356"/>
                </a:moveTo>
                <a:cubicBezTo>
                  <a:pt x="1518027" y="428356"/>
                  <a:pt x="1523862" y="434190"/>
                  <a:pt x="1523862" y="440753"/>
                </a:cubicBezTo>
                <a:cubicBezTo>
                  <a:pt x="1523862" y="448046"/>
                  <a:pt x="1518027" y="454610"/>
                  <a:pt x="1512195" y="454610"/>
                </a:cubicBezTo>
                <a:cubicBezTo>
                  <a:pt x="1504171" y="454610"/>
                  <a:pt x="1497610" y="448046"/>
                  <a:pt x="1497610" y="440753"/>
                </a:cubicBezTo>
                <a:cubicBezTo>
                  <a:pt x="1497610" y="434190"/>
                  <a:pt x="1504171" y="428356"/>
                  <a:pt x="1512195" y="428356"/>
                </a:cubicBezTo>
                <a:close/>
                <a:moveTo>
                  <a:pt x="1439171" y="428356"/>
                </a:moveTo>
                <a:cubicBezTo>
                  <a:pt x="1447188" y="428356"/>
                  <a:pt x="1453023" y="434190"/>
                  <a:pt x="1453023" y="440753"/>
                </a:cubicBezTo>
                <a:cubicBezTo>
                  <a:pt x="1453023" y="448046"/>
                  <a:pt x="1447188" y="454610"/>
                  <a:pt x="1439171" y="454610"/>
                </a:cubicBezTo>
                <a:cubicBezTo>
                  <a:pt x="1433336" y="454610"/>
                  <a:pt x="1426771" y="448046"/>
                  <a:pt x="1426771" y="440753"/>
                </a:cubicBezTo>
                <a:cubicBezTo>
                  <a:pt x="1426771" y="434190"/>
                  <a:pt x="1433336" y="428356"/>
                  <a:pt x="1439171" y="428356"/>
                </a:cubicBezTo>
                <a:close/>
                <a:moveTo>
                  <a:pt x="1368344" y="428356"/>
                </a:moveTo>
                <a:cubicBezTo>
                  <a:pt x="1376365" y="428356"/>
                  <a:pt x="1382196" y="434190"/>
                  <a:pt x="1382196" y="440753"/>
                </a:cubicBezTo>
                <a:cubicBezTo>
                  <a:pt x="1382196" y="448046"/>
                  <a:pt x="1376365" y="454610"/>
                  <a:pt x="1368344" y="454610"/>
                </a:cubicBezTo>
                <a:cubicBezTo>
                  <a:pt x="1362508" y="454610"/>
                  <a:pt x="1355948" y="448046"/>
                  <a:pt x="1355948" y="440753"/>
                </a:cubicBezTo>
                <a:cubicBezTo>
                  <a:pt x="1355948" y="434190"/>
                  <a:pt x="1362508" y="428356"/>
                  <a:pt x="1368344" y="428356"/>
                </a:cubicBezTo>
                <a:close/>
                <a:moveTo>
                  <a:pt x="1297515" y="428356"/>
                </a:moveTo>
                <a:cubicBezTo>
                  <a:pt x="1305538" y="428356"/>
                  <a:pt x="1311372" y="434190"/>
                  <a:pt x="1311372" y="440753"/>
                </a:cubicBezTo>
                <a:cubicBezTo>
                  <a:pt x="1311372" y="448046"/>
                  <a:pt x="1305538" y="454610"/>
                  <a:pt x="1297515" y="454610"/>
                </a:cubicBezTo>
                <a:cubicBezTo>
                  <a:pt x="1289495" y="454610"/>
                  <a:pt x="1285118" y="448046"/>
                  <a:pt x="1285118" y="440753"/>
                </a:cubicBezTo>
                <a:cubicBezTo>
                  <a:pt x="1285118" y="434190"/>
                  <a:pt x="1289495" y="428356"/>
                  <a:pt x="1297515" y="428356"/>
                </a:cubicBezTo>
                <a:close/>
                <a:moveTo>
                  <a:pt x="1225703" y="428356"/>
                </a:moveTo>
                <a:cubicBezTo>
                  <a:pt x="1233487" y="428356"/>
                  <a:pt x="1240491" y="434190"/>
                  <a:pt x="1240491" y="440753"/>
                </a:cubicBezTo>
                <a:cubicBezTo>
                  <a:pt x="1240491" y="448046"/>
                  <a:pt x="1233487" y="454610"/>
                  <a:pt x="1225703" y="454610"/>
                </a:cubicBezTo>
                <a:cubicBezTo>
                  <a:pt x="1217156" y="454610"/>
                  <a:pt x="1210925" y="448046"/>
                  <a:pt x="1210925" y="440753"/>
                </a:cubicBezTo>
                <a:cubicBezTo>
                  <a:pt x="1210925" y="434190"/>
                  <a:pt x="1217156" y="428356"/>
                  <a:pt x="1225703" y="428356"/>
                </a:cubicBezTo>
                <a:close/>
                <a:moveTo>
                  <a:pt x="1154886" y="428356"/>
                </a:moveTo>
                <a:cubicBezTo>
                  <a:pt x="1162673" y="428356"/>
                  <a:pt x="1169676" y="434190"/>
                  <a:pt x="1169676" y="440753"/>
                </a:cubicBezTo>
                <a:cubicBezTo>
                  <a:pt x="1169676" y="448046"/>
                  <a:pt x="1162673" y="454610"/>
                  <a:pt x="1154886" y="454610"/>
                </a:cubicBezTo>
                <a:cubicBezTo>
                  <a:pt x="1146323" y="454610"/>
                  <a:pt x="1140096" y="448046"/>
                  <a:pt x="1140096" y="440753"/>
                </a:cubicBezTo>
                <a:cubicBezTo>
                  <a:pt x="1140096" y="434190"/>
                  <a:pt x="1146323" y="428356"/>
                  <a:pt x="1154886" y="428356"/>
                </a:cubicBezTo>
                <a:close/>
                <a:moveTo>
                  <a:pt x="1084056" y="428356"/>
                </a:moveTo>
                <a:cubicBezTo>
                  <a:pt x="1091840" y="428356"/>
                  <a:pt x="1098844" y="434190"/>
                  <a:pt x="1098844" y="440753"/>
                </a:cubicBezTo>
                <a:cubicBezTo>
                  <a:pt x="1098844" y="448046"/>
                  <a:pt x="1091840" y="454610"/>
                  <a:pt x="1084056" y="454610"/>
                </a:cubicBezTo>
                <a:cubicBezTo>
                  <a:pt x="1075492" y="454610"/>
                  <a:pt x="1069267" y="448046"/>
                  <a:pt x="1069267" y="440753"/>
                </a:cubicBezTo>
                <a:cubicBezTo>
                  <a:pt x="1069267" y="434190"/>
                  <a:pt x="1075492" y="428356"/>
                  <a:pt x="1084056" y="428356"/>
                </a:cubicBezTo>
                <a:close/>
                <a:moveTo>
                  <a:pt x="1013015" y="428356"/>
                </a:moveTo>
                <a:cubicBezTo>
                  <a:pt x="1020312" y="428356"/>
                  <a:pt x="1024685" y="434190"/>
                  <a:pt x="1024685" y="440753"/>
                </a:cubicBezTo>
                <a:cubicBezTo>
                  <a:pt x="1024685" y="448046"/>
                  <a:pt x="1020312" y="454610"/>
                  <a:pt x="1013015" y="454610"/>
                </a:cubicBezTo>
                <a:cubicBezTo>
                  <a:pt x="1004998" y="454610"/>
                  <a:pt x="998434" y="448046"/>
                  <a:pt x="998434" y="440753"/>
                </a:cubicBezTo>
                <a:cubicBezTo>
                  <a:pt x="998434" y="434190"/>
                  <a:pt x="1004998" y="428356"/>
                  <a:pt x="1013015" y="428356"/>
                </a:cubicBezTo>
                <a:close/>
                <a:moveTo>
                  <a:pt x="941465" y="428356"/>
                </a:moveTo>
                <a:cubicBezTo>
                  <a:pt x="948030" y="428356"/>
                  <a:pt x="953864" y="434190"/>
                  <a:pt x="953864" y="440753"/>
                </a:cubicBezTo>
                <a:cubicBezTo>
                  <a:pt x="953864" y="448046"/>
                  <a:pt x="948030" y="454610"/>
                  <a:pt x="941465" y="454610"/>
                </a:cubicBezTo>
                <a:cubicBezTo>
                  <a:pt x="934168" y="454610"/>
                  <a:pt x="927611" y="448046"/>
                  <a:pt x="927611" y="440753"/>
                </a:cubicBezTo>
                <a:cubicBezTo>
                  <a:pt x="927611" y="434190"/>
                  <a:pt x="934168" y="428356"/>
                  <a:pt x="941465" y="428356"/>
                </a:cubicBezTo>
                <a:close/>
                <a:moveTo>
                  <a:pt x="870633" y="428356"/>
                </a:moveTo>
                <a:cubicBezTo>
                  <a:pt x="877194" y="428356"/>
                  <a:pt x="883030" y="434190"/>
                  <a:pt x="883030" y="440753"/>
                </a:cubicBezTo>
                <a:cubicBezTo>
                  <a:pt x="883030" y="448046"/>
                  <a:pt x="877194" y="454610"/>
                  <a:pt x="870633" y="454610"/>
                </a:cubicBezTo>
                <a:cubicBezTo>
                  <a:pt x="863341" y="454610"/>
                  <a:pt x="856774" y="448046"/>
                  <a:pt x="856774" y="440753"/>
                </a:cubicBezTo>
                <a:cubicBezTo>
                  <a:pt x="856774" y="434190"/>
                  <a:pt x="863341" y="428356"/>
                  <a:pt x="870633" y="428356"/>
                </a:cubicBezTo>
                <a:close/>
                <a:moveTo>
                  <a:pt x="798344" y="428356"/>
                </a:moveTo>
                <a:cubicBezTo>
                  <a:pt x="806370" y="428356"/>
                  <a:pt x="812196" y="434190"/>
                  <a:pt x="812196" y="440753"/>
                </a:cubicBezTo>
                <a:cubicBezTo>
                  <a:pt x="812196" y="448046"/>
                  <a:pt x="806370" y="454610"/>
                  <a:pt x="798344" y="454610"/>
                </a:cubicBezTo>
                <a:cubicBezTo>
                  <a:pt x="792510" y="454610"/>
                  <a:pt x="785947" y="448046"/>
                  <a:pt x="785947" y="440753"/>
                </a:cubicBezTo>
                <a:cubicBezTo>
                  <a:pt x="785947" y="434190"/>
                  <a:pt x="792510" y="428356"/>
                  <a:pt x="798344" y="428356"/>
                </a:cubicBezTo>
                <a:close/>
                <a:moveTo>
                  <a:pt x="724138" y="428356"/>
                </a:moveTo>
                <a:cubicBezTo>
                  <a:pt x="731434" y="428356"/>
                  <a:pt x="738002" y="434190"/>
                  <a:pt x="738002" y="442212"/>
                </a:cubicBezTo>
                <a:cubicBezTo>
                  <a:pt x="738002" y="448046"/>
                  <a:pt x="731434" y="454610"/>
                  <a:pt x="724138" y="454610"/>
                </a:cubicBezTo>
                <a:cubicBezTo>
                  <a:pt x="717578" y="454610"/>
                  <a:pt x="711747" y="448046"/>
                  <a:pt x="711747" y="442212"/>
                </a:cubicBezTo>
                <a:cubicBezTo>
                  <a:pt x="711747" y="434190"/>
                  <a:pt x="717578" y="428356"/>
                  <a:pt x="724138" y="428356"/>
                </a:cubicBezTo>
                <a:close/>
                <a:moveTo>
                  <a:pt x="653312" y="428356"/>
                </a:moveTo>
                <a:cubicBezTo>
                  <a:pt x="660604" y="428356"/>
                  <a:pt x="667165" y="434190"/>
                  <a:pt x="667165" y="442212"/>
                </a:cubicBezTo>
                <a:cubicBezTo>
                  <a:pt x="667165" y="448046"/>
                  <a:pt x="660604" y="454610"/>
                  <a:pt x="653312" y="454610"/>
                </a:cubicBezTo>
                <a:cubicBezTo>
                  <a:pt x="645288" y="454610"/>
                  <a:pt x="640912" y="448046"/>
                  <a:pt x="640912" y="442212"/>
                </a:cubicBezTo>
                <a:cubicBezTo>
                  <a:pt x="640912" y="434190"/>
                  <a:pt x="645288" y="428356"/>
                  <a:pt x="653312" y="428356"/>
                </a:cubicBezTo>
                <a:close/>
                <a:moveTo>
                  <a:pt x="3796752" y="424982"/>
                </a:moveTo>
                <a:cubicBezTo>
                  <a:pt x="3804774" y="424982"/>
                  <a:pt x="3810608" y="431209"/>
                  <a:pt x="3810608" y="439771"/>
                </a:cubicBezTo>
                <a:cubicBezTo>
                  <a:pt x="3810608" y="447555"/>
                  <a:pt x="3804774" y="454560"/>
                  <a:pt x="3796752" y="454560"/>
                </a:cubicBezTo>
                <a:cubicBezTo>
                  <a:pt x="3790918" y="454560"/>
                  <a:pt x="3784355" y="447555"/>
                  <a:pt x="3784355" y="439771"/>
                </a:cubicBezTo>
                <a:cubicBezTo>
                  <a:pt x="3784355" y="431209"/>
                  <a:pt x="3790918" y="424982"/>
                  <a:pt x="3796752" y="424982"/>
                </a:cubicBezTo>
                <a:close/>
                <a:moveTo>
                  <a:pt x="3725922" y="424982"/>
                </a:moveTo>
                <a:cubicBezTo>
                  <a:pt x="3733944" y="424982"/>
                  <a:pt x="3739778" y="431209"/>
                  <a:pt x="3739778" y="439771"/>
                </a:cubicBezTo>
                <a:cubicBezTo>
                  <a:pt x="3739778" y="447555"/>
                  <a:pt x="3733944" y="454560"/>
                  <a:pt x="3725922" y="454560"/>
                </a:cubicBezTo>
                <a:cubicBezTo>
                  <a:pt x="3719359" y="454560"/>
                  <a:pt x="3713525" y="447555"/>
                  <a:pt x="3713525" y="439771"/>
                </a:cubicBezTo>
                <a:cubicBezTo>
                  <a:pt x="3713525" y="431209"/>
                  <a:pt x="3717900" y="424982"/>
                  <a:pt x="3725922" y="424982"/>
                </a:cubicBezTo>
                <a:close/>
                <a:moveTo>
                  <a:pt x="3655091" y="424982"/>
                </a:moveTo>
                <a:cubicBezTo>
                  <a:pt x="3662384" y="424982"/>
                  <a:pt x="3668947" y="431209"/>
                  <a:pt x="3668947" y="439771"/>
                </a:cubicBezTo>
                <a:cubicBezTo>
                  <a:pt x="3668947" y="447555"/>
                  <a:pt x="3662384" y="454560"/>
                  <a:pt x="3655091" y="454560"/>
                </a:cubicBezTo>
                <a:cubicBezTo>
                  <a:pt x="3647069" y="454560"/>
                  <a:pt x="3642694" y="447555"/>
                  <a:pt x="3642694" y="439771"/>
                </a:cubicBezTo>
                <a:cubicBezTo>
                  <a:pt x="3642694" y="431209"/>
                  <a:pt x="3647069" y="424982"/>
                  <a:pt x="3655091" y="424982"/>
                </a:cubicBezTo>
                <a:close/>
                <a:moveTo>
                  <a:pt x="3583280" y="424982"/>
                </a:moveTo>
                <a:cubicBezTo>
                  <a:pt x="3591064" y="424982"/>
                  <a:pt x="3598069" y="431209"/>
                  <a:pt x="3598069" y="439771"/>
                </a:cubicBezTo>
                <a:cubicBezTo>
                  <a:pt x="3598069" y="447555"/>
                  <a:pt x="3591064" y="454560"/>
                  <a:pt x="3583280" y="454560"/>
                </a:cubicBezTo>
                <a:cubicBezTo>
                  <a:pt x="3574718" y="454560"/>
                  <a:pt x="3568491" y="447555"/>
                  <a:pt x="3568491" y="439771"/>
                </a:cubicBezTo>
                <a:cubicBezTo>
                  <a:pt x="3568491" y="431209"/>
                  <a:pt x="3574718" y="424982"/>
                  <a:pt x="3583280" y="424982"/>
                </a:cubicBezTo>
                <a:close/>
                <a:moveTo>
                  <a:pt x="3512449" y="424982"/>
                </a:moveTo>
                <a:cubicBezTo>
                  <a:pt x="3520232" y="424982"/>
                  <a:pt x="3527237" y="431209"/>
                  <a:pt x="3527237" y="439771"/>
                </a:cubicBezTo>
                <a:cubicBezTo>
                  <a:pt x="3527237" y="447555"/>
                  <a:pt x="3520232" y="454560"/>
                  <a:pt x="3512449" y="454560"/>
                </a:cubicBezTo>
                <a:cubicBezTo>
                  <a:pt x="3503887" y="454560"/>
                  <a:pt x="3497661" y="447555"/>
                  <a:pt x="3497661" y="439771"/>
                </a:cubicBezTo>
                <a:cubicBezTo>
                  <a:pt x="3497661" y="431209"/>
                  <a:pt x="3503887" y="424982"/>
                  <a:pt x="3512449" y="424982"/>
                </a:cubicBezTo>
                <a:close/>
                <a:moveTo>
                  <a:pt x="3440686" y="424982"/>
                </a:moveTo>
                <a:cubicBezTo>
                  <a:pt x="3448708" y="424982"/>
                  <a:pt x="3453083" y="431209"/>
                  <a:pt x="3453083" y="439771"/>
                </a:cubicBezTo>
                <a:cubicBezTo>
                  <a:pt x="3453083" y="447555"/>
                  <a:pt x="3448708" y="454560"/>
                  <a:pt x="3440686" y="454560"/>
                </a:cubicBezTo>
                <a:cubicBezTo>
                  <a:pt x="3433393" y="454560"/>
                  <a:pt x="3426830" y="447555"/>
                  <a:pt x="3426830" y="439771"/>
                </a:cubicBezTo>
                <a:cubicBezTo>
                  <a:pt x="3426830" y="431209"/>
                  <a:pt x="3433393" y="424982"/>
                  <a:pt x="3440686" y="424982"/>
                </a:cubicBezTo>
                <a:close/>
                <a:moveTo>
                  <a:pt x="3369857" y="424982"/>
                </a:moveTo>
                <a:cubicBezTo>
                  <a:pt x="3376420" y="424982"/>
                  <a:pt x="3382254" y="431209"/>
                  <a:pt x="3382254" y="439771"/>
                </a:cubicBezTo>
                <a:cubicBezTo>
                  <a:pt x="3382254" y="447555"/>
                  <a:pt x="3376420" y="454560"/>
                  <a:pt x="3369857" y="454560"/>
                </a:cubicBezTo>
                <a:cubicBezTo>
                  <a:pt x="3362564" y="454560"/>
                  <a:pt x="3356001" y="447555"/>
                  <a:pt x="3356001" y="439771"/>
                </a:cubicBezTo>
                <a:cubicBezTo>
                  <a:pt x="3356001" y="431209"/>
                  <a:pt x="3362564" y="424982"/>
                  <a:pt x="3369857" y="424982"/>
                </a:cubicBezTo>
                <a:close/>
                <a:moveTo>
                  <a:pt x="3299097" y="424982"/>
                </a:moveTo>
                <a:cubicBezTo>
                  <a:pt x="3305656" y="424982"/>
                  <a:pt x="3311491" y="431209"/>
                  <a:pt x="3311491" y="439771"/>
                </a:cubicBezTo>
                <a:cubicBezTo>
                  <a:pt x="3311491" y="447555"/>
                  <a:pt x="3305656" y="454560"/>
                  <a:pt x="3299097" y="454560"/>
                </a:cubicBezTo>
                <a:cubicBezTo>
                  <a:pt x="3291802" y="454560"/>
                  <a:pt x="3285240" y="447555"/>
                  <a:pt x="3285240" y="439771"/>
                </a:cubicBezTo>
                <a:cubicBezTo>
                  <a:pt x="3285240" y="431209"/>
                  <a:pt x="3291802" y="424982"/>
                  <a:pt x="3299097" y="424982"/>
                </a:cubicBezTo>
                <a:close/>
                <a:moveTo>
                  <a:pt x="3226805" y="424982"/>
                </a:moveTo>
                <a:cubicBezTo>
                  <a:pt x="3234825" y="424982"/>
                  <a:pt x="3240664" y="431209"/>
                  <a:pt x="3240664" y="439771"/>
                </a:cubicBezTo>
                <a:cubicBezTo>
                  <a:pt x="3240664" y="447555"/>
                  <a:pt x="3234825" y="454560"/>
                  <a:pt x="3226805" y="454560"/>
                </a:cubicBezTo>
                <a:cubicBezTo>
                  <a:pt x="3220242" y="454560"/>
                  <a:pt x="3214406" y="447555"/>
                  <a:pt x="3214406" y="439771"/>
                </a:cubicBezTo>
                <a:cubicBezTo>
                  <a:pt x="3214406" y="431209"/>
                  <a:pt x="3220242" y="424982"/>
                  <a:pt x="3226805" y="424982"/>
                </a:cubicBezTo>
                <a:close/>
                <a:moveTo>
                  <a:pt x="3152602" y="424982"/>
                </a:moveTo>
                <a:cubicBezTo>
                  <a:pt x="3159895" y="424982"/>
                  <a:pt x="3166460" y="431209"/>
                  <a:pt x="3166460" y="439771"/>
                </a:cubicBezTo>
                <a:cubicBezTo>
                  <a:pt x="3166460" y="447555"/>
                  <a:pt x="3159895" y="454560"/>
                  <a:pt x="3152602" y="454560"/>
                </a:cubicBezTo>
                <a:cubicBezTo>
                  <a:pt x="3146038" y="454560"/>
                  <a:pt x="3140203" y="447555"/>
                  <a:pt x="3140203" y="439771"/>
                </a:cubicBezTo>
                <a:cubicBezTo>
                  <a:pt x="3140203" y="431209"/>
                  <a:pt x="3146038" y="424982"/>
                  <a:pt x="3152602" y="424982"/>
                </a:cubicBezTo>
                <a:close/>
                <a:moveTo>
                  <a:pt x="3081772" y="424982"/>
                </a:moveTo>
                <a:cubicBezTo>
                  <a:pt x="3089064" y="424982"/>
                  <a:pt x="3095624" y="431209"/>
                  <a:pt x="3095624" y="439771"/>
                </a:cubicBezTo>
                <a:cubicBezTo>
                  <a:pt x="3095624" y="447555"/>
                  <a:pt x="3089064" y="454560"/>
                  <a:pt x="3081772" y="454560"/>
                </a:cubicBezTo>
                <a:cubicBezTo>
                  <a:pt x="3073748" y="454560"/>
                  <a:pt x="3069372" y="447555"/>
                  <a:pt x="3069372" y="439771"/>
                </a:cubicBezTo>
                <a:cubicBezTo>
                  <a:pt x="3069372" y="431209"/>
                  <a:pt x="3073748" y="424982"/>
                  <a:pt x="3081772" y="424982"/>
                </a:cubicBezTo>
                <a:close/>
                <a:moveTo>
                  <a:pt x="3013715" y="424982"/>
                </a:moveTo>
                <a:cubicBezTo>
                  <a:pt x="3021305" y="424982"/>
                  <a:pt x="3028135" y="431209"/>
                  <a:pt x="3028135" y="439771"/>
                </a:cubicBezTo>
                <a:cubicBezTo>
                  <a:pt x="3028135" y="447555"/>
                  <a:pt x="3021305" y="454560"/>
                  <a:pt x="3013715" y="454560"/>
                </a:cubicBezTo>
                <a:cubicBezTo>
                  <a:pt x="3005368" y="454560"/>
                  <a:pt x="2998539" y="447555"/>
                  <a:pt x="2998539" y="439771"/>
                </a:cubicBezTo>
                <a:cubicBezTo>
                  <a:pt x="2998539" y="431209"/>
                  <a:pt x="3005368" y="424982"/>
                  <a:pt x="3013715" y="424982"/>
                </a:cubicBezTo>
                <a:close/>
                <a:moveTo>
                  <a:pt x="2942491" y="424982"/>
                </a:moveTo>
                <a:cubicBezTo>
                  <a:pt x="2951052" y="424982"/>
                  <a:pt x="2957286" y="431209"/>
                  <a:pt x="2957286" y="439771"/>
                </a:cubicBezTo>
                <a:cubicBezTo>
                  <a:pt x="2957286" y="447555"/>
                  <a:pt x="2951052" y="454560"/>
                  <a:pt x="2942491" y="454560"/>
                </a:cubicBezTo>
                <a:cubicBezTo>
                  <a:pt x="2934710" y="454560"/>
                  <a:pt x="2927708" y="447555"/>
                  <a:pt x="2927708" y="439771"/>
                </a:cubicBezTo>
                <a:cubicBezTo>
                  <a:pt x="2927708" y="431209"/>
                  <a:pt x="2934710" y="424982"/>
                  <a:pt x="2942491" y="424982"/>
                </a:cubicBezTo>
                <a:close/>
                <a:moveTo>
                  <a:pt x="2868291" y="424982"/>
                </a:moveTo>
                <a:cubicBezTo>
                  <a:pt x="2876858" y="424982"/>
                  <a:pt x="2883085" y="431209"/>
                  <a:pt x="2883085" y="439771"/>
                </a:cubicBezTo>
                <a:cubicBezTo>
                  <a:pt x="2883085" y="447555"/>
                  <a:pt x="2876858" y="454560"/>
                  <a:pt x="2868291" y="454560"/>
                </a:cubicBezTo>
                <a:cubicBezTo>
                  <a:pt x="2860509" y="454560"/>
                  <a:pt x="2853504" y="447555"/>
                  <a:pt x="2853504" y="439771"/>
                </a:cubicBezTo>
                <a:cubicBezTo>
                  <a:pt x="2853504" y="431209"/>
                  <a:pt x="2860509" y="424982"/>
                  <a:pt x="2868291" y="424982"/>
                </a:cubicBezTo>
                <a:close/>
                <a:moveTo>
                  <a:pt x="2796533" y="424982"/>
                </a:moveTo>
                <a:cubicBezTo>
                  <a:pt x="2804555" y="424982"/>
                  <a:pt x="2808932" y="431209"/>
                  <a:pt x="2808932" y="439771"/>
                </a:cubicBezTo>
                <a:cubicBezTo>
                  <a:pt x="2808932" y="447555"/>
                  <a:pt x="2804555" y="454560"/>
                  <a:pt x="2796533" y="454560"/>
                </a:cubicBezTo>
                <a:cubicBezTo>
                  <a:pt x="2789240" y="454560"/>
                  <a:pt x="2782678" y="447555"/>
                  <a:pt x="2782678" y="439771"/>
                </a:cubicBezTo>
                <a:cubicBezTo>
                  <a:pt x="2782678" y="431209"/>
                  <a:pt x="2789240" y="424982"/>
                  <a:pt x="2796533" y="424982"/>
                </a:cubicBezTo>
                <a:close/>
                <a:moveTo>
                  <a:pt x="2725695" y="424982"/>
                </a:moveTo>
                <a:cubicBezTo>
                  <a:pt x="2731532" y="424982"/>
                  <a:pt x="2738097" y="431209"/>
                  <a:pt x="2738097" y="439771"/>
                </a:cubicBezTo>
                <a:cubicBezTo>
                  <a:pt x="2738097" y="447555"/>
                  <a:pt x="2731532" y="454560"/>
                  <a:pt x="2725695" y="454560"/>
                </a:cubicBezTo>
                <a:cubicBezTo>
                  <a:pt x="2717681" y="454560"/>
                  <a:pt x="2711846" y="447555"/>
                  <a:pt x="2711846" y="439771"/>
                </a:cubicBezTo>
                <a:cubicBezTo>
                  <a:pt x="2711846" y="431209"/>
                  <a:pt x="2717681" y="424982"/>
                  <a:pt x="2725695" y="424982"/>
                </a:cubicBezTo>
                <a:close/>
                <a:moveTo>
                  <a:pt x="2654870" y="424982"/>
                </a:moveTo>
                <a:cubicBezTo>
                  <a:pt x="2660705" y="424982"/>
                  <a:pt x="2667270" y="431209"/>
                  <a:pt x="2667270" y="439771"/>
                </a:cubicBezTo>
                <a:cubicBezTo>
                  <a:pt x="2667270" y="447555"/>
                  <a:pt x="2660705" y="454560"/>
                  <a:pt x="2654870" y="454560"/>
                </a:cubicBezTo>
                <a:cubicBezTo>
                  <a:pt x="2646850" y="454560"/>
                  <a:pt x="2641018" y="447555"/>
                  <a:pt x="2641018" y="439771"/>
                </a:cubicBezTo>
                <a:cubicBezTo>
                  <a:pt x="2641018" y="431209"/>
                  <a:pt x="2646850" y="424982"/>
                  <a:pt x="2654870" y="424982"/>
                </a:cubicBezTo>
                <a:close/>
                <a:moveTo>
                  <a:pt x="2582580" y="424982"/>
                </a:moveTo>
                <a:cubicBezTo>
                  <a:pt x="2589875" y="424982"/>
                  <a:pt x="2596437" y="431209"/>
                  <a:pt x="2596437" y="439771"/>
                </a:cubicBezTo>
                <a:cubicBezTo>
                  <a:pt x="2596437" y="447555"/>
                  <a:pt x="2589875" y="454560"/>
                  <a:pt x="2582580" y="454560"/>
                </a:cubicBezTo>
                <a:cubicBezTo>
                  <a:pt x="2576019" y="454560"/>
                  <a:pt x="2570184" y="447555"/>
                  <a:pt x="2570184" y="439771"/>
                </a:cubicBezTo>
                <a:cubicBezTo>
                  <a:pt x="2570184" y="431209"/>
                  <a:pt x="2576019" y="424982"/>
                  <a:pt x="2582580" y="424982"/>
                </a:cubicBezTo>
                <a:close/>
                <a:moveTo>
                  <a:pt x="2511026" y="424982"/>
                </a:moveTo>
                <a:cubicBezTo>
                  <a:pt x="2519047" y="424982"/>
                  <a:pt x="2525610" y="431209"/>
                  <a:pt x="2525610" y="439771"/>
                </a:cubicBezTo>
                <a:cubicBezTo>
                  <a:pt x="2525610" y="447555"/>
                  <a:pt x="2519047" y="454560"/>
                  <a:pt x="2511026" y="454560"/>
                </a:cubicBezTo>
                <a:cubicBezTo>
                  <a:pt x="2503735" y="454560"/>
                  <a:pt x="2499361" y="447555"/>
                  <a:pt x="2499361" y="439771"/>
                </a:cubicBezTo>
                <a:cubicBezTo>
                  <a:pt x="2499361" y="431209"/>
                  <a:pt x="2503735" y="424982"/>
                  <a:pt x="2511026" y="424982"/>
                </a:cubicBezTo>
                <a:close/>
                <a:moveTo>
                  <a:pt x="1799085" y="357525"/>
                </a:moveTo>
                <a:cubicBezTo>
                  <a:pt x="1807647" y="357525"/>
                  <a:pt x="1813873" y="361900"/>
                  <a:pt x="1813873" y="369922"/>
                </a:cubicBezTo>
                <a:cubicBezTo>
                  <a:pt x="1813873" y="377215"/>
                  <a:pt x="1807647" y="383779"/>
                  <a:pt x="1799085" y="383779"/>
                </a:cubicBezTo>
                <a:cubicBezTo>
                  <a:pt x="1790525" y="383779"/>
                  <a:pt x="1784300" y="377215"/>
                  <a:pt x="1784300" y="369922"/>
                </a:cubicBezTo>
                <a:cubicBezTo>
                  <a:pt x="1784300" y="361900"/>
                  <a:pt x="1790525" y="357525"/>
                  <a:pt x="1799085" y="357525"/>
                </a:cubicBezTo>
                <a:close/>
                <a:moveTo>
                  <a:pt x="1728262" y="357525"/>
                </a:moveTo>
                <a:cubicBezTo>
                  <a:pt x="1736825" y="357525"/>
                  <a:pt x="1743049" y="361900"/>
                  <a:pt x="1743049" y="369922"/>
                </a:cubicBezTo>
                <a:cubicBezTo>
                  <a:pt x="1743049" y="377215"/>
                  <a:pt x="1736825" y="383779"/>
                  <a:pt x="1728262" y="383779"/>
                </a:cubicBezTo>
                <a:cubicBezTo>
                  <a:pt x="1719697" y="383779"/>
                  <a:pt x="1713470" y="377215"/>
                  <a:pt x="1713470" y="369922"/>
                </a:cubicBezTo>
                <a:cubicBezTo>
                  <a:pt x="1713470" y="361900"/>
                  <a:pt x="1719697" y="357525"/>
                  <a:pt x="1728262" y="357525"/>
                </a:cubicBezTo>
                <a:close/>
                <a:moveTo>
                  <a:pt x="1657429" y="357525"/>
                </a:moveTo>
                <a:cubicBezTo>
                  <a:pt x="1665215" y="357525"/>
                  <a:pt x="1672220" y="361900"/>
                  <a:pt x="1672220" y="369922"/>
                </a:cubicBezTo>
                <a:cubicBezTo>
                  <a:pt x="1672220" y="377215"/>
                  <a:pt x="1665215" y="383779"/>
                  <a:pt x="1657429" y="383779"/>
                </a:cubicBezTo>
                <a:cubicBezTo>
                  <a:pt x="1648870" y="383779"/>
                  <a:pt x="1642650" y="377215"/>
                  <a:pt x="1642650" y="369922"/>
                </a:cubicBezTo>
                <a:cubicBezTo>
                  <a:pt x="1642650" y="361900"/>
                  <a:pt x="1648870" y="357525"/>
                  <a:pt x="1657429" y="357525"/>
                </a:cubicBezTo>
                <a:close/>
                <a:moveTo>
                  <a:pt x="1582296" y="357525"/>
                </a:moveTo>
                <a:cubicBezTo>
                  <a:pt x="1589593" y="357525"/>
                  <a:pt x="1594704" y="361900"/>
                  <a:pt x="1594704" y="369922"/>
                </a:cubicBezTo>
                <a:cubicBezTo>
                  <a:pt x="1594704" y="377215"/>
                  <a:pt x="1589593" y="383779"/>
                  <a:pt x="1582296" y="383779"/>
                </a:cubicBezTo>
                <a:cubicBezTo>
                  <a:pt x="1574274" y="383779"/>
                  <a:pt x="1568441" y="377215"/>
                  <a:pt x="1568441" y="369922"/>
                </a:cubicBezTo>
                <a:cubicBezTo>
                  <a:pt x="1568441" y="361900"/>
                  <a:pt x="1574274" y="357525"/>
                  <a:pt x="1582296" y="357525"/>
                </a:cubicBezTo>
                <a:close/>
                <a:moveTo>
                  <a:pt x="1512195" y="357525"/>
                </a:moveTo>
                <a:cubicBezTo>
                  <a:pt x="1518030" y="357525"/>
                  <a:pt x="1523863" y="361900"/>
                  <a:pt x="1523863" y="369922"/>
                </a:cubicBezTo>
                <a:cubicBezTo>
                  <a:pt x="1523863" y="377215"/>
                  <a:pt x="1518030" y="383779"/>
                  <a:pt x="1512195" y="383779"/>
                </a:cubicBezTo>
                <a:cubicBezTo>
                  <a:pt x="1504171" y="383779"/>
                  <a:pt x="1497612" y="377215"/>
                  <a:pt x="1497612" y="369922"/>
                </a:cubicBezTo>
                <a:cubicBezTo>
                  <a:pt x="1497612" y="361900"/>
                  <a:pt x="1504171" y="357525"/>
                  <a:pt x="1512195" y="357525"/>
                </a:cubicBezTo>
                <a:close/>
                <a:moveTo>
                  <a:pt x="1439171" y="357525"/>
                </a:moveTo>
                <a:cubicBezTo>
                  <a:pt x="1447188" y="357525"/>
                  <a:pt x="1453023" y="361900"/>
                  <a:pt x="1453023" y="369922"/>
                </a:cubicBezTo>
                <a:cubicBezTo>
                  <a:pt x="1453023" y="377215"/>
                  <a:pt x="1447188" y="383779"/>
                  <a:pt x="1439171" y="383779"/>
                </a:cubicBezTo>
                <a:cubicBezTo>
                  <a:pt x="1433336" y="383779"/>
                  <a:pt x="1426774" y="377215"/>
                  <a:pt x="1426774" y="369922"/>
                </a:cubicBezTo>
                <a:cubicBezTo>
                  <a:pt x="1426774" y="361900"/>
                  <a:pt x="1433336" y="357525"/>
                  <a:pt x="1439171" y="357525"/>
                </a:cubicBezTo>
                <a:close/>
                <a:moveTo>
                  <a:pt x="1368347" y="357525"/>
                </a:moveTo>
                <a:cubicBezTo>
                  <a:pt x="1376368" y="357525"/>
                  <a:pt x="1382199" y="361900"/>
                  <a:pt x="1382199" y="369922"/>
                </a:cubicBezTo>
                <a:cubicBezTo>
                  <a:pt x="1382199" y="377215"/>
                  <a:pt x="1376368" y="383779"/>
                  <a:pt x="1368347" y="383779"/>
                </a:cubicBezTo>
                <a:cubicBezTo>
                  <a:pt x="1362508" y="383779"/>
                  <a:pt x="1355949" y="377215"/>
                  <a:pt x="1355949" y="369922"/>
                </a:cubicBezTo>
                <a:cubicBezTo>
                  <a:pt x="1355949" y="361900"/>
                  <a:pt x="1362508" y="357525"/>
                  <a:pt x="1368347" y="357525"/>
                </a:cubicBezTo>
                <a:close/>
                <a:moveTo>
                  <a:pt x="1297518" y="357525"/>
                </a:moveTo>
                <a:cubicBezTo>
                  <a:pt x="1305540" y="357525"/>
                  <a:pt x="1311374" y="361900"/>
                  <a:pt x="1311374" y="369922"/>
                </a:cubicBezTo>
                <a:cubicBezTo>
                  <a:pt x="1311374" y="377215"/>
                  <a:pt x="1305540" y="383779"/>
                  <a:pt x="1297518" y="383779"/>
                </a:cubicBezTo>
                <a:cubicBezTo>
                  <a:pt x="1289495" y="383779"/>
                  <a:pt x="1285121" y="377215"/>
                  <a:pt x="1285121" y="369922"/>
                </a:cubicBezTo>
                <a:cubicBezTo>
                  <a:pt x="1285121" y="361900"/>
                  <a:pt x="1289495" y="357525"/>
                  <a:pt x="1297518" y="357525"/>
                </a:cubicBezTo>
                <a:close/>
                <a:moveTo>
                  <a:pt x="1225703" y="357525"/>
                </a:moveTo>
                <a:cubicBezTo>
                  <a:pt x="1233487" y="357525"/>
                  <a:pt x="1240493" y="363359"/>
                  <a:pt x="1240493" y="369922"/>
                </a:cubicBezTo>
                <a:cubicBezTo>
                  <a:pt x="1240493" y="377215"/>
                  <a:pt x="1233487" y="383779"/>
                  <a:pt x="1225703" y="383779"/>
                </a:cubicBezTo>
                <a:cubicBezTo>
                  <a:pt x="1217156" y="383779"/>
                  <a:pt x="1210926" y="377215"/>
                  <a:pt x="1210926" y="369922"/>
                </a:cubicBezTo>
                <a:cubicBezTo>
                  <a:pt x="1210926" y="363359"/>
                  <a:pt x="1217156" y="357525"/>
                  <a:pt x="1225703" y="357525"/>
                </a:cubicBezTo>
                <a:close/>
                <a:moveTo>
                  <a:pt x="1154890" y="357525"/>
                </a:moveTo>
                <a:cubicBezTo>
                  <a:pt x="1162673" y="357525"/>
                  <a:pt x="1169676" y="363359"/>
                  <a:pt x="1169676" y="369922"/>
                </a:cubicBezTo>
                <a:cubicBezTo>
                  <a:pt x="1169676" y="377215"/>
                  <a:pt x="1162673" y="383779"/>
                  <a:pt x="1154890" y="383779"/>
                </a:cubicBezTo>
                <a:cubicBezTo>
                  <a:pt x="1146325" y="383779"/>
                  <a:pt x="1140096" y="377215"/>
                  <a:pt x="1140096" y="369922"/>
                </a:cubicBezTo>
                <a:cubicBezTo>
                  <a:pt x="1140096" y="363359"/>
                  <a:pt x="1146325" y="357525"/>
                  <a:pt x="1154890" y="357525"/>
                </a:cubicBezTo>
                <a:close/>
                <a:moveTo>
                  <a:pt x="1084059" y="357525"/>
                </a:moveTo>
                <a:cubicBezTo>
                  <a:pt x="1091842" y="357525"/>
                  <a:pt x="1098844" y="363359"/>
                  <a:pt x="1098844" y="369922"/>
                </a:cubicBezTo>
                <a:cubicBezTo>
                  <a:pt x="1098844" y="377215"/>
                  <a:pt x="1091842" y="383779"/>
                  <a:pt x="1084059" y="383779"/>
                </a:cubicBezTo>
                <a:cubicBezTo>
                  <a:pt x="1075492" y="383779"/>
                  <a:pt x="1069268" y="377215"/>
                  <a:pt x="1069268" y="369922"/>
                </a:cubicBezTo>
                <a:cubicBezTo>
                  <a:pt x="1069268" y="363359"/>
                  <a:pt x="1075492" y="357525"/>
                  <a:pt x="1084059" y="357525"/>
                </a:cubicBezTo>
                <a:close/>
                <a:moveTo>
                  <a:pt x="1013015" y="357525"/>
                </a:moveTo>
                <a:cubicBezTo>
                  <a:pt x="1020312" y="357525"/>
                  <a:pt x="1024685" y="363359"/>
                  <a:pt x="1024685" y="369922"/>
                </a:cubicBezTo>
                <a:cubicBezTo>
                  <a:pt x="1024685" y="377215"/>
                  <a:pt x="1020312" y="383779"/>
                  <a:pt x="1013015" y="383779"/>
                </a:cubicBezTo>
                <a:cubicBezTo>
                  <a:pt x="1005003" y="383779"/>
                  <a:pt x="998434" y="377215"/>
                  <a:pt x="998434" y="369922"/>
                </a:cubicBezTo>
                <a:cubicBezTo>
                  <a:pt x="998434" y="363359"/>
                  <a:pt x="1005003" y="357525"/>
                  <a:pt x="1013015" y="357525"/>
                </a:cubicBezTo>
                <a:close/>
                <a:moveTo>
                  <a:pt x="941465" y="357525"/>
                </a:moveTo>
                <a:cubicBezTo>
                  <a:pt x="948030" y="357525"/>
                  <a:pt x="953864" y="363359"/>
                  <a:pt x="953864" y="369922"/>
                </a:cubicBezTo>
                <a:cubicBezTo>
                  <a:pt x="953864" y="377215"/>
                  <a:pt x="948030" y="383779"/>
                  <a:pt x="941465" y="383779"/>
                </a:cubicBezTo>
                <a:cubicBezTo>
                  <a:pt x="934173" y="383779"/>
                  <a:pt x="927611" y="377215"/>
                  <a:pt x="927611" y="369922"/>
                </a:cubicBezTo>
                <a:cubicBezTo>
                  <a:pt x="927611" y="363359"/>
                  <a:pt x="934173" y="357525"/>
                  <a:pt x="941465" y="357525"/>
                </a:cubicBezTo>
                <a:close/>
                <a:moveTo>
                  <a:pt x="870633" y="357525"/>
                </a:moveTo>
                <a:cubicBezTo>
                  <a:pt x="877194" y="357525"/>
                  <a:pt x="883034" y="363359"/>
                  <a:pt x="883034" y="369922"/>
                </a:cubicBezTo>
                <a:cubicBezTo>
                  <a:pt x="883034" y="377215"/>
                  <a:pt x="877194" y="383779"/>
                  <a:pt x="870633" y="383779"/>
                </a:cubicBezTo>
                <a:cubicBezTo>
                  <a:pt x="863344" y="383779"/>
                  <a:pt x="856777" y="377215"/>
                  <a:pt x="856777" y="369922"/>
                </a:cubicBezTo>
                <a:cubicBezTo>
                  <a:pt x="856777" y="363359"/>
                  <a:pt x="863344" y="357525"/>
                  <a:pt x="870633" y="357525"/>
                </a:cubicBezTo>
                <a:close/>
                <a:moveTo>
                  <a:pt x="798346" y="357525"/>
                </a:moveTo>
                <a:cubicBezTo>
                  <a:pt x="806370" y="357525"/>
                  <a:pt x="812203" y="363359"/>
                  <a:pt x="812203" y="369922"/>
                </a:cubicBezTo>
                <a:cubicBezTo>
                  <a:pt x="812203" y="377215"/>
                  <a:pt x="806370" y="383779"/>
                  <a:pt x="798346" y="383779"/>
                </a:cubicBezTo>
                <a:cubicBezTo>
                  <a:pt x="792510" y="383779"/>
                  <a:pt x="785947" y="377215"/>
                  <a:pt x="785947" y="369922"/>
                </a:cubicBezTo>
                <a:cubicBezTo>
                  <a:pt x="785947" y="363359"/>
                  <a:pt x="792510" y="357525"/>
                  <a:pt x="798346" y="357525"/>
                </a:cubicBezTo>
                <a:close/>
                <a:moveTo>
                  <a:pt x="3654110" y="354153"/>
                </a:moveTo>
                <a:cubicBezTo>
                  <a:pt x="3661893" y="354153"/>
                  <a:pt x="3668898" y="360716"/>
                  <a:pt x="3668898" y="368738"/>
                </a:cubicBezTo>
                <a:cubicBezTo>
                  <a:pt x="3668898" y="376031"/>
                  <a:pt x="3661893" y="380407"/>
                  <a:pt x="3654110" y="380407"/>
                </a:cubicBezTo>
                <a:cubicBezTo>
                  <a:pt x="3645548" y="380407"/>
                  <a:pt x="3639322" y="376031"/>
                  <a:pt x="3639322" y="368738"/>
                </a:cubicBezTo>
                <a:cubicBezTo>
                  <a:pt x="3639322" y="360716"/>
                  <a:pt x="3645548" y="354153"/>
                  <a:pt x="3654110" y="354153"/>
                </a:cubicBezTo>
                <a:close/>
                <a:moveTo>
                  <a:pt x="3583280" y="354153"/>
                </a:moveTo>
                <a:cubicBezTo>
                  <a:pt x="3591064" y="354153"/>
                  <a:pt x="3598069" y="360716"/>
                  <a:pt x="3598069" y="368738"/>
                </a:cubicBezTo>
                <a:cubicBezTo>
                  <a:pt x="3598069" y="376031"/>
                  <a:pt x="3591064" y="380407"/>
                  <a:pt x="3583280" y="380407"/>
                </a:cubicBezTo>
                <a:cubicBezTo>
                  <a:pt x="3574718" y="380407"/>
                  <a:pt x="3568491" y="376031"/>
                  <a:pt x="3568491" y="368738"/>
                </a:cubicBezTo>
                <a:cubicBezTo>
                  <a:pt x="3568491" y="360716"/>
                  <a:pt x="3574718" y="354153"/>
                  <a:pt x="3583280" y="354153"/>
                </a:cubicBezTo>
                <a:close/>
                <a:moveTo>
                  <a:pt x="3512449" y="354153"/>
                </a:moveTo>
                <a:cubicBezTo>
                  <a:pt x="3520232" y="354153"/>
                  <a:pt x="3527237" y="360983"/>
                  <a:pt x="3527237" y="369330"/>
                </a:cubicBezTo>
                <a:cubicBezTo>
                  <a:pt x="3527237" y="376919"/>
                  <a:pt x="3520232" y="383749"/>
                  <a:pt x="3512449" y="383749"/>
                </a:cubicBezTo>
                <a:cubicBezTo>
                  <a:pt x="3503887" y="383749"/>
                  <a:pt x="3497661" y="376919"/>
                  <a:pt x="3497661" y="369330"/>
                </a:cubicBezTo>
                <a:cubicBezTo>
                  <a:pt x="3497661" y="360983"/>
                  <a:pt x="3503887" y="354153"/>
                  <a:pt x="3512449" y="354153"/>
                </a:cubicBezTo>
                <a:close/>
                <a:moveTo>
                  <a:pt x="3440686" y="354153"/>
                </a:moveTo>
                <a:cubicBezTo>
                  <a:pt x="3448708" y="354153"/>
                  <a:pt x="3453083" y="360983"/>
                  <a:pt x="3453083" y="369330"/>
                </a:cubicBezTo>
                <a:cubicBezTo>
                  <a:pt x="3453083" y="376919"/>
                  <a:pt x="3448708" y="383749"/>
                  <a:pt x="3440686" y="383749"/>
                </a:cubicBezTo>
                <a:cubicBezTo>
                  <a:pt x="3433393" y="383749"/>
                  <a:pt x="3426830" y="376919"/>
                  <a:pt x="3426830" y="369330"/>
                </a:cubicBezTo>
                <a:cubicBezTo>
                  <a:pt x="3426830" y="360983"/>
                  <a:pt x="3433393" y="354153"/>
                  <a:pt x="3440686" y="354153"/>
                </a:cubicBezTo>
                <a:close/>
                <a:moveTo>
                  <a:pt x="3369857" y="354153"/>
                </a:moveTo>
                <a:cubicBezTo>
                  <a:pt x="3376420" y="354153"/>
                  <a:pt x="3382254" y="360983"/>
                  <a:pt x="3382254" y="369330"/>
                </a:cubicBezTo>
                <a:cubicBezTo>
                  <a:pt x="3382254" y="376919"/>
                  <a:pt x="3376420" y="383749"/>
                  <a:pt x="3369857" y="383749"/>
                </a:cubicBezTo>
                <a:cubicBezTo>
                  <a:pt x="3362564" y="383749"/>
                  <a:pt x="3356001" y="376919"/>
                  <a:pt x="3356001" y="369330"/>
                </a:cubicBezTo>
                <a:cubicBezTo>
                  <a:pt x="3356001" y="360983"/>
                  <a:pt x="3362564" y="354153"/>
                  <a:pt x="3369857" y="354153"/>
                </a:cubicBezTo>
                <a:close/>
                <a:moveTo>
                  <a:pt x="3299097" y="354153"/>
                </a:moveTo>
                <a:cubicBezTo>
                  <a:pt x="3305662" y="354153"/>
                  <a:pt x="3311496" y="360983"/>
                  <a:pt x="3311496" y="369330"/>
                </a:cubicBezTo>
                <a:cubicBezTo>
                  <a:pt x="3311496" y="376919"/>
                  <a:pt x="3305662" y="383749"/>
                  <a:pt x="3299097" y="383749"/>
                </a:cubicBezTo>
                <a:cubicBezTo>
                  <a:pt x="3291804" y="383749"/>
                  <a:pt x="3285242" y="376919"/>
                  <a:pt x="3285242" y="369330"/>
                </a:cubicBezTo>
                <a:cubicBezTo>
                  <a:pt x="3285242" y="360983"/>
                  <a:pt x="3291804" y="354153"/>
                  <a:pt x="3299097" y="354153"/>
                </a:cubicBezTo>
                <a:close/>
                <a:moveTo>
                  <a:pt x="3226808" y="354153"/>
                </a:moveTo>
                <a:cubicBezTo>
                  <a:pt x="3234828" y="354153"/>
                  <a:pt x="3240664" y="360983"/>
                  <a:pt x="3240664" y="369330"/>
                </a:cubicBezTo>
                <a:cubicBezTo>
                  <a:pt x="3240664" y="376919"/>
                  <a:pt x="3234828" y="383749"/>
                  <a:pt x="3226808" y="383749"/>
                </a:cubicBezTo>
                <a:cubicBezTo>
                  <a:pt x="3220245" y="383749"/>
                  <a:pt x="3214410" y="376919"/>
                  <a:pt x="3214410" y="369330"/>
                </a:cubicBezTo>
                <a:cubicBezTo>
                  <a:pt x="3214410" y="360983"/>
                  <a:pt x="3220245" y="354153"/>
                  <a:pt x="3226808" y="354153"/>
                </a:cubicBezTo>
                <a:close/>
                <a:moveTo>
                  <a:pt x="3152605" y="354153"/>
                </a:moveTo>
                <a:cubicBezTo>
                  <a:pt x="3159898" y="354153"/>
                  <a:pt x="3166462" y="360983"/>
                  <a:pt x="3166462" y="369330"/>
                </a:cubicBezTo>
                <a:cubicBezTo>
                  <a:pt x="3166462" y="376919"/>
                  <a:pt x="3159898" y="383749"/>
                  <a:pt x="3152605" y="383749"/>
                </a:cubicBezTo>
                <a:cubicBezTo>
                  <a:pt x="3146040" y="383749"/>
                  <a:pt x="3140206" y="376919"/>
                  <a:pt x="3140206" y="369330"/>
                </a:cubicBezTo>
                <a:cubicBezTo>
                  <a:pt x="3140206" y="360983"/>
                  <a:pt x="3146040" y="354153"/>
                  <a:pt x="3152605" y="354153"/>
                </a:cubicBezTo>
                <a:close/>
                <a:moveTo>
                  <a:pt x="3081774" y="354153"/>
                </a:moveTo>
                <a:cubicBezTo>
                  <a:pt x="3089066" y="354153"/>
                  <a:pt x="3095627" y="360983"/>
                  <a:pt x="3095627" y="369330"/>
                </a:cubicBezTo>
                <a:cubicBezTo>
                  <a:pt x="3095627" y="376919"/>
                  <a:pt x="3089066" y="383749"/>
                  <a:pt x="3081774" y="383749"/>
                </a:cubicBezTo>
                <a:cubicBezTo>
                  <a:pt x="3073750" y="383749"/>
                  <a:pt x="3069375" y="376919"/>
                  <a:pt x="3069375" y="369330"/>
                </a:cubicBezTo>
                <a:cubicBezTo>
                  <a:pt x="3069375" y="360983"/>
                  <a:pt x="3073750" y="354153"/>
                  <a:pt x="3081774" y="354153"/>
                </a:cubicBezTo>
                <a:close/>
                <a:moveTo>
                  <a:pt x="3013715" y="354153"/>
                </a:moveTo>
                <a:cubicBezTo>
                  <a:pt x="3021307" y="354153"/>
                  <a:pt x="3028135" y="360983"/>
                  <a:pt x="3028135" y="369330"/>
                </a:cubicBezTo>
                <a:cubicBezTo>
                  <a:pt x="3028135" y="376919"/>
                  <a:pt x="3021307" y="383749"/>
                  <a:pt x="3013715" y="383749"/>
                </a:cubicBezTo>
                <a:cubicBezTo>
                  <a:pt x="3005368" y="383749"/>
                  <a:pt x="2998539" y="376919"/>
                  <a:pt x="2998539" y="369330"/>
                </a:cubicBezTo>
                <a:cubicBezTo>
                  <a:pt x="2998539" y="360983"/>
                  <a:pt x="3005368" y="354153"/>
                  <a:pt x="3013715" y="354153"/>
                </a:cubicBezTo>
                <a:close/>
                <a:moveTo>
                  <a:pt x="2942494" y="354153"/>
                </a:moveTo>
                <a:cubicBezTo>
                  <a:pt x="2951055" y="354153"/>
                  <a:pt x="2957288" y="360983"/>
                  <a:pt x="2957288" y="369330"/>
                </a:cubicBezTo>
                <a:cubicBezTo>
                  <a:pt x="2957288" y="376919"/>
                  <a:pt x="2951055" y="383749"/>
                  <a:pt x="2942494" y="383749"/>
                </a:cubicBezTo>
                <a:cubicBezTo>
                  <a:pt x="2934713" y="383749"/>
                  <a:pt x="2927708" y="376919"/>
                  <a:pt x="2927708" y="369330"/>
                </a:cubicBezTo>
                <a:cubicBezTo>
                  <a:pt x="2927708" y="360983"/>
                  <a:pt x="2934713" y="354153"/>
                  <a:pt x="2942494" y="354153"/>
                </a:cubicBezTo>
                <a:close/>
                <a:moveTo>
                  <a:pt x="2868293" y="354153"/>
                </a:moveTo>
                <a:cubicBezTo>
                  <a:pt x="2876858" y="354153"/>
                  <a:pt x="2883085" y="360983"/>
                  <a:pt x="2883085" y="369330"/>
                </a:cubicBezTo>
                <a:cubicBezTo>
                  <a:pt x="2883085" y="376919"/>
                  <a:pt x="2876858" y="383749"/>
                  <a:pt x="2868293" y="383749"/>
                </a:cubicBezTo>
                <a:cubicBezTo>
                  <a:pt x="2860512" y="383749"/>
                  <a:pt x="2853504" y="376919"/>
                  <a:pt x="2853504" y="369330"/>
                </a:cubicBezTo>
                <a:cubicBezTo>
                  <a:pt x="2853504" y="360983"/>
                  <a:pt x="2860512" y="354153"/>
                  <a:pt x="2868293" y="354153"/>
                </a:cubicBezTo>
                <a:close/>
                <a:moveTo>
                  <a:pt x="2796535" y="354153"/>
                </a:moveTo>
                <a:cubicBezTo>
                  <a:pt x="2804558" y="354153"/>
                  <a:pt x="2808932" y="360983"/>
                  <a:pt x="2808932" y="369330"/>
                </a:cubicBezTo>
                <a:cubicBezTo>
                  <a:pt x="2808932" y="376919"/>
                  <a:pt x="2804558" y="383749"/>
                  <a:pt x="2796535" y="383749"/>
                </a:cubicBezTo>
                <a:cubicBezTo>
                  <a:pt x="2789243" y="383749"/>
                  <a:pt x="2782678" y="376919"/>
                  <a:pt x="2782678" y="369330"/>
                </a:cubicBezTo>
                <a:cubicBezTo>
                  <a:pt x="2782678" y="360983"/>
                  <a:pt x="2789243" y="354153"/>
                  <a:pt x="2796535" y="354153"/>
                </a:cubicBezTo>
                <a:close/>
                <a:moveTo>
                  <a:pt x="2725695" y="354153"/>
                </a:moveTo>
                <a:cubicBezTo>
                  <a:pt x="2731532" y="354153"/>
                  <a:pt x="2738100" y="360983"/>
                  <a:pt x="2738100" y="369330"/>
                </a:cubicBezTo>
                <a:cubicBezTo>
                  <a:pt x="2738100" y="376919"/>
                  <a:pt x="2731532" y="383749"/>
                  <a:pt x="2725695" y="383749"/>
                </a:cubicBezTo>
                <a:cubicBezTo>
                  <a:pt x="2717681" y="383749"/>
                  <a:pt x="2711846" y="376919"/>
                  <a:pt x="2711846" y="369330"/>
                </a:cubicBezTo>
                <a:cubicBezTo>
                  <a:pt x="2711846" y="360983"/>
                  <a:pt x="2717681" y="354153"/>
                  <a:pt x="2725695" y="354153"/>
                </a:cubicBezTo>
                <a:close/>
                <a:moveTo>
                  <a:pt x="2653415" y="354153"/>
                </a:moveTo>
                <a:cubicBezTo>
                  <a:pt x="2660705" y="354153"/>
                  <a:pt x="2667270" y="360983"/>
                  <a:pt x="2667270" y="369330"/>
                </a:cubicBezTo>
                <a:cubicBezTo>
                  <a:pt x="2667270" y="376919"/>
                  <a:pt x="2660705" y="383749"/>
                  <a:pt x="2653415" y="383749"/>
                </a:cubicBezTo>
                <a:cubicBezTo>
                  <a:pt x="2646857" y="383749"/>
                  <a:pt x="2641021" y="376919"/>
                  <a:pt x="2641021" y="369330"/>
                </a:cubicBezTo>
                <a:cubicBezTo>
                  <a:pt x="2641021" y="360983"/>
                  <a:pt x="2646857" y="354153"/>
                  <a:pt x="2653415" y="354153"/>
                </a:cubicBezTo>
                <a:close/>
                <a:moveTo>
                  <a:pt x="2582583" y="354153"/>
                </a:moveTo>
                <a:cubicBezTo>
                  <a:pt x="2589875" y="354153"/>
                  <a:pt x="2596439" y="360983"/>
                  <a:pt x="2596439" y="369330"/>
                </a:cubicBezTo>
                <a:cubicBezTo>
                  <a:pt x="2596439" y="376919"/>
                  <a:pt x="2589875" y="383749"/>
                  <a:pt x="2582583" y="383749"/>
                </a:cubicBezTo>
                <a:cubicBezTo>
                  <a:pt x="2576019" y="383749"/>
                  <a:pt x="2570184" y="376919"/>
                  <a:pt x="2570184" y="369330"/>
                </a:cubicBezTo>
                <a:cubicBezTo>
                  <a:pt x="2570184" y="360983"/>
                  <a:pt x="2576019" y="354153"/>
                  <a:pt x="2582583" y="354153"/>
                </a:cubicBezTo>
                <a:close/>
                <a:moveTo>
                  <a:pt x="2511029" y="354153"/>
                </a:moveTo>
                <a:cubicBezTo>
                  <a:pt x="2519050" y="354153"/>
                  <a:pt x="2525613" y="360983"/>
                  <a:pt x="2525613" y="369330"/>
                </a:cubicBezTo>
                <a:cubicBezTo>
                  <a:pt x="2525613" y="376919"/>
                  <a:pt x="2519050" y="383749"/>
                  <a:pt x="2511029" y="383749"/>
                </a:cubicBezTo>
                <a:cubicBezTo>
                  <a:pt x="2503737" y="383749"/>
                  <a:pt x="2499361" y="376919"/>
                  <a:pt x="2499361" y="369330"/>
                </a:cubicBezTo>
                <a:cubicBezTo>
                  <a:pt x="2499361" y="360983"/>
                  <a:pt x="2503737" y="354153"/>
                  <a:pt x="2511029" y="354153"/>
                </a:cubicBezTo>
                <a:close/>
                <a:moveTo>
                  <a:pt x="2439946" y="354153"/>
                </a:moveTo>
                <a:cubicBezTo>
                  <a:pt x="2448505" y="354153"/>
                  <a:pt x="2454732" y="360983"/>
                  <a:pt x="2454732" y="369330"/>
                </a:cubicBezTo>
                <a:cubicBezTo>
                  <a:pt x="2454732" y="376919"/>
                  <a:pt x="2448505" y="383749"/>
                  <a:pt x="2439946" y="383749"/>
                </a:cubicBezTo>
                <a:cubicBezTo>
                  <a:pt x="2432160" y="383749"/>
                  <a:pt x="2425156" y="376919"/>
                  <a:pt x="2425156" y="369330"/>
                </a:cubicBezTo>
                <a:cubicBezTo>
                  <a:pt x="2425156" y="360983"/>
                  <a:pt x="2432160" y="354153"/>
                  <a:pt x="2439946" y="354153"/>
                </a:cubicBezTo>
                <a:close/>
                <a:moveTo>
                  <a:pt x="2369110" y="354153"/>
                </a:moveTo>
                <a:cubicBezTo>
                  <a:pt x="2377672" y="354153"/>
                  <a:pt x="2383899" y="360983"/>
                  <a:pt x="2383899" y="369330"/>
                </a:cubicBezTo>
                <a:cubicBezTo>
                  <a:pt x="2383899" y="376919"/>
                  <a:pt x="2377672" y="383749"/>
                  <a:pt x="2369110" y="383749"/>
                </a:cubicBezTo>
                <a:cubicBezTo>
                  <a:pt x="2361327" y="383749"/>
                  <a:pt x="2354319" y="376919"/>
                  <a:pt x="2354319" y="369330"/>
                </a:cubicBezTo>
                <a:cubicBezTo>
                  <a:pt x="2354319" y="360983"/>
                  <a:pt x="2361327" y="354153"/>
                  <a:pt x="2369110" y="354153"/>
                </a:cubicBezTo>
                <a:close/>
                <a:moveTo>
                  <a:pt x="2298280" y="354153"/>
                </a:moveTo>
                <a:cubicBezTo>
                  <a:pt x="2306842" y="354153"/>
                  <a:pt x="2313068" y="360983"/>
                  <a:pt x="2313068" y="369330"/>
                </a:cubicBezTo>
                <a:cubicBezTo>
                  <a:pt x="2313068" y="376919"/>
                  <a:pt x="2306842" y="383749"/>
                  <a:pt x="2298280" y="383749"/>
                </a:cubicBezTo>
                <a:cubicBezTo>
                  <a:pt x="2290497" y="383749"/>
                  <a:pt x="2283490" y="376919"/>
                  <a:pt x="2283490" y="369330"/>
                </a:cubicBezTo>
                <a:cubicBezTo>
                  <a:pt x="2283490" y="360983"/>
                  <a:pt x="2290497" y="354153"/>
                  <a:pt x="2298280" y="354153"/>
                </a:cubicBezTo>
                <a:close/>
                <a:moveTo>
                  <a:pt x="2226517" y="354153"/>
                </a:moveTo>
                <a:cubicBezTo>
                  <a:pt x="2234538" y="354153"/>
                  <a:pt x="2238914" y="360983"/>
                  <a:pt x="2238914" y="369330"/>
                </a:cubicBezTo>
                <a:cubicBezTo>
                  <a:pt x="2238914" y="376919"/>
                  <a:pt x="2234538" y="383749"/>
                  <a:pt x="2226517" y="383749"/>
                </a:cubicBezTo>
                <a:cubicBezTo>
                  <a:pt x="2218495" y="383749"/>
                  <a:pt x="2212658" y="376919"/>
                  <a:pt x="2212658" y="369330"/>
                </a:cubicBezTo>
                <a:cubicBezTo>
                  <a:pt x="2212658" y="360983"/>
                  <a:pt x="2218495" y="354153"/>
                  <a:pt x="2226517" y="354153"/>
                </a:cubicBezTo>
                <a:close/>
                <a:moveTo>
                  <a:pt x="2155683" y="354153"/>
                </a:moveTo>
                <a:cubicBezTo>
                  <a:pt x="2161519" y="354153"/>
                  <a:pt x="2168081" y="360983"/>
                  <a:pt x="2168081" y="369330"/>
                </a:cubicBezTo>
                <a:cubicBezTo>
                  <a:pt x="2168081" y="376919"/>
                  <a:pt x="2161519" y="383749"/>
                  <a:pt x="2155683" y="383749"/>
                </a:cubicBezTo>
                <a:cubicBezTo>
                  <a:pt x="2147663" y="383749"/>
                  <a:pt x="2141827" y="376919"/>
                  <a:pt x="2141827" y="369330"/>
                </a:cubicBezTo>
                <a:cubicBezTo>
                  <a:pt x="2141827" y="360983"/>
                  <a:pt x="2147663" y="354153"/>
                  <a:pt x="2155683" y="354153"/>
                </a:cubicBezTo>
                <a:close/>
                <a:moveTo>
                  <a:pt x="2084849" y="354153"/>
                </a:moveTo>
                <a:cubicBezTo>
                  <a:pt x="2090683" y="354153"/>
                  <a:pt x="2097248" y="360983"/>
                  <a:pt x="2097248" y="369330"/>
                </a:cubicBezTo>
                <a:cubicBezTo>
                  <a:pt x="2097248" y="376919"/>
                  <a:pt x="2090683" y="383749"/>
                  <a:pt x="2084849" y="383749"/>
                </a:cubicBezTo>
                <a:cubicBezTo>
                  <a:pt x="2076828" y="383749"/>
                  <a:pt x="2070994" y="376919"/>
                  <a:pt x="2070994" y="369330"/>
                </a:cubicBezTo>
                <a:cubicBezTo>
                  <a:pt x="2070994" y="360983"/>
                  <a:pt x="2076828" y="354153"/>
                  <a:pt x="2084849" y="354153"/>
                </a:cubicBezTo>
                <a:close/>
                <a:moveTo>
                  <a:pt x="2011835" y="354153"/>
                </a:moveTo>
                <a:cubicBezTo>
                  <a:pt x="2019855" y="354153"/>
                  <a:pt x="2026421" y="360983"/>
                  <a:pt x="2026421" y="369330"/>
                </a:cubicBezTo>
                <a:cubicBezTo>
                  <a:pt x="2026421" y="376919"/>
                  <a:pt x="2019855" y="383749"/>
                  <a:pt x="2011835" y="383749"/>
                </a:cubicBezTo>
                <a:cubicBezTo>
                  <a:pt x="2006000" y="383749"/>
                  <a:pt x="2000166" y="376919"/>
                  <a:pt x="2000166" y="369330"/>
                </a:cubicBezTo>
                <a:cubicBezTo>
                  <a:pt x="2000166" y="360983"/>
                  <a:pt x="2006000" y="354153"/>
                  <a:pt x="2011835" y="354153"/>
                </a:cubicBezTo>
                <a:close/>
                <a:moveTo>
                  <a:pt x="1938362" y="354153"/>
                </a:moveTo>
                <a:cubicBezTo>
                  <a:pt x="1946385" y="354153"/>
                  <a:pt x="1952222" y="360983"/>
                  <a:pt x="1952222" y="369330"/>
                </a:cubicBezTo>
                <a:cubicBezTo>
                  <a:pt x="1952222" y="376919"/>
                  <a:pt x="1946385" y="383749"/>
                  <a:pt x="1938362" y="383749"/>
                </a:cubicBezTo>
                <a:cubicBezTo>
                  <a:pt x="1932528" y="383749"/>
                  <a:pt x="1925968" y="376919"/>
                  <a:pt x="1925968" y="369330"/>
                </a:cubicBezTo>
                <a:cubicBezTo>
                  <a:pt x="1925968" y="360983"/>
                  <a:pt x="1932528" y="354153"/>
                  <a:pt x="1938362" y="354153"/>
                </a:cubicBezTo>
                <a:close/>
                <a:moveTo>
                  <a:pt x="1867527" y="354153"/>
                </a:moveTo>
                <a:cubicBezTo>
                  <a:pt x="1875550" y="354153"/>
                  <a:pt x="1881384" y="360983"/>
                  <a:pt x="1881384" y="369330"/>
                </a:cubicBezTo>
                <a:cubicBezTo>
                  <a:pt x="1881384" y="376919"/>
                  <a:pt x="1875550" y="383749"/>
                  <a:pt x="1867527" y="383749"/>
                </a:cubicBezTo>
                <a:cubicBezTo>
                  <a:pt x="1860235" y="383749"/>
                  <a:pt x="1855129" y="376919"/>
                  <a:pt x="1855129" y="369330"/>
                </a:cubicBezTo>
                <a:cubicBezTo>
                  <a:pt x="1855129" y="360983"/>
                  <a:pt x="1860235" y="354153"/>
                  <a:pt x="1867527" y="354153"/>
                </a:cubicBezTo>
                <a:close/>
                <a:moveTo>
                  <a:pt x="1225708" y="284879"/>
                </a:moveTo>
                <a:cubicBezTo>
                  <a:pt x="1233489" y="283322"/>
                  <a:pt x="1240493" y="290327"/>
                  <a:pt x="1240493" y="298111"/>
                </a:cubicBezTo>
                <a:cubicBezTo>
                  <a:pt x="1240493" y="306673"/>
                  <a:pt x="1233489" y="312900"/>
                  <a:pt x="1225708" y="312900"/>
                </a:cubicBezTo>
                <a:cubicBezTo>
                  <a:pt x="1217159" y="312900"/>
                  <a:pt x="1210931" y="306673"/>
                  <a:pt x="1210931" y="298111"/>
                </a:cubicBezTo>
                <a:cubicBezTo>
                  <a:pt x="1210931" y="290327"/>
                  <a:pt x="1217159" y="284879"/>
                  <a:pt x="1225708" y="284879"/>
                </a:cubicBezTo>
                <a:close/>
                <a:moveTo>
                  <a:pt x="3440686" y="283322"/>
                </a:moveTo>
                <a:cubicBezTo>
                  <a:pt x="3448708" y="283322"/>
                  <a:pt x="3453083" y="289885"/>
                  <a:pt x="3453083" y="297178"/>
                </a:cubicBezTo>
                <a:cubicBezTo>
                  <a:pt x="3453083" y="305200"/>
                  <a:pt x="3448708" y="309576"/>
                  <a:pt x="3440686" y="309576"/>
                </a:cubicBezTo>
                <a:cubicBezTo>
                  <a:pt x="3433393" y="309576"/>
                  <a:pt x="3426830" y="305200"/>
                  <a:pt x="3426830" y="297178"/>
                </a:cubicBezTo>
                <a:cubicBezTo>
                  <a:pt x="3426830" y="289885"/>
                  <a:pt x="3433393" y="283322"/>
                  <a:pt x="3440686" y="283322"/>
                </a:cubicBezTo>
                <a:close/>
                <a:moveTo>
                  <a:pt x="3369857" y="283322"/>
                </a:moveTo>
                <a:cubicBezTo>
                  <a:pt x="3376420" y="283322"/>
                  <a:pt x="3382254" y="289885"/>
                  <a:pt x="3382254" y="297178"/>
                </a:cubicBezTo>
                <a:cubicBezTo>
                  <a:pt x="3382254" y="305200"/>
                  <a:pt x="3376420" y="309576"/>
                  <a:pt x="3369857" y="309576"/>
                </a:cubicBezTo>
                <a:cubicBezTo>
                  <a:pt x="3362564" y="309576"/>
                  <a:pt x="3356001" y="305200"/>
                  <a:pt x="3356001" y="297178"/>
                </a:cubicBezTo>
                <a:cubicBezTo>
                  <a:pt x="3356001" y="289885"/>
                  <a:pt x="3362564" y="283322"/>
                  <a:pt x="3369857" y="283322"/>
                </a:cubicBezTo>
                <a:close/>
                <a:moveTo>
                  <a:pt x="3299100" y="283322"/>
                </a:moveTo>
                <a:cubicBezTo>
                  <a:pt x="3305662" y="283322"/>
                  <a:pt x="3311496" y="289885"/>
                  <a:pt x="3311496" y="297178"/>
                </a:cubicBezTo>
                <a:cubicBezTo>
                  <a:pt x="3311496" y="305200"/>
                  <a:pt x="3305662" y="309576"/>
                  <a:pt x="3299100" y="309576"/>
                </a:cubicBezTo>
                <a:cubicBezTo>
                  <a:pt x="3291804" y="309576"/>
                  <a:pt x="3285242" y="305200"/>
                  <a:pt x="3285242" y="297178"/>
                </a:cubicBezTo>
                <a:cubicBezTo>
                  <a:pt x="3285242" y="289885"/>
                  <a:pt x="3291804" y="283322"/>
                  <a:pt x="3299100" y="283322"/>
                </a:cubicBezTo>
                <a:close/>
                <a:moveTo>
                  <a:pt x="3226808" y="283322"/>
                </a:moveTo>
                <a:cubicBezTo>
                  <a:pt x="3234828" y="283322"/>
                  <a:pt x="3240664" y="289885"/>
                  <a:pt x="3240664" y="297178"/>
                </a:cubicBezTo>
                <a:cubicBezTo>
                  <a:pt x="3240664" y="305200"/>
                  <a:pt x="3234828" y="309576"/>
                  <a:pt x="3226808" y="309576"/>
                </a:cubicBezTo>
                <a:cubicBezTo>
                  <a:pt x="3220245" y="309576"/>
                  <a:pt x="3214410" y="305200"/>
                  <a:pt x="3214410" y="297178"/>
                </a:cubicBezTo>
                <a:cubicBezTo>
                  <a:pt x="3214410" y="289885"/>
                  <a:pt x="3220245" y="283322"/>
                  <a:pt x="3226808" y="283322"/>
                </a:cubicBezTo>
                <a:close/>
                <a:moveTo>
                  <a:pt x="3152605" y="283322"/>
                </a:moveTo>
                <a:cubicBezTo>
                  <a:pt x="3159898" y="283322"/>
                  <a:pt x="3166462" y="289885"/>
                  <a:pt x="3166462" y="297178"/>
                </a:cubicBezTo>
                <a:cubicBezTo>
                  <a:pt x="3166462" y="305200"/>
                  <a:pt x="3159898" y="309576"/>
                  <a:pt x="3152605" y="309576"/>
                </a:cubicBezTo>
                <a:cubicBezTo>
                  <a:pt x="3146041" y="309576"/>
                  <a:pt x="3140209" y="305200"/>
                  <a:pt x="3140209" y="297178"/>
                </a:cubicBezTo>
                <a:cubicBezTo>
                  <a:pt x="3140209" y="289885"/>
                  <a:pt x="3146041" y="283322"/>
                  <a:pt x="3152605" y="283322"/>
                </a:cubicBezTo>
                <a:close/>
                <a:moveTo>
                  <a:pt x="3081774" y="283322"/>
                </a:moveTo>
                <a:cubicBezTo>
                  <a:pt x="3089066" y="283322"/>
                  <a:pt x="3095628" y="289885"/>
                  <a:pt x="3095628" y="297178"/>
                </a:cubicBezTo>
                <a:cubicBezTo>
                  <a:pt x="3095628" y="305200"/>
                  <a:pt x="3089066" y="309576"/>
                  <a:pt x="3081774" y="309576"/>
                </a:cubicBezTo>
                <a:cubicBezTo>
                  <a:pt x="3073750" y="309576"/>
                  <a:pt x="3069375" y="305200"/>
                  <a:pt x="3069375" y="297178"/>
                </a:cubicBezTo>
                <a:cubicBezTo>
                  <a:pt x="3069375" y="289885"/>
                  <a:pt x="3073750" y="283322"/>
                  <a:pt x="3081774" y="283322"/>
                </a:cubicBezTo>
                <a:close/>
                <a:moveTo>
                  <a:pt x="3013717" y="283322"/>
                </a:moveTo>
                <a:cubicBezTo>
                  <a:pt x="3021307" y="283322"/>
                  <a:pt x="3028135" y="289885"/>
                  <a:pt x="3028135" y="297178"/>
                </a:cubicBezTo>
                <a:cubicBezTo>
                  <a:pt x="3028135" y="305200"/>
                  <a:pt x="3021307" y="309576"/>
                  <a:pt x="3013717" y="309576"/>
                </a:cubicBezTo>
                <a:cubicBezTo>
                  <a:pt x="3005371" y="309576"/>
                  <a:pt x="2998539" y="305200"/>
                  <a:pt x="2998539" y="297178"/>
                </a:cubicBezTo>
                <a:cubicBezTo>
                  <a:pt x="2998539" y="289885"/>
                  <a:pt x="3005371" y="283322"/>
                  <a:pt x="3013717" y="283322"/>
                </a:cubicBezTo>
                <a:close/>
                <a:moveTo>
                  <a:pt x="2942494" y="283322"/>
                </a:moveTo>
                <a:cubicBezTo>
                  <a:pt x="2951055" y="283322"/>
                  <a:pt x="2957288" y="290327"/>
                  <a:pt x="2957288" y="298111"/>
                </a:cubicBezTo>
                <a:cubicBezTo>
                  <a:pt x="2957288" y="306673"/>
                  <a:pt x="2951055" y="312900"/>
                  <a:pt x="2942494" y="312900"/>
                </a:cubicBezTo>
                <a:cubicBezTo>
                  <a:pt x="2934713" y="312900"/>
                  <a:pt x="2927711" y="306673"/>
                  <a:pt x="2927711" y="298111"/>
                </a:cubicBezTo>
                <a:cubicBezTo>
                  <a:pt x="2927711" y="290327"/>
                  <a:pt x="2934713" y="283322"/>
                  <a:pt x="2942494" y="283322"/>
                </a:cubicBezTo>
                <a:close/>
                <a:moveTo>
                  <a:pt x="2868293" y="283322"/>
                </a:moveTo>
                <a:cubicBezTo>
                  <a:pt x="2876858" y="283322"/>
                  <a:pt x="2883087" y="290327"/>
                  <a:pt x="2883087" y="298111"/>
                </a:cubicBezTo>
                <a:cubicBezTo>
                  <a:pt x="2883087" y="306673"/>
                  <a:pt x="2876858" y="312900"/>
                  <a:pt x="2868293" y="312900"/>
                </a:cubicBezTo>
                <a:cubicBezTo>
                  <a:pt x="2860512" y="312900"/>
                  <a:pt x="2853507" y="306673"/>
                  <a:pt x="2853507" y="298111"/>
                </a:cubicBezTo>
                <a:cubicBezTo>
                  <a:pt x="2853507" y="290327"/>
                  <a:pt x="2860512" y="283322"/>
                  <a:pt x="2868293" y="283322"/>
                </a:cubicBezTo>
                <a:close/>
                <a:moveTo>
                  <a:pt x="2796535" y="283322"/>
                </a:moveTo>
                <a:cubicBezTo>
                  <a:pt x="2804558" y="283322"/>
                  <a:pt x="2808934" y="290327"/>
                  <a:pt x="2808934" y="298111"/>
                </a:cubicBezTo>
                <a:cubicBezTo>
                  <a:pt x="2808934" y="306673"/>
                  <a:pt x="2804558" y="312900"/>
                  <a:pt x="2796535" y="312900"/>
                </a:cubicBezTo>
                <a:cubicBezTo>
                  <a:pt x="2789243" y="312900"/>
                  <a:pt x="2782678" y="306673"/>
                  <a:pt x="2782678" y="298111"/>
                </a:cubicBezTo>
                <a:cubicBezTo>
                  <a:pt x="2782678" y="290327"/>
                  <a:pt x="2789243" y="283322"/>
                  <a:pt x="2796535" y="283322"/>
                </a:cubicBezTo>
                <a:close/>
                <a:moveTo>
                  <a:pt x="2725698" y="283322"/>
                </a:moveTo>
                <a:cubicBezTo>
                  <a:pt x="2731532" y="283322"/>
                  <a:pt x="2738100" y="290327"/>
                  <a:pt x="2738100" y="298111"/>
                </a:cubicBezTo>
                <a:cubicBezTo>
                  <a:pt x="2738100" y="306673"/>
                  <a:pt x="2731532" y="312900"/>
                  <a:pt x="2725698" y="312900"/>
                </a:cubicBezTo>
                <a:cubicBezTo>
                  <a:pt x="2717681" y="312900"/>
                  <a:pt x="2711846" y="306673"/>
                  <a:pt x="2711846" y="298111"/>
                </a:cubicBezTo>
                <a:cubicBezTo>
                  <a:pt x="2711846" y="290327"/>
                  <a:pt x="2717681" y="283322"/>
                  <a:pt x="2725698" y="283322"/>
                </a:cubicBezTo>
                <a:close/>
                <a:moveTo>
                  <a:pt x="2653415" y="283322"/>
                </a:moveTo>
                <a:cubicBezTo>
                  <a:pt x="2660705" y="283322"/>
                  <a:pt x="2667270" y="290327"/>
                  <a:pt x="2667270" y="298111"/>
                </a:cubicBezTo>
                <a:cubicBezTo>
                  <a:pt x="2667270" y="306673"/>
                  <a:pt x="2660705" y="312900"/>
                  <a:pt x="2653415" y="312900"/>
                </a:cubicBezTo>
                <a:cubicBezTo>
                  <a:pt x="2646857" y="312900"/>
                  <a:pt x="2641021" y="306673"/>
                  <a:pt x="2641021" y="298111"/>
                </a:cubicBezTo>
                <a:cubicBezTo>
                  <a:pt x="2641021" y="290327"/>
                  <a:pt x="2646857" y="283322"/>
                  <a:pt x="2653415" y="283322"/>
                </a:cubicBezTo>
                <a:close/>
                <a:moveTo>
                  <a:pt x="2582583" y="283322"/>
                </a:moveTo>
                <a:cubicBezTo>
                  <a:pt x="2589875" y="283322"/>
                  <a:pt x="2596439" y="290327"/>
                  <a:pt x="2596439" y="298111"/>
                </a:cubicBezTo>
                <a:cubicBezTo>
                  <a:pt x="2596439" y="306673"/>
                  <a:pt x="2589875" y="312900"/>
                  <a:pt x="2582583" y="312900"/>
                </a:cubicBezTo>
                <a:cubicBezTo>
                  <a:pt x="2576019" y="312900"/>
                  <a:pt x="2570189" y="306673"/>
                  <a:pt x="2570189" y="298111"/>
                </a:cubicBezTo>
                <a:cubicBezTo>
                  <a:pt x="2570189" y="290327"/>
                  <a:pt x="2576019" y="283322"/>
                  <a:pt x="2582583" y="283322"/>
                </a:cubicBezTo>
                <a:close/>
                <a:moveTo>
                  <a:pt x="2511029" y="283322"/>
                </a:moveTo>
                <a:cubicBezTo>
                  <a:pt x="2519050" y="283322"/>
                  <a:pt x="2525613" y="290327"/>
                  <a:pt x="2525613" y="298111"/>
                </a:cubicBezTo>
                <a:cubicBezTo>
                  <a:pt x="2525613" y="306673"/>
                  <a:pt x="2519050" y="312900"/>
                  <a:pt x="2511029" y="312900"/>
                </a:cubicBezTo>
                <a:cubicBezTo>
                  <a:pt x="2503740" y="312900"/>
                  <a:pt x="2499361" y="306673"/>
                  <a:pt x="2499361" y="298111"/>
                </a:cubicBezTo>
                <a:cubicBezTo>
                  <a:pt x="2499361" y="290327"/>
                  <a:pt x="2503740" y="283322"/>
                  <a:pt x="2511029" y="283322"/>
                </a:cubicBezTo>
                <a:close/>
                <a:moveTo>
                  <a:pt x="2439946" y="283322"/>
                </a:moveTo>
                <a:cubicBezTo>
                  <a:pt x="2448505" y="283322"/>
                  <a:pt x="2454732" y="290327"/>
                  <a:pt x="2454732" y="298111"/>
                </a:cubicBezTo>
                <a:cubicBezTo>
                  <a:pt x="2454732" y="306673"/>
                  <a:pt x="2448505" y="312900"/>
                  <a:pt x="2439946" y="312900"/>
                </a:cubicBezTo>
                <a:cubicBezTo>
                  <a:pt x="2432160" y="312900"/>
                  <a:pt x="2425156" y="306673"/>
                  <a:pt x="2425156" y="298111"/>
                </a:cubicBezTo>
                <a:cubicBezTo>
                  <a:pt x="2425156" y="290327"/>
                  <a:pt x="2432160" y="283322"/>
                  <a:pt x="2439946" y="283322"/>
                </a:cubicBezTo>
                <a:close/>
                <a:moveTo>
                  <a:pt x="2369110" y="283322"/>
                </a:moveTo>
                <a:cubicBezTo>
                  <a:pt x="2377672" y="283322"/>
                  <a:pt x="2383899" y="290327"/>
                  <a:pt x="2383899" y="298111"/>
                </a:cubicBezTo>
                <a:cubicBezTo>
                  <a:pt x="2383899" y="306673"/>
                  <a:pt x="2377672" y="312900"/>
                  <a:pt x="2369110" y="312900"/>
                </a:cubicBezTo>
                <a:cubicBezTo>
                  <a:pt x="2361327" y="312900"/>
                  <a:pt x="2354319" y="306673"/>
                  <a:pt x="2354319" y="298111"/>
                </a:cubicBezTo>
                <a:cubicBezTo>
                  <a:pt x="2354319" y="290327"/>
                  <a:pt x="2361327" y="283322"/>
                  <a:pt x="2369110" y="283322"/>
                </a:cubicBezTo>
                <a:close/>
                <a:moveTo>
                  <a:pt x="2298280" y="283322"/>
                </a:moveTo>
                <a:cubicBezTo>
                  <a:pt x="2306842" y="283322"/>
                  <a:pt x="2313068" y="290327"/>
                  <a:pt x="2313068" y="298111"/>
                </a:cubicBezTo>
                <a:cubicBezTo>
                  <a:pt x="2313068" y="306673"/>
                  <a:pt x="2306842" y="312900"/>
                  <a:pt x="2298280" y="312900"/>
                </a:cubicBezTo>
                <a:cubicBezTo>
                  <a:pt x="2290497" y="312900"/>
                  <a:pt x="2283490" y="306673"/>
                  <a:pt x="2283490" y="298111"/>
                </a:cubicBezTo>
                <a:cubicBezTo>
                  <a:pt x="2283490" y="290327"/>
                  <a:pt x="2290497" y="283322"/>
                  <a:pt x="2298280" y="283322"/>
                </a:cubicBezTo>
                <a:close/>
                <a:moveTo>
                  <a:pt x="2226517" y="283322"/>
                </a:moveTo>
                <a:cubicBezTo>
                  <a:pt x="2234538" y="283322"/>
                  <a:pt x="2238914" y="290327"/>
                  <a:pt x="2238914" y="298111"/>
                </a:cubicBezTo>
                <a:cubicBezTo>
                  <a:pt x="2238914" y="306673"/>
                  <a:pt x="2234538" y="312900"/>
                  <a:pt x="2226517" y="312900"/>
                </a:cubicBezTo>
                <a:cubicBezTo>
                  <a:pt x="2218495" y="312900"/>
                  <a:pt x="2212658" y="306673"/>
                  <a:pt x="2212658" y="298111"/>
                </a:cubicBezTo>
                <a:cubicBezTo>
                  <a:pt x="2212658" y="290327"/>
                  <a:pt x="2218495" y="283322"/>
                  <a:pt x="2226517" y="283322"/>
                </a:cubicBezTo>
                <a:close/>
                <a:moveTo>
                  <a:pt x="2155683" y="283322"/>
                </a:moveTo>
                <a:cubicBezTo>
                  <a:pt x="2161519" y="283322"/>
                  <a:pt x="2168081" y="290327"/>
                  <a:pt x="2168081" y="298111"/>
                </a:cubicBezTo>
                <a:cubicBezTo>
                  <a:pt x="2168081" y="306673"/>
                  <a:pt x="2161519" y="312900"/>
                  <a:pt x="2155683" y="312900"/>
                </a:cubicBezTo>
                <a:cubicBezTo>
                  <a:pt x="2147663" y="312900"/>
                  <a:pt x="2141827" y="306673"/>
                  <a:pt x="2141827" y="298111"/>
                </a:cubicBezTo>
                <a:cubicBezTo>
                  <a:pt x="2141827" y="290327"/>
                  <a:pt x="2147663" y="283322"/>
                  <a:pt x="2155683" y="283322"/>
                </a:cubicBezTo>
                <a:close/>
                <a:moveTo>
                  <a:pt x="2084849" y="283322"/>
                </a:moveTo>
                <a:cubicBezTo>
                  <a:pt x="2090685" y="283322"/>
                  <a:pt x="2097248" y="290327"/>
                  <a:pt x="2097248" y="298111"/>
                </a:cubicBezTo>
                <a:cubicBezTo>
                  <a:pt x="2097248" y="306673"/>
                  <a:pt x="2090685" y="312900"/>
                  <a:pt x="2084849" y="312900"/>
                </a:cubicBezTo>
                <a:cubicBezTo>
                  <a:pt x="2076828" y="312900"/>
                  <a:pt x="2070994" y="306673"/>
                  <a:pt x="2070994" y="298111"/>
                </a:cubicBezTo>
                <a:cubicBezTo>
                  <a:pt x="2070994" y="290327"/>
                  <a:pt x="2076828" y="283322"/>
                  <a:pt x="2084849" y="283322"/>
                </a:cubicBezTo>
                <a:close/>
                <a:moveTo>
                  <a:pt x="2011835" y="283322"/>
                </a:moveTo>
                <a:cubicBezTo>
                  <a:pt x="2019855" y="283322"/>
                  <a:pt x="2026421" y="290327"/>
                  <a:pt x="2026421" y="298111"/>
                </a:cubicBezTo>
                <a:cubicBezTo>
                  <a:pt x="2026421" y="306673"/>
                  <a:pt x="2019855" y="312900"/>
                  <a:pt x="2011835" y="312900"/>
                </a:cubicBezTo>
                <a:cubicBezTo>
                  <a:pt x="2006002" y="312900"/>
                  <a:pt x="2000168" y="306673"/>
                  <a:pt x="2000168" y="298111"/>
                </a:cubicBezTo>
                <a:cubicBezTo>
                  <a:pt x="2000168" y="290327"/>
                  <a:pt x="2006002" y="283322"/>
                  <a:pt x="2011835" y="283322"/>
                </a:cubicBezTo>
                <a:close/>
                <a:moveTo>
                  <a:pt x="1938362" y="283322"/>
                </a:moveTo>
                <a:cubicBezTo>
                  <a:pt x="1946385" y="283322"/>
                  <a:pt x="1952222" y="290327"/>
                  <a:pt x="1952222" y="298111"/>
                </a:cubicBezTo>
                <a:cubicBezTo>
                  <a:pt x="1952222" y="306673"/>
                  <a:pt x="1946385" y="312900"/>
                  <a:pt x="1938362" y="312900"/>
                </a:cubicBezTo>
                <a:cubicBezTo>
                  <a:pt x="1932531" y="312900"/>
                  <a:pt x="1925968" y="306673"/>
                  <a:pt x="1925968" y="298111"/>
                </a:cubicBezTo>
                <a:cubicBezTo>
                  <a:pt x="1925968" y="290327"/>
                  <a:pt x="1932531" y="283322"/>
                  <a:pt x="1938362" y="283322"/>
                </a:cubicBezTo>
                <a:close/>
                <a:moveTo>
                  <a:pt x="1867527" y="283322"/>
                </a:moveTo>
                <a:cubicBezTo>
                  <a:pt x="1875550" y="283322"/>
                  <a:pt x="1881384" y="290327"/>
                  <a:pt x="1881384" y="298111"/>
                </a:cubicBezTo>
                <a:cubicBezTo>
                  <a:pt x="1881384" y="306673"/>
                  <a:pt x="1875550" y="312900"/>
                  <a:pt x="1867527" y="312900"/>
                </a:cubicBezTo>
                <a:cubicBezTo>
                  <a:pt x="1860235" y="312900"/>
                  <a:pt x="1855129" y="306673"/>
                  <a:pt x="1855129" y="298111"/>
                </a:cubicBezTo>
                <a:cubicBezTo>
                  <a:pt x="1855129" y="290327"/>
                  <a:pt x="1860235" y="283322"/>
                  <a:pt x="1867527" y="283322"/>
                </a:cubicBezTo>
                <a:close/>
                <a:moveTo>
                  <a:pt x="1799085" y="283322"/>
                </a:moveTo>
                <a:cubicBezTo>
                  <a:pt x="1807647" y="283322"/>
                  <a:pt x="1813876" y="290327"/>
                  <a:pt x="1813876" y="298111"/>
                </a:cubicBezTo>
                <a:cubicBezTo>
                  <a:pt x="1813876" y="306673"/>
                  <a:pt x="1807647" y="312900"/>
                  <a:pt x="1799085" y="312900"/>
                </a:cubicBezTo>
                <a:cubicBezTo>
                  <a:pt x="1790525" y="312900"/>
                  <a:pt x="1784300" y="306673"/>
                  <a:pt x="1784300" y="298111"/>
                </a:cubicBezTo>
                <a:cubicBezTo>
                  <a:pt x="1784300" y="290327"/>
                  <a:pt x="1790525" y="283322"/>
                  <a:pt x="1799085" y="283322"/>
                </a:cubicBezTo>
                <a:close/>
                <a:moveTo>
                  <a:pt x="1728262" y="283322"/>
                </a:moveTo>
                <a:cubicBezTo>
                  <a:pt x="1736825" y="283322"/>
                  <a:pt x="1743052" y="290327"/>
                  <a:pt x="1743052" y="298111"/>
                </a:cubicBezTo>
                <a:cubicBezTo>
                  <a:pt x="1743052" y="306673"/>
                  <a:pt x="1736825" y="312900"/>
                  <a:pt x="1728262" y="312900"/>
                </a:cubicBezTo>
                <a:cubicBezTo>
                  <a:pt x="1719697" y="312900"/>
                  <a:pt x="1713472" y="306673"/>
                  <a:pt x="1713472" y="298111"/>
                </a:cubicBezTo>
                <a:cubicBezTo>
                  <a:pt x="1713472" y="290327"/>
                  <a:pt x="1719697" y="283322"/>
                  <a:pt x="1728262" y="283322"/>
                </a:cubicBezTo>
                <a:close/>
                <a:moveTo>
                  <a:pt x="1656498" y="283322"/>
                </a:moveTo>
                <a:cubicBezTo>
                  <a:pt x="1663792" y="283322"/>
                  <a:pt x="1668897" y="290327"/>
                  <a:pt x="1668897" y="298111"/>
                </a:cubicBezTo>
                <a:cubicBezTo>
                  <a:pt x="1668897" y="306673"/>
                  <a:pt x="1663792" y="312900"/>
                  <a:pt x="1656498" y="312900"/>
                </a:cubicBezTo>
                <a:cubicBezTo>
                  <a:pt x="1648481" y="312900"/>
                  <a:pt x="1642650" y="306673"/>
                  <a:pt x="1642650" y="298111"/>
                </a:cubicBezTo>
                <a:cubicBezTo>
                  <a:pt x="1642650" y="290327"/>
                  <a:pt x="1648481" y="283322"/>
                  <a:pt x="1656498" y="283322"/>
                </a:cubicBezTo>
                <a:close/>
                <a:moveTo>
                  <a:pt x="1582299" y="283322"/>
                </a:moveTo>
                <a:cubicBezTo>
                  <a:pt x="1588131" y="283322"/>
                  <a:pt x="1594704" y="290327"/>
                  <a:pt x="1594704" y="298111"/>
                </a:cubicBezTo>
                <a:cubicBezTo>
                  <a:pt x="1594704" y="306673"/>
                  <a:pt x="1588131" y="312900"/>
                  <a:pt x="1582299" y="312900"/>
                </a:cubicBezTo>
                <a:cubicBezTo>
                  <a:pt x="1574277" y="312900"/>
                  <a:pt x="1568441" y="306673"/>
                  <a:pt x="1568441" y="298111"/>
                </a:cubicBezTo>
                <a:cubicBezTo>
                  <a:pt x="1568441" y="290327"/>
                  <a:pt x="1574277" y="283322"/>
                  <a:pt x="1582299" y="283322"/>
                </a:cubicBezTo>
                <a:close/>
                <a:moveTo>
                  <a:pt x="1512198" y="283322"/>
                </a:moveTo>
                <a:cubicBezTo>
                  <a:pt x="1518032" y="283322"/>
                  <a:pt x="1523865" y="290327"/>
                  <a:pt x="1523865" y="298111"/>
                </a:cubicBezTo>
                <a:cubicBezTo>
                  <a:pt x="1523865" y="306673"/>
                  <a:pt x="1518032" y="312900"/>
                  <a:pt x="1512198" y="312900"/>
                </a:cubicBezTo>
                <a:cubicBezTo>
                  <a:pt x="1504174" y="312900"/>
                  <a:pt x="1497612" y="306673"/>
                  <a:pt x="1497612" y="298111"/>
                </a:cubicBezTo>
                <a:cubicBezTo>
                  <a:pt x="1497612" y="290327"/>
                  <a:pt x="1504174" y="283322"/>
                  <a:pt x="1512198" y="283322"/>
                </a:cubicBezTo>
                <a:close/>
                <a:moveTo>
                  <a:pt x="1439173" y="283322"/>
                </a:moveTo>
                <a:cubicBezTo>
                  <a:pt x="1447191" y="283322"/>
                  <a:pt x="1453026" y="290327"/>
                  <a:pt x="1453026" y="298111"/>
                </a:cubicBezTo>
                <a:cubicBezTo>
                  <a:pt x="1453026" y="306673"/>
                  <a:pt x="1447191" y="312900"/>
                  <a:pt x="1439173" y="312900"/>
                </a:cubicBezTo>
                <a:cubicBezTo>
                  <a:pt x="1433336" y="312900"/>
                  <a:pt x="1426777" y="306673"/>
                  <a:pt x="1426777" y="298111"/>
                </a:cubicBezTo>
                <a:cubicBezTo>
                  <a:pt x="1426777" y="290327"/>
                  <a:pt x="1433336" y="283322"/>
                  <a:pt x="1439173" y="283322"/>
                </a:cubicBezTo>
                <a:close/>
                <a:moveTo>
                  <a:pt x="1368347" y="283322"/>
                </a:moveTo>
                <a:cubicBezTo>
                  <a:pt x="1376368" y="283322"/>
                  <a:pt x="1382200" y="290327"/>
                  <a:pt x="1382200" y="298111"/>
                </a:cubicBezTo>
                <a:cubicBezTo>
                  <a:pt x="1382200" y="306673"/>
                  <a:pt x="1376368" y="312900"/>
                  <a:pt x="1368347" y="312900"/>
                </a:cubicBezTo>
                <a:cubicBezTo>
                  <a:pt x="1362513" y="312900"/>
                  <a:pt x="1355949" y="306673"/>
                  <a:pt x="1355949" y="298111"/>
                </a:cubicBezTo>
                <a:cubicBezTo>
                  <a:pt x="1355949" y="290327"/>
                  <a:pt x="1362513" y="283322"/>
                  <a:pt x="1368347" y="283322"/>
                </a:cubicBezTo>
                <a:close/>
                <a:moveTo>
                  <a:pt x="1297518" y="283322"/>
                </a:moveTo>
                <a:cubicBezTo>
                  <a:pt x="1305540" y="283322"/>
                  <a:pt x="1311374" y="290327"/>
                  <a:pt x="1311374" y="298111"/>
                </a:cubicBezTo>
                <a:cubicBezTo>
                  <a:pt x="1311374" y="306673"/>
                  <a:pt x="1305540" y="312900"/>
                  <a:pt x="1297518" y="312900"/>
                </a:cubicBezTo>
                <a:cubicBezTo>
                  <a:pt x="1289498" y="312900"/>
                  <a:pt x="1285121" y="306673"/>
                  <a:pt x="1285121" y="298111"/>
                </a:cubicBezTo>
                <a:cubicBezTo>
                  <a:pt x="1285121" y="290327"/>
                  <a:pt x="1289498" y="283322"/>
                  <a:pt x="1297518" y="283322"/>
                </a:cubicBezTo>
                <a:close/>
                <a:moveTo>
                  <a:pt x="1154890" y="283322"/>
                </a:moveTo>
                <a:cubicBezTo>
                  <a:pt x="1162674" y="283322"/>
                  <a:pt x="1169683" y="288427"/>
                  <a:pt x="1169683" y="295719"/>
                </a:cubicBezTo>
                <a:cubicBezTo>
                  <a:pt x="1169683" y="303741"/>
                  <a:pt x="1162674" y="309576"/>
                  <a:pt x="1154890" y="309576"/>
                </a:cubicBezTo>
                <a:cubicBezTo>
                  <a:pt x="1146329" y="309576"/>
                  <a:pt x="1140101" y="303741"/>
                  <a:pt x="1140101" y="295719"/>
                </a:cubicBezTo>
                <a:cubicBezTo>
                  <a:pt x="1140101" y="288427"/>
                  <a:pt x="1146329" y="283322"/>
                  <a:pt x="1154890" y="283322"/>
                </a:cubicBezTo>
                <a:close/>
                <a:moveTo>
                  <a:pt x="1084059" y="283322"/>
                </a:moveTo>
                <a:cubicBezTo>
                  <a:pt x="1091842" y="283322"/>
                  <a:pt x="1098847" y="288427"/>
                  <a:pt x="1098847" y="295719"/>
                </a:cubicBezTo>
                <a:cubicBezTo>
                  <a:pt x="1098847" y="303741"/>
                  <a:pt x="1091842" y="309576"/>
                  <a:pt x="1084059" y="309576"/>
                </a:cubicBezTo>
                <a:cubicBezTo>
                  <a:pt x="1075503" y="309576"/>
                  <a:pt x="1069272" y="303741"/>
                  <a:pt x="1069272" y="295719"/>
                </a:cubicBezTo>
                <a:cubicBezTo>
                  <a:pt x="1069272" y="288427"/>
                  <a:pt x="1075503" y="283322"/>
                  <a:pt x="1084059" y="283322"/>
                </a:cubicBezTo>
                <a:close/>
                <a:moveTo>
                  <a:pt x="1013024" y="283322"/>
                </a:moveTo>
                <a:cubicBezTo>
                  <a:pt x="1020314" y="283322"/>
                  <a:pt x="1024691" y="288427"/>
                  <a:pt x="1024691" y="295719"/>
                </a:cubicBezTo>
                <a:cubicBezTo>
                  <a:pt x="1024691" y="303741"/>
                  <a:pt x="1020314" y="309576"/>
                  <a:pt x="1013024" y="309576"/>
                </a:cubicBezTo>
                <a:cubicBezTo>
                  <a:pt x="1005003" y="309576"/>
                  <a:pt x="998442" y="303741"/>
                  <a:pt x="998442" y="295719"/>
                </a:cubicBezTo>
                <a:cubicBezTo>
                  <a:pt x="998442" y="288427"/>
                  <a:pt x="1005003" y="283322"/>
                  <a:pt x="1013024" y="283322"/>
                </a:cubicBezTo>
                <a:close/>
                <a:moveTo>
                  <a:pt x="941467" y="283322"/>
                </a:moveTo>
                <a:cubicBezTo>
                  <a:pt x="948032" y="283322"/>
                  <a:pt x="953869" y="288427"/>
                  <a:pt x="953869" y="295719"/>
                </a:cubicBezTo>
                <a:cubicBezTo>
                  <a:pt x="953869" y="303741"/>
                  <a:pt x="948032" y="309576"/>
                  <a:pt x="941467" y="309576"/>
                </a:cubicBezTo>
                <a:cubicBezTo>
                  <a:pt x="934173" y="309576"/>
                  <a:pt x="927612" y="303741"/>
                  <a:pt x="927612" y="295719"/>
                </a:cubicBezTo>
                <a:cubicBezTo>
                  <a:pt x="927612" y="288427"/>
                  <a:pt x="934173" y="283322"/>
                  <a:pt x="941467" y="283322"/>
                </a:cubicBezTo>
                <a:close/>
                <a:moveTo>
                  <a:pt x="3299102" y="212492"/>
                </a:moveTo>
                <a:cubicBezTo>
                  <a:pt x="3305664" y="212492"/>
                  <a:pt x="3311499" y="219055"/>
                  <a:pt x="3311499" y="226348"/>
                </a:cubicBezTo>
                <a:cubicBezTo>
                  <a:pt x="3311499" y="232911"/>
                  <a:pt x="3305664" y="238746"/>
                  <a:pt x="3299102" y="238746"/>
                </a:cubicBezTo>
                <a:cubicBezTo>
                  <a:pt x="3291807" y="238746"/>
                  <a:pt x="3285245" y="232911"/>
                  <a:pt x="3285245" y="226348"/>
                </a:cubicBezTo>
                <a:cubicBezTo>
                  <a:pt x="3285245" y="219055"/>
                  <a:pt x="3291807" y="212492"/>
                  <a:pt x="3299102" y="212492"/>
                </a:cubicBezTo>
                <a:close/>
                <a:moveTo>
                  <a:pt x="3226811" y="212492"/>
                </a:moveTo>
                <a:cubicBezTo>
                  <a:pt x="3234831" y="212492"/>
                  <a:pt x="3240667" y="219055"/>
                  <a:pt x="3240667" y="226348"/>
                </a:cubicBezTo>
                <a:cubicBezTo>
                  <a:pt x="3240667" y="232911"/>
                  <a:pt x="3234831" y="238746"/>
                  <a:pt x="3226811" y="238746"/>
                </a:cubicBezTo>
                <a:cubicBezTo>
                  <a:pt x="3220250" y="238746"/>
                  <a:pt x="3214412" y="232911"/>
                  <a:pt x="3214412" y="226348"/>
                </a:cubicBezTo>
                <a:cubicBezTo>
                  <a:pt x="3214412" y="219055"/>
                  <a:pt x="3220250" y="212492"/>
                  <a:pt x="3226811" y="212492"/>
                </a:cubicBezTo>
                <a:close/>
                <a:moveTo>
                  <a:pt x="3152608" y="212492"/>
                </a:moveTo>
                <a:cubicBezTo>
                  <a:pt x="3159900" y="212492"/>
                  <a:pt x="3166462" y="219055"/>
                  <a:pt x="3166462" y="226348"/>
                </a:cubicBezTo>
                <a:cubicBezTo>
                  <a:pt x="3166462" y="232911"/>
                  <a:pt x="3159900" y="238746"/>
                  <a:pt x="3152608" y="238746"/>
                </a:cubicBezTo>
                <a:cubicBezTo>
                  <a:pt x="3146043" y="238746"/>
                  <a:pt x="3140211" y="232911"/>
                  <a:pt x="3140211" y="226348"/>
                </a:cubicBezTo>
                <a:cubicBezTo>
                  <a:pt x="3140211" y="219055"/>
                  <a:pt x="3146043" y="212492"/>
                  <a:pt x="3152608" y="212492"/>
                </a:cubicBezTo>
                <a:close/>
                <a:moveTo>
                  <a:pt x="3081775" y="212492"/>
                </a:moveTo>
                <a:cubicBezTo>
                  <a:pt x="3089069" y="212492"/>
                  <a:pt x="3095628" y="219055"/>
                  <a:pt x="3095628" y="226348"/>
                </a:cubicBezTo>
                <a:cubicBezTo>
                  <a:pt x="3095628" y="232911"/>
                  <a:pt x="3089069" y="238746"/>
                  <a:pt x="3081775" y="238746"/>
                </a:cubicBezTo>
                <a:cubicBezTo>
                  <a:pt x="3073753" y="238746"/>
                  <a:pt x="3069375" y="232911"/>
                  <a:pt x="3069375" y="226348"/>
                </a:cubicBezTo>
                <a:cubicBezTo>
                  <a:pt x="3069375" y="219055"/>
                  <a:pt x="3073753" y="212492"/>
                  <a:pt x="3081775" y="212492"/>
                </a:cubicBezTo>
                <a:close/>
                <a:moveTo>
                  <a:pt x="3013720" y="212492"/>
                </a:moveTo>
                <a:cubicBezTo>
                  <a:pt x="3021310" y="212492"/>
                  <a:pt x="3028140" y="219055"/>
                  <a:pt x="3028140" y="226348"/>
                </a:cubicBezTo>
                <a:cubicBezTo>
                  <a:pt x="3028140" y="232911"/>
                  <a:pt x="3021310" y="238746"/>
                  <a:pt x="3013720" y="238746"/>
                </a:cubicBezTo>
                <a:cubicBezTo>
                  <a:pt x="3005373" y="238746"/>
                  <a:pt x="2998542" y="234370"/>
                  <a:pt x="2998542" y="226348"/>
                </a:cubicBezTo>
                <a:cubicBezTo>
                  <a:pt x="2998542" y="219055"/>
                  <a:pt x="3005373" y="212492"/>
                  <a:pt x="3013720" y="212492"/>
                </a:cubicBezTo>
                <a:close/>
                <a:moveTo>
                  <a:pt x="2942497" y="212492"/>
                </a:moveTo>
                <a:cubicBezTo>
                  <a:pt x="2951061" y="212492"/>
                  <a:pt x="2957293" y="219055"/>
                  <a:pt x="2957293" y="226348"/>
                </a:cubicBezTo>
                <a:cubicBezTo>
                  <a:pt x="2957293" y="234370"/>
                  <a:pt x="2951061" y="238746"/>
                  <a:pt x="2942497" y="238746"/>
                </a:cubicBezTo>
                <a:cubicBezTo>
                  <a:pt x="2934719" y="238746"/>
                  <a:pt x="2927716" y="234370"/>
                  <a:pt x="2927716" y="226348"/>
                </a:cubicBezTo>
                <a:cubicBezTo>
                  <a:pt x="2927716" y="219055"/>
                  <a:pt x="2934719" y="212492"/>
                  <a:pt x="2942497" y="212492"/>
                </a:cubicBezTo>
                <a:close/>
                <a:moveTo>
                  <a:pt x="2867363" y="212492"/>
                </a:moveTo>
                <a:cubicBezTo>
                  <a:pt x="2875389" y="212492"/>
                  <a:pt x="2879765" y="219055"/>
                  <a:pt x="2879765" y="226348"/>
                </a:cubicBezTo>
                <a:cubicBezTo>
                  <a:pt x="2879765" y="234370"/>
                  <a:pt x="2875389" y="238746"/>
                  <a:pt x="2867363" y="238746"/>
                </a:cubicBezTo>
                <a:cubicBezTo>
                  <a:pt x="2860073" y="238746"/>
                  <a:pt x="2853510" y="234370"/>
                  <a:pt x="2853510" y="226348"/>
                </a:cubicBezTo>
                <a:cubicBezTo>
                  <a:pt x="2853510" y="219055"/>
                  <a:pt x="2860073" y="212492"/>
                  <a:pt x="2867363" y="212492"/>
                </a:cubicBezTo>
                <a:close/>
                <a:moveTo>
                  <a:pt x="2796538" y="212492"/>
                </a:moveTo>
                <a:cubicBezTo>
                  <a:pt x="2803103" y="212492"/>
                  <a:pt x="2808934" y="219055"/>
                  <a:pt x="2808934" y="226348"/>
                </a:cubicBezTo>
                <a:cubicBezTo>
                  <a:pt x="2808934" y="234370"/>
                  <a:pt x="2803103" y="238746"/>
                  <a:pt x="2796538" y="238746"/>
                </a:cubicBezTo>
                <a:cubicBezTo>
                  <a:pt x="2789246" y="238746"/>
                  <a:pt x="2782680" y="234370"/>
                  <a:pt x="2782680" y="226348"/>
                </a:cubicBezTo>
                <a:cubicBezTo>
                  <a:pt x="2782680" y="219055"/>
                  <a:pt x="2789246" y="212492"/>
                  <a:pt x="2796538" y="212492"/>
                </a:cubicBezTo>
                <a:close/>
                <a:moveTo>
                  <a:pt x="2725698" y="212492"/>
                </a:moveTo>
                <a:cubicBezTo>
                  <a:pt x="2731538" y="212492"/>
                  <a:pt x="2738102" y="219055"/>
                  <a:pt x="2738102" y="226348"/>
                </a:cubicBezTo>
                <a:cubicBezTo>
                  <a:pt x="2738102" y="234370"/>
                  <a:pt x="2731538" y="238746"/>
                  <a:pt x="2725698" y="238746"/>
                </a:cubicBezTo>
                <a:cubicBezTo>
                  <a:pt x="2717686" y="238746"/>
                  <a:pt x="2711852" y="234370"/>
                  <a:pt x="2711852" y="226348"/>
                </a:cubicBezTo>
                <a:cubicBezTo>
                  <a:pt x="2711852" y="219055"/>
                  <a:pt x="2717686" y="212492"/>
                  <a:pt x="2725698" y="212492"/>
                </a:cubicBezTo>
                <a:close/>
                <a:moveTo>
                  <a:pt x="2653420" y="212492"/>
                </a:moveTo>
                <a:cubicBezTo>
                  <a:pt x="2660711" y="212492"/>
                  <a:pt x="2667273" y="219055"/>
                  <a:pt x="2667273" y="226348"/>
                </a:cubicBezTo>
                <a:cubicBezTo>
                  <a:pt x="2667273" y="234370"/>
                  <a:pt x="2660711" y="238746"/>
                  <a:pt x="2653420" y="238746"/>
                </a:cubicBezTo>
                <a:cubicBezTo>
                  <a:pt x="2646857" y="238746"/>
                  <a:pt x="2641021" y="234370"/>
                  <a:pt x="2641021" y="226348"/>
                </a:cubicBezTo>
                <a:cubicBezTo>
                  <a:pt x="2641021" y="219055"/>
                  <a:pt x="2646857" y="212492"/>
                  <a:pt x="2653420" y="212492"/>
                </a:cubicBezTo>
                <a:close/>
                <a:moveTo>
                  <a:pt x="2582586" y="212492"/>
                </a:moveTo>
                <a:cubicBezTo>
                  <a:pt x="2589878" y="212492"/>
                  <a:pt x="2596439" y="219055"/>
                  <a:pt x="2596439" y="226348"/>
                </a:cubicBezTo>
                <a:cubicBezTo>
                  <a:pt x="2596439" y="234370"/>
                  <a:pt x="2589878" y="238746"/>
                  <a:pt x="2582586" y="238746"/>
                </a:cubicBezTo>
                <a:cubicBezTo>
                  <a:pt x="2576024" y="238746"/>
                  <a:pt x="2570189" y="234370"/>
                  <a:pt x="2570189" y="226348"/>
                </a:cubicBezTo>
                <a:cubicBezTo>
                  <a:pt x="2570189" y="219055"/>
                  <a:pt x="2576024" y="212492"/>
                  <a:pt x="2582586" y="212492"/>
                </a:cubicBezTo>
                <a:close/>
                <a:moveTo>
                  <a:pt x="2511029" y="212492"/>
                </a:moveTo>
                <a:cubicBezTo>
                  <a:pt x="2519052" y="212492"/>
                  <a:pt x="2525616" y="219055"/>
                  <a:pt x="2525616" y="226348"/>
                </a:cubicBezTo>
                <a:cubicBezTo>
                  <a:pt x="2525616" y="234370"/>
                  <a:pt x="2519052" y="238746"/>
                  <a:pt x="2511029" y="238746"/>
                </a:cubicBezTo>
                <a:cubicBezTo>
                  <a:pt x="2503740" y="238746"/>
                  <a:pt x="2499364" y="234370"/>
                  <a:pt x="2499364" y="226348"/>
                </a:cubicBezTo>
                <a:cubicBezTo>
                  <a:pt x="2499364" y="219055"/>
                  <a:pt x="2503740" y="212492"/>
                  <a:pt x="2511029" y="212492"/>
                </a:cubicBezTo>
                <a:close/>
                <a:moveTo>
                  <a:pt x="2439946" y="212492"/>
                </a:moveTo>
                <a:cubicBezTo>
                  <a:pt x="2448505" y="212492"/>
                  <a:pt x="2454732" y="219055"/>
                  <a:pt x="2454732" y="226348"/>
                </a:cubicBezTo>
                <a:cubicBezTo>
                  <a:pt x="2454732" y="234370"/>
                  <a:pt x="2448505" y="238746"/>
                  <a:pt x="2439946" y="238746"/>
                </a:cubicBezTo>
                <a:cubicBezTo>
                  <a:pt x="2432163" y="238746"/>
                  <a:pt x="2425156" y="234370"/>
                  <a:pt x="2425156" y="226348"/>
                </a:cubicBezTo>
                <a:cubicBezTo>
                  <a:pt x="2425156" y="219055"/>
                  <a:pt x="2432163" y="212492"/>
                  <a:pt x="2439946" y="212492"/>
                </a:cubicBezTo>
                <a:close/>
                <a:moveTo>
                  <a:pt x="2369110" y="212492"/>
                </a:moveTo>
                <a:cubicBezTo>
                  <a:pt x="2377672" y="212492"/>
                  <a:pt x="2383900" y="219055"/>
                  <a:pt x="2383900" y="226348"/>
                </a:cubicBezTo>
                <a:cubicBezTo>
                  <a:pt x="2383900" y="234370"/>
                  <a:pt x="2377672" y="238746"/>
                  <a:pt x="2369110" y="238746"/>
                </a:cubicBezTo>
                <a:cubicBezTo>
                  <a:pt x="2361329" y="238746"/>
                  <a:pt x="2354323" y="234370"/>
                  <a:pt x="2354323" y="226348"/>
                </a:cubicBezTo>
                <a:cubicBezTo>
                  <a:pt x="2354323" y="219055"/>
                  <a:pt x="2361329" y="212492"/>
                  <a:pt x="2369110" y="212492"/>
                </a:cubicBezTo>
                <a:close/>
                <a:moveTo>
                  <a:pt x="2298283" y="212492"/>
                </a:moveTo>
                <a:cubicBezTo>
                  <a:pt x="2306842" y="212492"/>
                  <a:pt x="2313070" y="219497"/>
                  <a:pt x="2313070" y="227280"/>
                </a:cubicBezTo>
                <a:cubicBezTo>
                  <a:pt x="2313070" y="235842"/>
                  <a:pt x="2306842" y="242069"/>
                  <a:pt x="2298283" y="242069"/>
                </a:cubicBezTo>
                <a:cubicBezTo>
                  <a:pt x="2290497" y="242069"/>
                  <a:pt x="2283493" y="235842"/>
                  <a:pt x="2283493" y="227280"/>
                </a:cubicBezTo>
                <a:cubicBezTo>
                  <a:pt x="2283493" y="219497"/>
                  <a:pt x="2290497" y="212492"/>
                  <a:pt x="2298283" y="212492"/>
                </a:cubicBezTo>
                <a:close/>
                <a:moveTo>
                  <a:pt x="2226517" y="212492"/>
                </a:moveTo>
                <a:cubicBezTo>
                  <a:pt x="2234540" y="212492"/>
                  <a:pt x="2238916" y="219497"/>
                  <a:pt x="2238916" y="227280"/>
                </a:cubicBezTo>
                <a:cubicBezTo>
                  <a:pt x="2238916" y="235842"/>
                  <a:pt x="2234540" y="242069"/>
                  <a:pt x="2226517" y="242069"/>
                </a:cubicBezTo>
                <a:cubicBezTo>
                  <a:pt x="2218495" y="242069"/>
                  <a:pt x="2212659" y="235842"/>
                  <a:pt x="2212659" y="227280"/>
                </a:cubicBezTo>
                <a:cubicBezTo>
                  <a:pt x="2212659" y="219497"/>
                  <a:pt x="2218495" y="212492"/>
                  <a:pt x="2226517" y="212492"/>
                </a:cubicBezTo>
                <a:close/>
                <a:moveTo>
                  <a:pt x="2155683" y="212492"/>
                </a:moveTo>
                <a:cubicBezTo>
                  <a:pt x="2161519" y="212492"/>
                  <a:pt x="2168081" y="219497"/>
                  <a:pt x="2168081" y="227280"/>
                </a:cubicBezTo>
                <a:cubicBezTo>
                  <a:pt x="2168081" y="235842"/>
                  <a:pt x="2161519" y="242069"/>
                  <a:pt x="2155683" y="242069"/>
                </a:cubicBezTo>
                <a:cubicBezTo>
                  <a:pt x="2147663" y="242069"/>
                  <a:pt x="2141827" y="235842"/>
                  <a:pt x="2141827" y="227280"/>
                </a:cubicBezTo>
                <a:cubicBezTo>
                  <a:pt x="2141827" y="219497"/>
                  <a:pt x="2147663" y="212492"/>
                  <a:pt x="2155683" y="212492"/>
                </a:cubicBezTo>
                <a:close/>
                <a:moveTo>
                  <a:pt x="2084851" y="212492"/>
                </a:moveTo>
                <a:cubicBezTo>
                  <a:pt x="2090686" y="212492"/>
                  <a:pt x="2097249" y="219497"/>
                  <a:pt x="2097249" y="227280"/>
                </a:cubicBezTo>
                <a:cubicBezTo>
                  <a:pt x="2097249" y="235842"/>
                  <a:pt x="2090686" y="242069"/>
                  <a:pt x="2084851" y="242069"/>
                </a:cubicBezTo>
                <a:cubicBezTo>
                  <a:pt x="2076829" y="242069"/>
                  <a:pt x="2070995" y="235842"/>
                  <a:pt x="2070995" y="227280"/>
                </a:cubicBezTo>
                <a:cubicBezTo>
                  <a:pt x="2070995" y="219497"/>
                  <a:pt x="2076829" y="212492"/>
                  <a:pt x="2084851" y="212492"/>
                </a:cubicBezTo>
                <a:close/>
                <a:moveTo>
                  <a:pt x="2011835" y="212492"/>
                </a:moveTo>
                <a:cubicBezTo>
                  <a:pt x="2019855" y="212492"/>
                  <a:pt x="2026421" y="219497"/>
                  <a:pt x="2026421" y="227280"/>
                </a:cubicBezTo>
                <a:cubicBezTo>
                  <a:pt x="2026421" y="235842"/>
                  <a:pt x="2019855" y="242069"/>
                  <a:pt x="2011835" y="242069"/>
                </a:cubicBezTo>
                <a:cubicBezTo>
                  <a:pt x="2006003" y="242069"/>
                  <a:pt x="2000168" y="235842"/>
                  <a:pt x="2000168" y="227280"/>
                </a:cubicBezTo>
                <a:cubicBezTo>
                  <a:pt x="2000168" y="219497"/>
                  <a:pt x="2006003" y="212492"/>
                  <a:pt x="2011835" y="212492"/>
                </a:cubicBezTo>
                <a:close/>
                <a:moveTo>
                  <a:pt x="1938362" y="212492"/>
                </a:moveTo>
                <a:cubicBezTo>
                  <a:pt x="1946388" y="212492"/>
                  <a:pt x="1952222" y="219497"/>
                  <a:pt x="1952222" y="227280"/>
                </a:cubicBezTo>
                <a:cubicBezTo>
                  <a:pt x="1952222" y="235842"/>
                  <a:pt x="1946388" y="242069"/>
                  <a:pt x="1938362" y="242069"/>
                </a:cubicBezTo>
                <a:cubicBezTo>
                  <a:pt x="1932531" y="242069"/>
                  <a:pt x="1925971" y="235842"/>
                  <a:pt x="1925971" y="227280"/>
                </a:cubicBezTo>
                <a:cubicBezTo>
                  <a:pt x="1925971" y="219497"/>
                  <a:pt x="1931072" y="212492"/>
                  <a:pt x="1938362" y="212492"/>
                </a:cubicBezTo>
                <a:close/>
                <a:moveTo>
                  <a:pt x="1867530" y="212492"/>
                </a:moveTo>
                <a:cubicBezTo>
                  <a:pt x="1875550" y="212492"/>
                  <a:pt x="1881387" y="219497"/>
                  <a:pt x="1881387" y="227280"/>
                </a:cubicBezTo>
                <a:cubicBezTo>
                  <a:pt x="1881387" y="235842"/>
                  <a:pt x="1875550" y="242069"/>
                  <a:pt x="1867530" y="242069"/>
                </a:cubicBezTo>
                <a:cubicBezTo>
                  <a:pt x="1860238" y="242069"/>
                  <a:pt x="1855129" y="235842"/>
                  <a:pt x="1855129" y="227280"/>
                </a:cubicBezTo>
                <a:cubicBezTo>
                  <a:pt x="1855129" y="219497"/>
                  <a:pt x="1860238" y="212492"/>
                  <a:pt x="1867530" y="212492"/>
                </a:cubicBezTo>
                <a:close/>
                <a:moveTo>
                  <a:pt x="1799087" y="212492"/>
                </a:moveTo>
                <a:cubicBezTo>
                  <a:pt x="1807649" y="212492"/>
                  <a:pt x="1813879" y="219497"/>
                  <a:pt x="1813879" y="227280"/>
                </a:cubicBezTo>
                <a:cubicBezTo>
                  <a:pt x="1813879" y="235842"/>
                  <a:pt x="1807649" y="242069"/>
                  <a:pt x="1799087" y="242069"/>
                </a:cubicBezTo>
                <a:cubicBezTo>
                  <a:pt x="1790527" y="242069"/>
                  <a:pt x="1784303" y="235842"/>
                  <a:pt x="1784303" y="227280"/>
                </a:cubicBezTo>
                <a:cubicBezTo>
                  <a:pt x="1784303" y="219497"/>
                  <a:pt x="1790527" y="212492"/>
                  <a:pt x="1799087" y="212492"/>
                </a:cubicBezTo>
                <a:close/>
                <a:moveTo>
                  <a:pt x="1728262" y="212492"/>
                </a:moveTo>
                <a:cubicBezTo>
                  <a:pt x="1736828" y="212492"/>
                  <a:pt x="1743052" y="219497"/>
                  <a:pt x="1743052" y="227280"/>
                </a:cubicBezTo>
                <a:cubicBezTo>
                  <a:pt x="1743052" y="235842"/>
                  <a:pt x="1736828" y="242069"/>
                  <a:pt x="1728262" y="242069"/>
                </a:cubicBezTo>
                <a:cubicBezTo>
                  <a:pt x="1719700" y="242069"/>
                  <a:pt x="1713472" y="235842"/>
                  <a:pt x="1713472" y="227280"/>
                </a:cubicBezTo>
                <a:cubicBezTo>
                  <a:pt x="1713472" y="219497"/>
                  <a:pt x="1719700" y="212492"/>
                  <a:pt x="1728262" y="212492"/>
                </a:cubicBezTo>
                <a:close/>
                <a:moveTo>
                  <a:pt x="1656498" y="212492"/>
                </a:moveTo>
                <a:cubicBezTo>
                  <a:pt x="1663792" y="212492"/>
                  <a:pt x="1668900" y="219497"/>
                  <a:pt x="1668900" y="227280"/>
                </a:cubicBezTo>
                <a:cubicBezTo>
                  <a:pt x="1668900" y="235842"/>
                  <a:pt x="1663792" y="242069"/>
                  <a:pt x="1656498" y="242069"/>
                </a:cubicBezTo>
                <a:cubicBezTo>
                  <a:pt x="1648481" y="242069"/>
                  <a:pt x="1642655" y="235842"/>
                  <a:pt x="1642655" y="227280"/>
                </a:cubicBezTo>
                <a:cubicBezTo>
                  <a:pt x="1642655" y="219497"/>
                  <a:pt x="1648481" y="212492"/>
                  <a:pt x="1656498" y="212492"/>
                </a:cubicBezTo>
                <a:close/>
                <a:moveTo>
                  <a:pt x="1582299" y="212492"/>
                </a:moveTo>
                <a:cubicBezTo>
                  <a:pt x="1588134" y="212492"/>
                  <a:pt x="1594704" y="219497"/>
                  <a:pt x="1594704" y="227280"/>
                </a:cubicBezTo>
                <a:cubicBezTo>
                  <a:pt x="1594704" y="235842"/>
                  <a:pt x="1588134" y="242069"/>
                  <a:pt x="1582299" y="242069"/>
                </a:cubicBezTo>
                <a:cubicBezTo>
                  <a:pt x="1574277" y="242069"/>
                  <a:pt x="1568441" y="235842"/>
                  <a:pt x="1568441" y="227280"/>
                </a:cubicBezTo>
                <a:cubicBezTo>
                  <a:pt x="1568441" y="219497"/>
                  <a:pt x="1574277" y="212492"/>
                  <a:pt x="1582299" y="212492"/>
                </a:cubicBezTo>
                <a:close/>
                <a:moveTo>
                  <a:pt x="1512198" y="212492"/>
                </a:moveTo>
                <a:cubicBezTo>
                  <a:pt x="1518035" y="212492"/>
                  <a:pt x="1523867" y="219497"/>
                  <a:pt x="1523867" y="227280"/>
                </a:cubicBezTo>
                <a:cubicBezTo>
                  <a:pt x="1523867" y="235842"/>
                  <a:pt x="1518035" y="242069"/>
                  <a:pt x="1512198" y="242069"/>
                </a:cubicBezTo>
                <a:cubicBezTo>
                  <a:pt x="1504174" y="242069"/>
                  <a:pt x="1497612" y="235842"/>
                  <a:pt x="1497612" y="227280"/>
                </a:cubicBezTo>
                <a:cubicBezTo>
                  <a:pt x="1497612" y="219497"/>
                  <a:pt x="1504174" y="212492"/>
                  <a:pt x="1512198" y="212492"/>
                </a:cubicBezTo>
                <a:close/>
                <a:moveTo>
                  <a:pt x="1439173" y="212492"/>
                </a:moveTo>
                <a:cubicBezTo>
                  <a:pt x="1447191" y="212492"/>
                  <a:pt x="1453026" y="219497"/>
                  <a:pt x="1453026" y="227280"/>
                </a:cubicBezTo>
                <a:cubicBezTo>
                  <a:pt x="1453026" y="235842"/>
                  <a:pt x="1447191" y="242069"/>
                  <a:pt x="1439173" y="242069"/>
                </a:cubicBezTo>
                <a:cubicBezTo>
                  <a:pt x="1433339" y="242069"/>
                  <a:pt x="1426777" y="235842"/>
                  <a:pt x="1426777" y="227280"/>
                </a:cubicBezTo>
                <a:cubicBezTo>
                  <a:pt x="1426777" y="219497"/>
                  <a:pt x="1433339" y="212492"/>
                  <a:pt x="1439173" y="212492"/>
                </a:cubicBezTo>
                <a:close/>
                <a:moveTo>
                  <a:pt x="1368349" y="212492"/>
                </a:moveTo>
                <a:cubicBezTo>
                  <a:pt x="1376368" y="212492"/>
                  <a:pt x="1382203" y="219497"/>
                  <a:pt x="1382203" y="227280"/>
                </a:cubicBezTo>
                <a:cubicBezTo>
                  <a:pt x="1382203" y="235842"/>
                  <a:pt x="1376368" y="242069"/>
                  <a:pt x="1368349" y="242069"/>
                </a:cubicBezTo>
                <a:cubicBezTo>
                  <a:pt x="1362513" y="242069"/>
                  <a:pt x="1355950" y="235842"/>
                  <a:pt x="1355950" y="227280"/>
                </a:cubicBezTo>
                <a:cubicBezTo>
                  <a:pt x="1355950" y="219497"/>
                  <a:pt x="1362513" y="212492"/>
                  <a:pt x="1368349" y="212492"/>
                </a:cubicBezTo>
                <a:close/>
                <a:moveTo>
                  <a:pt x="1297520" y="212492"/>
                </a:moveTo>
                <a:cubicBezTo>
                  <a:pt x="1305540" y="212492"/>
                  <a:pt x="1311374" y="219497"/>
                  <a:pt x="1311374" y="227280"/>
                </a:cubicBezTo>
                <a:cubicBezTo>
                  <a:pt x="1311374" y="235842"/>
                  <a:pt x="1305540" y="242069"/>
                  <a:pt x="1297520" y="242069"/>
                </a:cubicBezTo>
                <a:cubicBezTo>
                  <a:pt x="1289498" y="242069"/>
                  <a:pt x="1285121" y="235842"/>
                  <a:pt x="1285121" y="227280"/>
                </a:cubicBezTo>
                <a:cubicBezTo>
                  <a:pt x="1285121" y="219497"/>
                  <a:pt x="1289498" y="212492"/>
                  <a:pt x="1297520" y="212492"/>
                </a:cubicBezTo>
                <a:close/>
                <a:moveTo>
                  <a:pt x="1225708" y="212492"/>
                </a:moveTo>
                <a:cubicBezTo>
                  <a:pt x="1233489" y="212492"/>
                  <a:pt x="1240496" y="219497"/>
                  <a:pt x="1240496" y="227280"/>
                </a:cubicBezTo>
                <a:cubicBezTo>
                  <a:pt x="1240496" y="235842"/>
                  <a:pt x="1233489" y="242069"/>
                  <a:pt x="1225708" y="242069"/>
                </a:cubicBezTo>
                <a:cubicBezTo>
                  <a:pt x="1217159" y="242069"/>
                  <a:pt x="1210934" y="235842"/>
                  <a:pt x="1210934" y="227280"/>
                </a:cubicBezTo>
                <a:cubicBezTo>
                  <a:pt x="1210934" y="219497"/>
                  <a:pt x="1217159" y="212492"/>
                  <a:pt x="1225708" y="212492"/>
                </a:cubicBezTo>
                <a:close/>
                <a:moveTo>
                  <a:pt x="1154891" y="212492"/>
                </a:moveTo>
                <a:cubicBezTo>
                  <a:pt x="1162674" y="212492"/>
                  <a:pt x="1169683" y="219497"/>
                  <a:pt x="1169683" y="227280"/>
                </a:cubicBezTo>
                <a:cubicBezTo>
                  <a:pt x="1169683" y="235842"/>
                  <a:pt x="1162674" y="242069"/>
                  <a:pt x="1154891" y="242069"/>
                </a:cubicBezTo>
                <a:cubicBezTo>
                  <a:pt x="1146329" y="242069"/>
                  <a:pt x="1140105" y="235842"/>
                  <a:pt x="1140105" y="227280"/>
                </a:cubicBezTo>
                <a:cubicBezTo>
                  <a:pt x="1140105" y="219497"/>
                  <a:pt x="1146329" y="212492"/>
                  <a:pt x="1154891" y="212492"/>
                </a:cubicBezTo>
                <a:close/>
                <a:moveTo>
                  <a:pt x="1084063" y="212492"/>
                </a:moveTo>
                <a:cubicBezTo>
                  <a:pt x="1091842" y="212492"/>
                  <a:pt x="1098847" y="219497"/>
                  <a:pt x="1098847" y="227280"/>
                </a:cubicBezTo>
                <a:cubicBezTo>
                  <a:pt x="1098847" y="235842"/>
                  <a:pt x="1091842" y="242069"/>
                  <a:pt x="1084063" y="242069"/>
                </a:cubicBezTo>
                <a:cubicBezTo>
                  <a:pt x="1075503" y="242069"/>
                  <a:pt x="1069276" y="235842"/>
                  <a:pt x="1069276" y="227280"/>
                </a:cubicBezTo>
                <a:cubicBezTo>
                  <a:pt x="1069276" y="219497"/>
                  <a:pt x="1075503" y="212492"/>
                  <a:pt x="1084063" y="212492"/>
                </a:cubicBezTo>
                <a:close/>
                <a:moveTo>
                  <a:pt x="3013723" y="141661"/>
                </a:moveTo>
                <a:cubicBezTo>
                  <a:pt x="3021310" y="141661"/>
                  <a:pt x="3028140" y="148224"/>
                  <a:pt x="3028140" y="155517"/>
                </a:cubicBezTo>
                <a:cubicBezTo>
                  <a:pt x="3028140" y="162080"/>
                  <a:pt x="3021310" y="167915"/>
                  <a:pt x="3013723" y="167915"/>
                </a:cubicBezTo>
                <a:cubicBezTo>
                  <a:pt x="3005376" y="167915"/>
                  <a:pt x="2998545" y="162080"/>
                  <a:pt x="2998545" y="155517"/>
                </a:cubicBezTo>
                <a:cubicBezTo>
                  <a:pt x="2998545" y="148224"/>
                  <a:pt x="3005376" y="141661"/>
                  <a:pt x="3013723" y="141661"/>
                </a:cubicBezTo>
                <a:close/>
                <a:moveTo>
                  <a:pt x="2942497" y="141661"/>
                </a:moveTo>
                <a:cubicBezTo>
                  <a:pt x="2951061" y="141661"/>
                  <a:pt x="2957293" y="148224"/>
                  <a:pt x="2957293" y="155517"/>
                </a:cubicBezTo>
                <a:cubicBezTo>
                  <a:pt x="2957293" y="162080"/>
                  <a:pt x="2951061" y="167915"/>
                  <a:pt x="2942497" y="167915"/>
                </a:cubicBezTo>
                <a:cubicBezTo>
                  <a:pt x="2934719" y="167915"/>
                  <a:pt x="2927716" y="162080"/>
                  <a:pt x="2927716" y="155517"/>
                </a:cubicBezTo>
                <a:cubicBezTo>
                  <a:pt x="2927716" y="148224"/>
                  <a:pt x="2934719" y="141661"/>
                  <a:pt x="2942497" y="141661"/>
                </a:cubicBezTo>
                <a:close/>
                <a:moveTo>
                  <a:pt x="2867363" y="141661"/>
                </a:moveTo>
                <a:cubicBezTo>
                  <a:pt x="2875389" y="141661"/>
                  <a:pt x="2879765" y="148224"/>
                  <a:pt x="2879765" y="155517"/>
                </a:cubicBezTo>
                <a:cubicBezTo>
                  <a:pt x="2879765" y="162080"/>
                  <a:pt x="2875389" y="167915"/>
                  <a:pt x="2867363" y="167915"/>
                </a:cubicBezTo>
                <a:cubicBezTo>
                  <a:pt x="2860073" y="167915"/>
                  <a:pt x="2853510" y="162080"/>
                  <a:pt x="2853510" y="155517"/>
                </a:cubicBezTo>
                <a:cubicBezTo>
                  <a:pt x="2853510" y="148224"/>
                  <a:pt x="2860073" y="141661"/>
                  <a:pt x="2867363" y="141661"/>
                </a:cubicBezTo>
                <a:close/>
                <a:moveTo>
                  <a:pt x="2796538" y="141661"/>
                </a:moveTo>
                <a:cubicBezTo>
                  <a:pt x="2803103" y="141661"/>
                  <a:pt x="2808940" y="148224"/>
                  <a:pt x="2808940" y="155517"/>
                </a:cubicBezTo>
                <a:cubicBezTo>
                  <a:pt x="2808940" y="162080"/>
                  <a:pt x="2803103" y="167915"/>
                  <a:pt x="2796538" y="167915"/>
                </a:cubicBezTo>
                <a:cubicBezTo>
                  <a:pt x="2789246" y="167915"/>
                  <a:pt x="2782683" y="162080"/>
                  <a:pt x="2782683" y="155517"/>
                </a:cubicBezTo>
                <a:cubicBezTo>
                  <a:pt x="2782683" y="148224"/>
                  <a:pt x="2789246" y="141661"/>
                  <a:pt x="2796538" y="141661"/>
                </a:cubicBezTo>
                <a:close/>
                <a:moveTo>
                  <a:pt x="2725703" y="141661"/>
                </a:moveTo>
                <a:cubicBezTo>
                  <a:pt x="2731538" y="141661"/>
                  <a:pt x="2738105" y="148224"/>
                  <a:pt x="2738105" y="155517"/>
                </a:cubicBezTo>
                <a:cubicBezTo>
                  <a:pt x="2738105" y="162080"/>
                  <a:pt x="2731538" y="167915"/>
                  <a:pt x="2725703" y="167915"/>
                </a:cubicBezTo>
                <a:cubicBezTo>
                  <a:pt x="2717686" y="167915"/>
                  <a:pt x="2711852" y="162080"/>
                  <a:pt x="2711852" y="155517"/>
                </a:cubicBezTo>
                <a:cubicBezTo>
                  <a:pt x="2711852" y="148224"/>
                  <a:pt x="2717686" y="141661"/>
                  <a:pt x="2725703" y="141661"/>
                </a:cubicBezTo>
                <a:close/>
                <a:moveTo>
                  <a:pt x="2653420" y="141661"/>
                </a:moveTo>
                <a:cubicBezTo>
                  <a:pt x="2660711" y="141661"/>
                  <a:pt x="2667273" y="148224"/>
                  <a:pt x="2667273" y="155517"/>
                </a:cubicBezTo>
                <a:cubicBezTo>
                  <a:pt x="2667273" y="162080"/>
                  <a:pt x="2660711" y="167915"/>
                  <a:pt x="2653420" y="167915"/>
                </a:cubicBezTo>
                <a:cubicBezTo>
                  <a:pt x="2646857" y="167915"/>
                  <a:pt x="2641021" y="162080"/>
                  <a:pt x="2641021" y="155517"/>
                </a:cubicBezTo>
                <a:cubicBezTo>
                  <a:pt x="2641021" y="148224"/>
                  <a:pt x="2646857" y="141661"/>
                  <a:pt x="2653420" y="141661"/>
                </a:cubicBezTo>
                <a:close/>
                <a:moveTo>
                  <a:pt x="2582586" y="141661"/>
                </a:moveTo>
                <a:cubicBezTo>
                  <a:pt x="2589878" y="141661"/>
                  <a:pt x="2596442" y="148224"/>
                  <a:pt x="2596442" y="155517"/>
                </a:cubicBezTo>
                <a:cubicBezTo>
                  <a:pt x="2596442" y="162080"/>
                  <a:pt x="2589878" y="167915"/>
                  <a:pt x="2582586" y="167915"/>
                </a:cubicBezTo>
                <a:cubicBezTo>
                  <a:pt x="2576024" y="167915"/>
                  <a:pt x="2570189" y="162080"/>
                  <a:pt x="2570189" y="155517"/>
                </a:cubicBezTo>
                <a:cubicBezTo>
                  <a:pt x="2570189" y="148224"/>
                  <a:pt x="2576024" y="141661"/>
                  <a:pt x="2582586" y="141661"/>
                </a:cubicBezTo>
                <a:close/>
                <a:moveTo>
                  <a:pt x="2511034" y="141661"/>
                </a:moveTo>
                <a:cubicBezTo>
                  <a:pt x="2519052" y="141661"/>
                  <a:pt x="2525616" y="148224"/>
                  <a:pt x="2525616" y="155517"/>
                </a:cubicBezTo>
                <a:cubicBezTo>
                  <a:pt x="2525616" y="162080"/>
                  <a:pt x="2519052" y="167915"/>
                  <a:pt x="2511034" y="167915"/>
                </a:cubicBezTo>
                <a:cubicBezTo>
                  <a:pt x="2503743" y="167915"/>
                  <a:pt x="2499364" y="162080"/>
                  <a:pt x="2499364" y="155517"/>
                </a:cubicBezTo>
                <a:cubicBezTo>
                  <a:pt x="2499364" y="148224"/>
                  <a:pt x="2503743" y="141661"/>
                  <a:pt x="2511034" y="141661"/>
                </a:cubicBezTo>
                <a:close/>
                <a:moveTo>
                  <a:pt x="2439946" y="141661"/>
                </a:moveTo>
                <a:cubicBezTo>
                  <a:pt x="2448505" y="141661"/>
                  <a:pt x="2454734" y="148224"/>
                  <a:pt x="2454734" y="155517"/>
                </a:cubicBezTo>
                <a:cubicBezTo>
                  <a:pt x="2454734" y="162080"/>
                  <a:pt x="2448505" y="167915"/>
                  <a:pt x="2439946" y="167915"/>
                </a:cubicBezTo>
                <a:cubicBezTo>
                  <a:pt x="2432165" y="167915"/>
                  <a:pt x="2425159" y="162080"/>
                  <a:pt x="2425159" y="155517"/>
                </a:cubicBezTo>
                <a:cubicBezTo>
                  <a:pt x="2425159" y="148224"/>
                  <a:pt x="2432165" y="141661"/>
                  <a:pt x="2439946" y="141661"/>
                </a:cubicBezTo>
                <a:close/>
                <a:moveTo>
                  <a:pt x="2369114" y="141661"/>
                </a:moveTo>
                <a:cubicBezTo>
                  <a:pt x="2377674" y="141661"/>
                  <a:pt x="2383900" y="148224"/>
                  <a:pt x="2383900" y="155517"/>
                </a:cubicBezTo>
                <a:cubicBezTo>
                  <a:pt x="2383900" y="162080"/>
                  <a:pt x="2377674" y="167915"/>
                  <a:pt x="2369114" y="167915"/>
                </a:cubicBezTo>
                <a:cubicBezTo>
                  <a:pt x="2361331" y="167915"/>
                  <a:pt x="2354323" y="163539"/>
                  <a:pt x="2354323" y="155517"/>
                </a:cubicBezTo>
                <a:cubicBezTo>
                  <a:pt x="2354323" y="148224"/>
                  <a:pt x="2361331" y="141661"/>
                  <a:pt x="2369114" y="141661"/>
                </a:cubicBezTo>
                <a:close/>
                <a:moveTo>
                  <a:pt x="2298283" y="141661"/>
                </a:moveTo>
                <a:cubicBezTo>
                  <a:pt x="2306842" y="141661"/>
                  <a:pt x="2313070" y="148224"/>
                  <a:pt x="2313070" y="155517"/>
                </a:cubicBezTo>
                <a:cubicBezTo>
                  <a:pt x="2313070" y="163539"/>
                  <a:pt x="2306842" y="167915"/>
                  <a:pt x="2298283" y="167915"/>
                </a:cubicBezTo>
                <a:cubicBezTo>
                  <a:pt x="2290497" y="167915"/>
                  <a:pt x="2283493" y="163539"/>
                  <a:pt x="2283493" y="155517"/>
                </a:cubicBezTo>
                <a:cubicBezTo>
                  <a:pt x="2283493" y="148224"/>
                  <a:pt x="2290497" y="141661"/>
                  <a:pt x="2298283" y="141661"/>
                </a:cubicBezTo>
                <a:close/>
                <a:moveTo>
                  <a:pt x="2226517" y="141661"/>
                </a:moveTo>
                <a:cubicBezTo>
                  <a:pt x="2234542" y="141661"/>
                  <a:pt x="2238916" y="148224"/>
                  <a:pt x="2238916" y="155517"/>
                </a:cubicBezTo>
                <a:cubicBezTo>
                  <a:pt x="2238916" y="163539"/>
                  <a:pt x="2234542" y="167915"/>
                  <a:pt x="2226517" y="167915"/>
                </a:cubicBezTo>
                <a:cubicBezTo>
                  <a:pt x="2218495" y="167915"/>
                  <a:pt x="2212659" y="163539"/>
                  <a:pt x="2212659" y="155517"/>
                </a:cubicBezTo>
                <a:cubicBezTo>
                  <a:pt x="2212659" y="148224"/>
                  <a:pt x="2218495" y="141661"/>
                  <a:pt x="2226517" y="141661"/>
                </a:cubicBezTo>
                <a:close/>
                <a:moveTo>
                  <a:pt x="2155683" y="141661"/>
                </a:moveTo>
                <a:cubicBezTo>
                  <a:pt x="2161520" y="141661"/>
                  <a:pt x="2168084" y="148224"/>
                  <a:pt x="2168084" y="155517"/>
                </a:cubicBezTo>
                <a:cubicBezTo>
                  <a:pt x="2168084" y="163539"/>
                  <a:pt x="2161520" y="167915"/>
                  <a:pt x="2155683" y="167915"/>
                </a:cubicBezTo>
                <a:cubicBezTo>
                  <a:pt x="2147663" y="167915"/>
                  <a:pt x="2141827" y="163539"/>
                  <a:pt x="2141827" y="155517"/>
                </a:cubicBezTo>
                <a:cubicBezTo>
                  <a:pt x="2141827" y="148224"/>
                  <a:pt x="2147663" y="141661"/>
                  <a:pt x="2155683" y="141661"/>
                </a:cubicBezTo>
                <a:close/>
                <a:moveTo>
                  <a:pt x="2084851" y="141661"/>
                </a:moveTo>
                <a:cubicBezTo>
                  <a:pt x="2090686" y="141661"/>
                  <a:pt x="2097249" y="148224"/>
                  <a:pt x="2097249" y="155517"/>
                </a:cubicBezTo>
                <a:cubicBezTo>
                  <a:pt x="2097249" y="163539"/>
                  <a:pt x="2090686" y="167915"/>
                  <a:pt x="2084851" y="167915"/>
                </a:cubicBezTo>
                <a:cubicBezTo>
                  <a:pt x="2076829" y="167915"/>
                  <a:pt x="2070995" y="163539"/>
                  <a:pt x="2070995" y="155517"/>
                </a:cubicBezTo>
                <a:cubicBezTo>
                  <a:pt x="2070995" y="148224"/>
                  <a:pt x="2076829" y="141661"/>
                  <a:pt x="2084851" y="141661"/>
                </a:cubicBezTo>
                <a:close/>
                <a:moveTo>
                  <a:pt x="2011835" y="141661"/>
                </a:moveTo>
                <a:cubicBezTo>
                  <a:pt x="2019855" y="141661"/>
                  <a:pt x="2026421" y="148224"/>
                  <a:pt x="2026421" y="155517"/>
                </a:cubicBezTo>
                <a:cubicBezTo>
                  <a:pt x="2026421" y="163539"/>
                  <a:pt x="2019855" y="167915"/>
                  <a:pt x="2011835" y="167915"/>
                </a:cubicBezTo>
                <a:cubicBezTo>
                  <a:pt x="2006003" y="167915"/>
                  <a:pt x="2000168" y="163539"/>
                  <a:pt x="2000168" y="155517"/>
                </a:cubicBezTo>
                <a:cubicBezTo>
                  <a:pt x="2000168" y="148224"/>
                  <a:pt x="2006003" y="141661"/>
                  <a:pt x="2011835" y="141661"/>
                </a:cubicBezTo>
                <a:close/>
                <a:moveTo>
                  <a:pt x="1938365" y="141661"/>
                </a:moveTo>
                <a:cubicBezTo>
                  <a:pt x="1946388" y="141661"/>
                  <a:pt x="1952222" y="148224"/>
                  <a:pt x="1952222" y="155517"/>
                </a:cubicBezTo>
                <a:cubicBezTo>
                  <a:pt x="1952222" y="163539"/>
                  <a:pt x="1946388" y="167915"/>
                  <a:pt x="1938365" y="167915"/>
                </a:cubicBezTo>
                <a:cubicBezTo>
                  <a:pt x="1931072" y="167915"/>
                  <a:pt x="1925971" y="163539"/>
                  <a:pt x="1925971" y="155517"/>
                </a:cubicBezTo>
                <a:cubicBezTo>
                  <a:pt x="1925971" y="148224"/>
                  <a:pt x="1931072" y="141661"/>
                  <a:pt x="1938365" y="141661"/>
                </a:cubicBezTo>
                <a:close/>
                <a:moveTo>
                  <a:pt x="1869922" y="141661"/>
                </a:moveTo>
                <a:cubicBezTo>
                  <a:pt x="1878483" y="141661"/>
                  <a:pt x="1884712" y="148224"/>
                  <a:pt x="1884712" y="155517"/>
                </a:cubicBezTo>
                <a:cubicBezTo>
                  <a:pt x="1884712" y="163539"/>
                  <a:pt x="1878483" y="167915"/>
                  <a:pt x="1869922" y="167915"/>
                </a:cubicBezTo>
                <a:cubicBezTo>
                  <a:pt x="1862138" y="167915"/>
                  <a:pt x="1855131" y="163539"/>
                  <a:pt x="1855131" y="155517"/>
                </a:cubicBezTo>
                <a:cubicBezTo>
                  <a:pt x="1855131" y="148224"/>
                  <a:pt x="1862138" y="141661"/>
                  <a:pt x="1869922" y="141661"/>
                </a:cubicBezTo>
                <a:close/>
                <a:moveTo>
                  <a:pt x="1799087" y="141661"/>
                </a:moveTo>
                <a:cubicBezTo>
                  <a:pt x="1807649" y="141661"/>
                  <a:pt x="1813879" y="148224"/>
                  <a:pt x="1813879" y="155517"/>
                </a:cubicBezTo>
                <a:cubicBezTo>
                  <a:pt x="1813879" y="163539"/>
                  <a:pt x="1807649" y="167915"/>
                  <a:pt x="1799087" y="167915"/>
                </a:cubicBezTo>
                <a:cubicBezTo>
                  <a:pt x="1790527" y="167915"/>
                  <a:pt x="1784303" y="163539"/>
                  <a:pt x="1784303" y="155517"/>
                </a:cubicBezTo>
                <a:cubicBezTo>
                  <a:pt x="1784303" y="148224"/>
                  <a:pt x="1790527" y="141661"/>
                  <a:pt x="1799087" y="141661"/>
                </a:cubicBezTo>
                <a:close/>
                <a:moveTo>
                  <a:pt x="1728262" y="141661"/>
                </a:moveTo>
                <a:cubicBezTo>
                  <a:pt x="1736828" y="141661"/>
                  <a:pt x="1743052" y="148224"/>
                  <a:pt x="1743052" y="155517"/>
                </a:cubicBezTo>
                <a:cubicBezTo>
                  <a:pt x="1743052" y="163539"/>
                  <a:pt x="1736828" y="167915"/>
                  <a:pt x="1728262" y="167915"/>
                </a:cubicBezTo>
                <a:cubicBezTo>
                  <a:pt x="1719700" y="167915"/>
                  <a:pt x="1713474" y="163539"/>
                  <a:pt x="1713474" y="155517"/>
                </a:cubicBezTo>
                <a:cubicBezTo>
                  <a:pt x="1713474" y="148224"/>
                  <a:pt x="1719700" y="141661"/>
                  <a:pt x="1728262" y="141661"/>
                </a:cubicBezTo>
                <a:close/>
                <a:moveTo>
                  <a:pt x="1656501" y="141661"/>
                </a:moveTo>
                <a:cubicBezTo>
                  <a:pt x="1663792" y="141661"/>
                  <a:pt x="1668900" y="148666"/>
                  <a:pt x="1668900" y="156450"/>
                </a:cubicBezTo>
                <a:cubicBezTo>
                  <a:pt x="1668900" y="165012"/>
                  <a:pt x="1663792" y="171239"/>
                  <a:pt x="1656501" y="171239"/>
                </a:cubicBezTo>
                <a:cubicBezTo>
                  <a:pt x="1648481" y="171239"/>
                  <a:pt x="1642655" y="165012"/>
                  <a:pt x="1642655" y="156450"/>
                </a:cubicBezTo>
                <a:cubicBezTo>
                  <a:pt x="1642655" y="148666"/>
                  <a:pt x="1648481" y="141661"/>
                  <a:pt x="1656501" y="141661"/>
                </a:cubicBezTo>
                <a:close/>
                <a:moveTo>
                  <a:pt x="1582299" y="141661"/>
                </a:moveTo>
                <a:cubicBezTo>
                  <a:pt x="1588134" y="141661"/>
                  <a:pt x="1594704" y="148666"/>
                  <a:pt x="1594704" y="156450"/>
                </a:cubicBezTo>
                <a:cubicBezTo>
                  <a:pt x="1594704" y="165012"/>
                  <a:pt x="1588134" y="171239"/>
                  <a:pt x="1582299" y="171239"/>
                </a:cubicBezTo>
                <a:cubicBezTo>
                  <a:pt x="1574277" y="171239"/>
                  <a:pt x="1568444" y="165012"/>
                  <a:pt x="1568444" y="156450"/>
                </a:cubicBezTo>
                <a:cubicBezTo>
                  <a:pt x="1568444" y="148666"/>
                  <a:pt x="1574277" y="141661"/>
                  <a:pt x="1582299" y="141661"/>
                </a:cubicBezTo>
                <a:close/>
                <a:moveTo>
                  <a:pt x="1512199" y="141661"/>
                </a:moveTo>
                <a:cubicBezTo>
                  <a:pt x="1518035" y="141661"/>
                  <a:pt x="1523867" y="148666"/>
                  <a:pt x="1523867" y="156450"/>
                </a:cubicBezTo>
                <a:cubicBezTo>
                  <a:pt x="1523867" y="165012"/>
                  <a:pt x="1518035" y="171239"/>
                  <a:pt x="1512199" y="171239"/>
                </a:cubicBezTo>
                <a:cubicBezTo>
                  <a:pt x="1504174" y="171239"/>
                  <a:pt x="1497612" y="165012"/>
                  <a:pt x="1497612" y="156450"/>
                </a:cubicBezTo>
                <a:cubicBezTo>
                  <a:pt x="1497612" y="148666"/>
                  <a:pt x="1504174" y="141661"/>
                  <a:pt x="1512199" y="141661"/>
                </a:cubicBezTo>
                <a:close/>
                <a:moveTo>
                  <a:pt x="1439173" y="141661"/>
                </a:moveTo>
                <a:cubicBezTo>
                  <a:pt x="1447191" y="141661"/>
                  <a:pt x="1453026" y="148666"/>
                  <a:pt x="1453026" y="156450"/>
                </a:cubicBezTo>
                <a:cubicBezTo>
                  <a:pt x="1453026" y="165012"/>
                  <a:pt x="1447191" y="171239"/>
                  <a:pt x="1439173" y="171239"/>
                </a:cubicBezTo>
                <a:cubicBezTo>
                  <a:pt x="1433339" y="171239"/>
                  <a:pt x="1426777" y="165012"/>
                  <a:pt x="1426777" y="156450"/>
                </a:cubicBezTo>
                <a:cubicBezTo>
                  <a:pt x="1426777" y="148666"/>
                  <a:pt x="1433339" y="141661"/>
                  <a:pt x="1439173" y="141661"/>
                </a:cubicBezTo>
                <a:close/>
                <a:moveTo>
                  <a:pt x="1368349" y="141661"/>
                </a:moveTo>
                <a:cubicBezTo>
                  <a:pt x="1376368" y="141661"/>
                  <a:pt x="1382203" y="148666"/>
                  <a:pt x="1382203" y="156450"/>
                </a:cubicBezTo>
                <a:cubicBezTo>
                  <a:pt x="1382203" y="165012"/>
                  <a:pt x="1376368" y="171239"/>
                  <a:pt x="1368349" y="171239"/>
                </a:cubicBezTo>
                <a:cubicBezTo>
                  <a:pt x="1362516" y="171239"/>
                  <a:pt x="1355953" y="165012"/>
                  <a:pt x="1355953" y="156450"/>
                </a:cubicBezTo>
                <a:cubicBezTo>
                  <a:pt x="1355953" y="148666"/>
                  <a:pt x="1362516" y="141661"/>
                  <a:pt x="1368349" y="141661"/>
                </a:cubicBezTo>
                <a:close/>
                <a:moveTo>
                  <a:pt x="1297520" y="141661"/>
                </a:moveTo>
                <a:cubicBezTo>
                  <a:pt x="1305540" y="141661"/>
                  <a:pt x="1311374" y="148666"/>
                  <a:pt x="1311374" y="156450"/>
                </a:cubicBezTo>
                <a:cubicBezTo>
                  <a:pt x="1311374" y="165012"/>
                  <a:pt x="1305540" y="171239"/>
                  <a:pt x="1297520" y="171239"/>
                </a:cubicBezTo>
                <a:cubicBezTo>
                  <a:pt x="1289498" y="171239"/>
                  <a:pt x="1285121" y="165012"/>
                  <a:pt x="1285121" y="156450"/>
                </a:cubicBezTo>
                <a:cubicBezTo>
                  <a:pt x="1285121" y="148666"/>
                  <a:pt x="1289498" y="141661"/>
                  <a:pt x="1297520" y="141661"/>
                </a:cubicBezTo>
                <a:close/>
                <a:moveTo>
                  <a:pt x="2796538" y="70831"/>
                </a:moveTo>
                <a:cubicBezTo>
                  <a:pt x="2803103" y="70831"/>
                  <a:pt x="2808940" y="76665"/>
                  <a:pt x="2808940" y="84687"/>
                </a:cubicBezTo>
                <a:cubicBezTo>
                  <a:pt x="2808940" y="90521"/>
                  <a:pt x="2803103" y="97085"/>
                  <a:pt x="2796538" y="97085"/>
                </a:cubicBezTo>
                <a:cubicBezTo>
                  <a:pt x="2789246" y="97085"/>
                  <a:pt x="2782683" y="90521"/>
                  <a:pt x="2782683" y="84687"/>
                </a:cubicBezTo>
                <a:cubicBezTo>
                  <a:pt x="2782683" y="76665"/>
                  <a:pt x="2789246" y="70831"/>
                  <a:pt x="2796538" y="70831"/>
                </a:cubicBezTo>
                <a:close/>
                <a:moveTo>
                  <a:pt x="2725703" y="70831"/>
                </a:moveTo>
                <a:cubicBezTo>
                  <a:pt x="2731538" y="70831"/>
                  <a:pt x="2738105" y="76665"/>
                  <a:pt x="2738105" y="84687"/>
                </a:cubicBezTo>
                <a:cubicBezTo>
                  <a:pt x="2738105" y="90521"/>
                  <a:pt x="2731538" y="97085"/>
                  <a:pt x="2725703" y="97085"/>
                </a:cubicBezTo>
                <a:cubicBezTo>
                  <a:pt x="2717686" y="97085"/>
                  <a:pt x="2711852" y="90521"/>
                  <a:pt x="2711852" y="84687"/>
                </a:cubicBezTo>
                <a:cubicBezTo>
                  <a:pt x="2711852" y="76665"/>
                  <a:pt x="2717686" y="70831"/>
                  <a:pt x="2725703" y="70831"/>
                </a:cubicBezTo>
                <a:close/>
                <a:moveTo>
                  <a:pt x="2653420" y="70831"/>
                </a:moveTo>
                <a:cubicBezTo>
                  <a:pt x="2660711" y="70831"/>
                  <a:pt x="2667273" y="76665"/>
                  <a:pt x="2667273" y="84687"/>
                </a:cubicBezTo>
                <a:cubicBezTo>
                  <a:pt x="2667273" y="90521"/>
                  <a:pt x="2660711" y="97085"/>
                  <a:pt x="2653420" y="97085"/>
                </a:cubicBezTo>
                <a:cubicBezTo>
                  <a:pt x="2646857" y="97085"/>
                  <a:pt x="2641021" y="90521"/>
                  <a:pt x="2641021" y="84687"/>
                </a:cubicBezTo>
                <a:cubicBezTo>
                  <a:pt x="2641021" y="76665"/>
                  <a:pt x="2646857" y="70831"/>
                  <a:pt x="2653420" y="70831"/>
                </a:cubicBezTo>
                <a:close/>
                <a:moveTo>
                  <a:pt x="2582586" y="70831"/>
                </a:moveTo>
                <a:cubicBezTo>
                  <a:pt x="2589878" y="70831"/>
                  <a:pt x="2596442" y="76665"/>
                  <a:pt x="2596442" y="84687"/>
                </a:cubicBezTo>
                <a:cubicBezTo>
                  <a:pt x="2596442" y="90521"/>
                  <a:pt x="2589878" y="97085"/>
                  <a:pt x="2582586" y="97085"/>
                </a:cubicBezTo>
                <a:cubicBezTo>
                  <a:pt x="2576024" y="97085"/>
                  <a:pt x="2570189" y="90521"/>
                  <a:pt x="2570189" y="84687"/>
                </a:cubicBezTo>
                <a:cubicBezTo>
                  <a:pt x="2570189" y="76665"/>
                  <a:pt x="2576024" y="70831"/>
                  <a:pt x="2582586" y="70831"/>
                </a:cubicBezTo>
                <a:close/>
                <a:moveTo>
                  <a:pt x="2511034" y="70831"/>
                </a:moveTo>
                <a:cubicBezTo>
                  <a:pt x="2519052" y="70831"/>
                  <a:pt x="2525616" y="76665"/>
                  <a:pt x="2525616" y="84687"/>
                </a:cubicBezTo>
                <a:cubicBezTo>
                  <a:pt x="2525616" y="90521"/>
                  <a:pt x="2519052" y="97085"/>
                  <a:pt x="2511034" y="97085"/>
                </a:cubicBezTo>
                <a:cubicBezTo>
                  <a:pt x="2503743" y="97085"/>
                  <a:pt x="2499364" y="90521"/>
                  <a:pt x="2499364" y="84687"/>
                </a:cubicBezTo>
                <a:cubicBezTo>
                  <a:pt x="2499364" y="76665"/>
                  <a:pt x="2503743" y="70831"/>
                  <a:pt x="2511034" y="70831"/>
                </a:cubicBezTo>
                <a:close/>
                <a:moveTo>
                  <a:pt x="2439946" y="70831"/>
                </a:moveTo>
                <a:cubicBezTo>
                  <a:pt x="2448505" y="70831"/>
                  <a:pt x="2454737" y="76665"/>
                  <a:pt x="2454737" y="84687"/>
                </a:cubicBezTo>
                <a:cubicBezTo>
                  <a:pt x="2454737" y="90521"/>
                  <a:pt x="2448505" y="97085"/>
                  <a:pt x="2439946" y="97085"/>
                </a:cubicBezTo>
                <a:cubicBezTo>
                  <a:pt x="2432165" y="97085"/>
                  <a:pt x="2425159" y="90521"/>
                  <a:pt x="2425159" y="84687"/>
                </a:cubicBezTo>
                <a:cubicBezTo>
                  <a:pt x="2425159" y="76665"/>
                  <a:pt x="2432165" y="70831"/>
                  <a:pt x="2439946" y="70831"/>
                </a:cubicBezTo>
                <a:close/>
                <a:moveTo>
                  <a:pt x="2369114" y="70831"/>
                </a:moveTo>
                <a:cubicBezTo>
                  <a:pt x="2377674" y="70831"/>
                  <a:pt x="2383900" y="76665"/>
                  <a:pt x="2383900" y="84687"/>
                </a:cubicBezTo>
                <a:cubicBezTo>
                  <a:pt x="2383900" y="90521"/>
                  <a:pt x="2377674" y="97085"/>
                  <a:pt x="2369114" y="97085"/>
                </a:cubicBezTo>
                <a:cubicBezTo>
                  <a:pt x="2361331" y="97085"/>
                  <a:pt x="2354323" y="90521"/>
                  <a:pt x="2354323" y="84687"/>
                </a:cubicBezTo>
                <a:cubicBezTo>
                  <a:pt x="2354323" y="76665"/>
                  <a:pt x="2361331" y="70831"/>
                  <a:pt x="2369114" y="70831"/>
                </a:cubicBezTo>
                <a:close/>
                <a:moveTo>
                  <a:pt x="2298283" y="70831"/>
                </a:moveTo>
                <a:cubicBezTo>
                  <a:pt x="2306842" y="70831"/>
                  <a:pt x="2313070" y="76665"/>
                  <a:pt x="2313070" y="84687"/>
                </a:cubicBezTo>
                <a:cubicBezTo>
                  <a:pt x="2313070" y="90521"/>
                  <a:pt x="2306842" y="97085"/>
                  <a:pt x="2298283" y="97085"/>
                </a:cubicBezTo>
                <a:cubicBezTo>
                  <a:pt x="2290497" y="97085"/>
                  <a:pt x="2283493" y="90521"/>
                  <a:pt x="2283493" y="84687"/>
                </a:cubicBezTo>
                <a:cubicBezTo>
                  <a:pt x="2283493" y="76665"/>
                  <a:pt x="2290497" y="70831"/>
                  <a:pt x="2298283" y="70831"/>
                </a:cubicBezTo>
                <a:close/>
                <a:moveTo>
                  <a:pt x="2226517" y="70831"/>
                </a:moveTo>
                <a:cubicBezTo>
                  <a:pt x="2234542" y="70831"/>
                  <a:pt x="2238916" y="76665"/>
                  <a:pt x="2238916" y="84687"/>
                </a:cubicBezTo>
                <a:cubicBezTo>
                  <a:pt x="2238916" y="90521"/>
                  <a:pt x="2234542" y="97085"/>
                  <a:pt x="2226517" y="97085"/>
                </a:cubicBezTo>
                <a:cubicBezTo>
                  <a:pt x="2218495" y="97085"/>
                  <a:pt x="2212659" y="90521"/>
                  <a:pt x="2212659" y="84687"/>
                </a:cubicBezTo>
                <a:cubicBezTo>
                  <a:pt x="2212659" y="76665"/>
                  <a:pt x="2218495" y="70831"/>
                  <a:pt x="2226517" y="70831"/>
                </a:cubicBezTo>
                <a:close/>
                <a:moveTo>
                  <a:pt x="2155683" y="70831"/>
                </a:moveTo>
                <a:cubicBezTo>
                  <a:pt x="2161520" y="70831"/>
                  <a:pt x="2168084" y="76665"/>
                  <a:pt x="2168084" y="84687"/>
                </a:cubicBezTo>
                <a:cubicBezTo>
                  <a:pt x="2168084" y="90521"/>
                  <a:pt x="2161520" y="97085"/>
                  <a:pt x="2155683" y="97085"/>
                </a:cubicBezTo>
                <a:cubicBezTo>
                  <a:pt x="2147663" y="97085"/>
                  <a:pt x="2141827" y="90521"/>
                  <a:pt x="2141827" y="84687"/>
                </a:cubicBezTo>
                <a:cubicBezTo>
                  <a:pt x="2141827" y="76665"/>
                  <a:pt x="2147663" y="70831"/>
                  <a:pt x="2155683" y="70831"/>
                </a:cubicBezTo>
                <a:close/>
                <a:moveTo>
                  <a:pt x="2083393" y="70831"/>
                </a:moveTo>
                <a:cubicBezTo>
                  <a:pt x="2090686" y="70831"/>
                  <a:pt x="2097249" y="76665"/>
                  <a:pt x="2097249" y="84687"/>
                </a:cubicBezTo>
                <a:cubicBezTo>
                  <a:pt x="2097249" y="90521"/>
                  <a:pt x="2090686" y="97085"/>
                  <a:pt x="2083393" y="97085"/>
                </a:cubicBezTo>
                <a:cubicBezTo>
                  <a:pt x="2076829" y="97085"/>
                  <a:pt x="2070995" y="90521"/>
                  <a:pt x="2070995" y="84687"/>
                </a:cubicBezTo>
                <a:cubicBezTo>
                  <a:pt x="2070995" y="76665"/>
                  <a:pt x="2076829" y="70831"/>
                  <a:pt x="2083393" y="70831"/>
                </a:cubicBezTo>
                <a:close/>
                <a:moveTo>
                  <a:pt x="2011835" y="70831"/>
                </a:moveTo>
                <a:cubicBezTo>
                  <a:pt x="2019855" y="70831"/>
                  <a:pt x="2026421" y="76665"/>
                  <a:pt x="2026421" y="84687"/>
                </a:cubicBezTo>
                <a:cubicBezTo>
                  <a:pt x="2026421" y="90521"/>
                  <a:pt x="2019855" y="97085"/>
                  <a:pt x="2011835" y="97085"/>
                </a:cubicBezTo>
                <a:cubicBezTo>
                  <a:pt x="2006003" y="97085"/>
                  <a:pt x="2000168" y="90521"/>
                  <a:pt x="2000168" y="84687"/>
                </a:cubicBezTo>
                <a:cubicBezTo>
                  <a:pt x="2000168" y="76665"/>
                  <a:pt x="2006003" y="70831"/>
                  <a:pt x="2011835" y="70831"/>
                </a:cubicBezTo>
                <a:close/>
                <a:moveTo>
                  <a:pt x="1938365" y="70831"/>
                </a:moveTo>
                <a:cubicBezTo>
                  <a:pt x="1946388" y="70831"/>
                  <a:pt x="1952222" y="76665"/>
                  <a:pt x="1952222" y="84687"/>
                </a:cubicBezTo>
                <a:cubicBezTo>
                  <a:pt x="1952222" y="90521"/>
                  <a:pt x="1946388" y="97085"/>
                  <a:pt x="1938365" y="97085"/>
                </a:cubicBezTo>
                <a:cubicBezTo>
                  <a:pt x="1931072" y="97085"/>
                  <a:pt x="1925971" y="90521"/>
                  <a:pt x="1925971" y="84687"/>
                </a:cubicBezTo>
                <a:cubicBezTo>
                  <a:pt x="1925971" y="76665"/>
                  <a:pt x="1931072" y="70831"/>
                  <a:pt x="1938365" y="70831"/>
                </a:cubicBezTo>
                <a:close/>
                <a:moveTo>
                  <a:pt x="1869922" y="70831"/>
                </a:moveTo>
                <a:cubicBezTo>
                  <a:pt x="1878483" y="70831"/>
                  <a:pt x="1884712" y="76665"/>
                  <a:pt x="1884712" y="84687"/>
                </a:cubicBezTo>
                <a:cubicBezTo>
                  <a:pt x="1884712" y="90521"/>
                  <a:pt x="1878483" y="97085"/>
                  <a:pt x="1869922" y="97085"/>
                </a:cubicBezTo>
                <a:cubicBezTo>
                  <a:pt x="1862138" y="97085"/>
                  <a:pt x="1855131" y="90521"/>
                  <a:pt x="1855131" y="84687"/>
                </a:cubicBezTo>
                <a:cubicBezTo>
                  <a:pt x="1855131" y="76665"/>
                  <a:pt x="1862138" y="70831"/>
                  <a:pt x="1869922" y="70831"/>
                </a:cubicBezTo>
                <a:close/>
                <a:moveTo>
                  <a:pt x="1799087" y="70831"/>
                </a:moveTo>
                <a:cubicBezTo>
                  <a:pt x="1807649" y="70831"/>
                  <a:pt x="1813879" y="76665"/>
                  <a:pt x="1813879" y="84687"/>
                </a:cubicBezTo>
                <a:cubicBezTo>
                  <a:pt x="1813879" y="90521"/>
                  <a:pt x="1807649" y="97085"/>
                  <a:pt x="1799087" y="97085"/>
                </a:cubicBezTo>
                <a:cubicBezTo>
                  <a:pt x="1790527" y="97085"/>
                  <a:pt x="1784303" y="92709"/>
                  <a:pt x="1784303" y="84687"/>
                </a:cubicBezTo>
                <a:cubicBezTo>
                  <a:pt x="1784303" y="76665"/>
                  <a:pt x="1790527" y="70831"/>
                  <a:pt x="1799087" y="70831"/>
                </a:cubicBezTo>
                <a:close/>
                <a:moveTo>
                  <a:pt x="1728262" y="70831"/>
                </a:moveTo>
                <a:cubicBezTo>
                  <a:pt x="1736828" y="70831"/>
                  <a:pt x="1743052" y="76665"/>
                  <a:pt x="1743052" y="84687"/>
                </a:cubicBezTo>
                <a:cubicBezTo>
                  <a:pt x="1743052" y="92709"/>
                  <a:pt x="1736828" y="97085"/>
                  <a:pt x="1728262" y="97085"/>
                </a:cubicBezTo>
                <a:cubicBezTo>
                  <a:pt x="1719700" y="97085"/>
                  <a:pt x="1713474" y="92709"/>
                  <a:pt x="1713474" y="84687"/>
                </a:cubicBezTo>
                <a:cubicBezTo>
                  <a:pt x="1713474" y="76665"/>
                  <a:pt x="1719700" y="70831"/>
                  <a:pt x="1728262" y="70831"/>
                </a:cubicBezTo>
                <a:close/>
                <a:moveTo>
                  <a:pt x="1656501" y="70831"/>
                </a:moveTo>
                <a:cubicBezTo>
                  <a:pt x="1663792" y="70831"/>
                  <a:pt x="1668900" y="76665"/>
                  <a:pt x="1668900" y="84687"/>
                </a:cubicBezTo>
                <a:cubicBezTo>
                  <a:pt x="1668900" y="92709"/>
                  <a:pt x="1663792" y="97085"/>
                  <a:pt x="1656501" y="97085"/>
                </a:cubicBezTo>
                <a:cubicBezTo>
                  <a:pt x="1648481" y="97085"/>
                  <a:pt x="1642655" y="92709"/>
                  <a:pt x="1642655" y="84687"/>
                </a:cubicBezTo>
                <a:cubicBezTo>
                  <a:pt x="1642655" y="76665"/>
                  <a:pt x="1648481" y="70831"/>
                  <a:pt x="1656501" y="70831"/>
                </a:cubicBezTo>
                <a:close/>
                <a:moveTo>
                  <a:pt x="1582299" y="70831"/>
                </a:moveTo>
                <a:cubicBezTo>
                  <a:pt x="1588134" y="70831"/>
                  <a:pt x="1594704" y="76665"/>
                  <a:pt x="1594704" y="84687"/>
                </a:cubicBezTo>
                <a:cubicBezTo>
                  <a:pt x="1594704" y="92709"/>
                  <a:pt x="1588134" y="97085"/>
                  <a:pt x="1582299" y="97085"/>
                </a:cubicBezTo>
                <a:cubicBezTo>
                  <a:pt x="1574277" y="97085"/>
                  <a:pt x="1568444" y="92709"/>
                  <a:pt x="1568444" y="84687"/>
                </a:cubicBezTo>
                <a:cubicBezTo>
                  <a:pt x="1568444" y="76665"/>
                  <a:pt x="1574277" y="70831"/>
                  <a:pt x="1582299" y="70831"/>
                </a:cubicBezTo>
                <a:close/>
                <a:moveTo>
                  <a:pt x="2796538" y="0"/>
                </a:moveTo>
                <a:cubicBezTo>
                  <a:pt x="2803103" y="0"/>
                  <a:pt x="2808940" y="5834"/>
                  <a:pt x="2808940" y="12397"/>
                </a:cubicBezTo>
                <a:cubicBezTo>
                  <a:pt x="2808940" y="19690"/>
                  <a:pt x="2803103" y="26254"/>
                  <a:pt x="2796538" y="26254"/>
                </a:cubicBezTo>
                <a:cubicBezTo>
                  <a:pt x="2789246" y="26254"/>
                  <a:pt x="2782683" y="19690"/>
                  <a:pt x="2782683" y="12397"/>
                </a:cubicBezTo>
                <a:cubicBezTo>
                  <a:pt x="2782683" y="5834"/>
                  <a:pt x="2789246" y="0"/>
                  <a:pt x="2796538" y="0"/>
                </a:cubicBezTo>
                <a:close/>
                <a:moveTo>
                  <a:pt x="2725703" y="0"/>
                </a:moveTo>
                <a:cubicBezTo>
                  <a:pt x="2731538" y="0"/>
                  <a:pt x="2738105" y="5834"/>
                  <a:pt x="2738105" y="12397"/>
                </a:cubicBezTo>
                <a:cubicBezTo>
                  <a:pt x="2738105" y="19690"/>
                  <a:pt x="2731538" y="26254"/>
                  <a:pt x="2725703" y="26254"/>
                </a:cubicBezTo>
                <a:cubicBezTo>
                  <a:pt x="2717686" y="26254"/>
                  <a:pt x="2711852" y="19690"/>
                  <a:pt x="2711852" y="12397"/>
                </a:cubicBezTo>
                <a:cubicBezTo>
                  <a:pt x="2711852" y="5834"/>
                  <a:pt x="2717686" y="0"/>
                  <a:pt x="2725703" y="0"/>
                </a:cubicBezTo>
                <a:close/>
                <a:moveTo>
                  <a:pt x="2653420" y="0"/>
                </a:moveTo>
                <a:cubicBezTo>
                  <a:pt x="2660711" y="0"/>
                  <a:pt x="2667273" y="5834"/>
                  <a:pt x="2667273" y="12397"/>
                </a:cubicBezTo>
                <a:cubicBezTo>
                  <a:pt x="2667273" y="19690"/>
                  <a:pt x="2660711" y="26254"/>
                  <a:pt x="2653420" y="26254"/>
                </a:cubicBezTo>
                <a:cubicBezTo>
                  <a:pt x="2646857" y="26254"/>
                  <a:pt x="2641021" y="19690"/>
                  <a:pt x="2641021" y="12397"/>
                </a:cubicBezTo>
                <a:cubicBezTo>
                  <a:pt x="2641021" y="5834"/>
                  <a:pt x="2646857" y="0"/>
                  <a:pt x="2653420" y="0"/>
                </a:cubicBezTo>
                <a:close/>
                <a:moveTo>
                  <a:pt x="2582586" y="0"/>
                </a:moveTo>
                <a:cubicBezTo>
                  <a:pt x="2589878" y="0"/>
                  <a:pt x="2596442" y="5834"/>
                  <a:pt x="2596442" y="12397"/>
                </a:cubicBezTo>
                <a:cubicBezTo>
                  <a:pt x="2596442" y="19690"/>
                  <a:pt x="2589878" y="26254"/>
                  <a:pt x="2582586" y="26254"/>
                </a:cubicBezTo>
                <a:cubicBezTo>
                  <a:pt x="2576024" y="26254"/>
                  <a:pt x="2570189" y="19690"/>
                  <a:pt x="2570189" y="12397"/>
                </a:cubicBezTo>
                <a:cubicBezTo>
                  <a:pt x="2570189" y="5834"/>
                  <a:pt x="2576024" y="0"/>
                  <a:pt x="2582586" y="0"/>
                </a:cubicBezTo>
                <a:close/>
                <a:moveTo>
                  <a:pt x="2511034" y="0"/>
                </a:moveTo>
                <a:cubicBezTo>
                  <a:pt x="2519052" y="0"/>
                  <a:pt x="2525616" y="5834"/>
                  <a:pt x="2525616" y="12397"/>
                </a:cubicBezTo>
                <a:cubicBezTo>
                  <a:pt x="2525616" y="19690"/>
                  <a:pt x="2519052" y="26254"/>
                  <a:pt x="2511034" y="26254"/>
                </a:cubicBezTo>
                <a:cubicBezTo>
                  <a:pt x="2503743" y="26254"/>
                  <a:pt x="2499364" y="19690"/>
                  <a:pt x="2499364" y="12397"/>
                </a:cubicBezTo>
                <a:cubicBezTo>
                  <a:pt x="2499364" y="5834"/>
                  <a:pt x="2503743" y="0"/>
                  <a:pt x="2511034" y="0"/>
                </a:cubicBezTo>
                <a:close/>
                <a:moveTo>
                  <a:pt x="2439946" y="0"/>
                </a:moveTo>
                <a:cubicBezTo>
                  <a:pt x="2448505" y="0"/>
                  <a:pt x="2454737" y="5834"/>
                  <a:pt x="2454737" y="12397"/>
                </a:cubicBezTo>
                <a:cubicBezTo>
                  <a:pt x="2454737" y="19690"/>
                  <a:pt x="2448505" y="26254"/>
                  <a:pt x="2439946" y="26254"/>
                </a:cubicBezTo>
                <a:cubicBezTo>
                  <a:pt x="2432165" y="26254"/>
                  <a:pt x="2425159" y="19690"/>
                  <a:pt x="2425159" y="12397"/>
                </a:cubicBezTo>
                <a:cubicBezTo>
                  <a:pt x="2425159" y="5834"/>
                  <a:pt x="2432165" y="0"/>
                  <a:pt x="2439946" y="0"/>
                </a:cubicBezTo>
                <a:close/>
                <a:moveTo>
                  <a:pt x="2369114" y="0"/>
                </a:moveTo>
                <a:cubicBezTo>
                  <a:pt x="2377674" y="0"/>
                  <a:pt x="2383900" y="5834"/>
                  <a:pt x="2383900" y="12397"/>
                </a:cubicBezTo>
                <a:cubicBezTo>
                  <a:pt x="2383900" y="19690"/>
                  <a:pt x="2377674" y="26254"/>
                  <a:pt x="2369114" y="26254"/>
                </a:cubicBezTo>
                <a:cubicBezTo>
                  <a:pt x="2361331" y="26254"/>
                  <a:pt x="2354323" y="19690"/>
                  <a:pt x="2354323" y="12397"/>
                </a:cubicBezTo>
                <a:cubicBezTo>
                  <a:pt x="2354323" y="5834"/>
                  <a:pt x="2361331" y="0"/>
                  <a:pt x="2369114" y="0"/>
                </a:cubicBezTo>
                <a:close/>
                <a:moveTo>
                  <a:pt x="2298283" y="0"/>
                </a:moveTo>
                <a:cubicBezTo>
                  <a:pt x="2306842" y="0"/>
                  <a:pt x="2313070" y="5834"/>
                  <a:pt x="2313070" y="12397"/>
                </a:cubicBezTo>
                <a:cubicBezTo>
                  <a:pt x="2313070" y="19690"/>
                  <a:pt x="2306842" y="26254"/>
                  <a:pt x="2298283" y="26254"/>
                </a:cubicBezTo>
                <a:cubicBezTo>
                  <a:pt x="2290497" y="26254"/>
                  <a:pt x="2283493" y="19690"/>
                  <a:pt x="2283493" y="12397"/>
                </a:cubicBezTo>
                <a:cubicBezTo>
                  <a:pt x="2283493" y="5834"/>
                  <a:pt x="2290497" y="0"/>
                  <a:pt x="2298283" y="0"/>
                </a:cubicBezTo>
                <a:close/>
                <a:moveTo>
                  <a:pt x="2226517" y="0"/>
                </a:moveTo>
                <a:cubicBezTo>
                  <a:pt x="2234542" y="0"/>
                  <a:pt x="2238916" y="5834"/>
                  <a:pt x="2238916" y="13856"/>
                </a:cubicBezTo>
                <a:cubicBezTo>
                  <a:pt x="2238916" y="19690"/>
                  <a:pt x="2234542" y="26254"/>
                  <a:pt x="2226517" y="26254"/>
                </a:cubicBezTo>
                <a:cubicBezTo>
                  <a:pt x="2218495" y="26254"/>
                  <a:pt x="2212659" y="19690"/>
                  <a:pt x="2212659" y="13856"/>
                </a:cubicBezTo>
                <a:cubicBezTo>
                  <a:pt x="2212659" y="5834"/>
                  <a:pt x="2218495" y="0"/>
                  <a:pt x="2226517" y="0"/>
                </a:cubicBezTo>
                <a:close/>
                <a:moveTo>
                  <a:pt x="2155683" y="0"/>
                </a:moveTo>
                <a:cubicBezTo>
                  <a:pt x="2161520" y="0"/>
                  <a:pt x="2168084" y="5834"/>
                  <a:pt x="2168084" y="13856"/>
                </a:cubicBezTo>
                <a:cubicBezTo>
                  <a:pt x="2168084" y="19690"/>
                  <a:pt x="2161520" y="26254"/>
                  <a:pt x="2155683" y="26254"/>
                </a:cubicBezTo>
                <a:cubicBezTo>
                  <a:pt x="2147663" y="26254"/>
                  <a:pt x="2141827" y="19690"/>
                  <a:pt x="2141827" y="13856"/>
                </a:cubicBezTo>
                <a:cubicBezTo>
                  <a:pt x="2141827" y="5834"/>
                  <a:pt x="2147663" y="0"/>
                  <a:pt x="2155683" y="0"/>
                </a:cubicBezTo>
                <a:close/>
                <a:moveTo>
                  <a:pt x="2083393" y="0"/>
                </a:moveTo>
                <a:cubicBezTo>
                  <a:pt x="2090686" y="0"/>
                  <a:pt x="2097249" y="5834"/>
                  <a:pt x="2097249" y="13856"/>
                </a:cubicBezTo>
                <a:cubicBezTo>
                  <a:pt x="2097249" y="19690"/>
                  <a:pt x="2090686" y="26254"/>
                  <a:pt x="2083393" y="26254"/>
                </a:cubicBezTo>
                <a:cubicBezTo>
                  <a:pt x="2076829" y="26254"/>
                  <a:pt x="2070995" y="19690"/>
                  <a:pt x="2070995" y="13856"/>
                </a:cubicBezTo>
                <a:cubicBezTo>
                  <a:pt x="2070995" y="5834"/>
                  <a:pt x="2076829" y="0"/>
                  <a:pt x="2083393" y="0"/>
                </a:cubicBezTo>
                <a:close/>
                <a:moveTo>
                  <a:pt x="2011835" y="0"/>
                </a:moveTo>
                <a:cubicBezTo>
                  <a:pt x="2019855" y="0"/>
                  <a:pt x="2026421" y="5834"/>
                  <a:pt x="2026421" y="13856"/>
                </a:cubicBezTo>
                <a:cubicBezTo>
                  <a:pt x="2026421" y="19690"/>
                  <a:pt x="2019855" y="26254"/>
                  <a:pt x="2011835" y="26254"/>
                </a:cubicBezTo>
                <a:cubicBezTo>
                  <a:pt x="2006003" y="26254"/>
                  <a:pt x="2000168" y="19690"/>
                  <a:pt x="2000168" y="13856"/>
                </a:cubicBezTo>
                <a:cubicBezTo>
                  <a:pt x="2000168" y="5834"/>
                  <a:pt x="2006003" y="0"/>
                  <a:pt x="2011835" y="0"/>
                </a:cubicBezTo>
                <a:close/>
                <a:moveTo>
                  <a:pt x="1938365" y="0"/>
                </a:moveTo>
                <a:cubicBezTo>
                  <a:pt x="1946388" y="0"/>
                  <a:pt x="1952222" y="5834"/>
                  <a:pt x="1952222" y="13856"/>
                </a:cubicBezTo>
                <a:cubicBezTo>
                  <a:pt x="1952222" y="19690"/>
                  <a:pt x="1946388" y="26254"/>
                  <a:pt x="1938365" y="26254"/>
                </a:cubicBezTo>
                <a:cubicBezTo>
                  <a:pt x="1931072" y="26254"/>
                  <a:pt x="1925971" y="19690"/>
                  <a:pt x="1925971" y="13856"/>
                </a:cubicBezTo>
                <a:cubicBezTo>
                  <a:pt x="1925971" y="5834"/>
                  <a:pt x="1931072" y="0"/>
                  <a:pt x="1938365" y="0"/>
                </a:cubicBezTo>
                <a:close/>
                <a:moveTo>
                  <a:pt x="1869922" y="0"/>
                </a:moveTo>
                <a:cubicBezTo>
                  <a:pt x="1878483" y="0"/>
                  <a:pt x="1884712" y="5834"/>
                  <a:pt x="1884712" y="13856"/>
                </a:cubicBezTo>
                <a:cubicBezTo>
                  <a:pt x="1884712" y="19690"/>
                  <a:pt x="1878483" y="26254"/>
                  <a:pt x="1869922" y="26254"/>
                </a:cubicBezTo>
                <a:cubicBezTo>
                  <a:pt x="1862138" y="26254"/>
                  <a:pt x="1855131" y="19690"/>
                  <a:pt x="1855131" y="13856"/>
                </a:cubicBezTo>
                <a:cubicBezTo>
                  <a:pt x="1855131" y="5834"/>
                  <a:pt x="1862138" y="0"/>
                  <a:pt x="1869922" y="0"/>
                </a:cubicBezTo>
                <a:close/>
                <a:moveTo>
                  <a:pt x="1799087" y="0"/>
                </a:moveTo>
                <a:cubicBezTo>
                  <a:pt x="1807649" y="0"/>
                  <a:pt x="1813879" y="5834"/>
                  <a:pt x="1813879" y="13856"/>
                </a:cubicBezTo>
                <a:cubicBezTo>
                  <a:pt x="1813879" y="19690"/>
                  <a:pt x="1807649" y="26254"/>
                  <a:pt x="1799087" y="26254"/>
                </a:cubicBezTo>
                <a:cubicBezTo>
                  <a:pt x="1790527" y="26254"/>
                  <a:pt x="1784303" y="19690"/>
                  <a:pt x="1784303" y="13856"/>
                </a:cubicBezTo>
                <a:cubicBezTo>
                  <a:pt x="1784303" y="5834"/>
                  <a:pt x="1790527" y="0"/>
                  <a:pt x="1799087" y="0"/>
                </a:cubicBezTo>
                <a:close/>
                <a:moveTo>
                  <a:pt x="1728262" y="0"/>
                </a:moveTo>
                <a:cubicBezTo>
                  <a:pt x="1736828" y="0"/>
                  <a:pt x="1743052" y="5834"/>
                  <a:pt x="1743052" y="13856"/>
                </a:cubicBezTo>
                <a:cubicBezTo>
                  <a:pt x="1743052" y="19690"/>
                  <a:pt x="1736828" y="26254"/>
                  <a:pt x="1728262" y="26254"/>
                </a:cubicBezTo>
                <a:cubicBezTo>
                  <a:pt x="1719700" y="26254"/>
                  <a:pt x="1713474" y="19690"/>
                  <a:pt x="1713474" y="13856"/>
                </a:cubicBezTo>
                <a:cubicBezTo>
                  <a:pt x="1713474" y="5834"/>
                  <a:pt x="1719700" y="0"/>
                  <a:pt x="1728262" y="0"/>
                </a:cubicBezTo>
                <a:close/>
                <a:moveTo>
                  <a:pt x="1656501" y="0"/>
                </a:moveTo>
                <a:cubicBezTo>
                  <a:pt x="1663792" y="0"/>
                  <a:pt x="1668900" y="5834"/>
                  <a:pt x="1668900" y="13856"/>
                </a:cubicBezTo>
                <a:cubicBezTo>
                  <a:pt x="1668900" y="19690"/>
                  <a:pt x="1663792" y="26254"/>
                  <a:pt x="1656501" y="26254"/>
                </a:cubicBezTo>
                <a:cubicBezTo>
                  <a:pt x="1648481" y="26254"/>
                  <a:pt x="1642655" y="19690"/>
                  <a:pt x="1642655" y="13856"/>
                </a:cubicBezTo>
                <a:cubicBezTo>
                  <a:pt x="1642655" y="5834"/>
                  <a:pt x="1648481" y="0"/>
                  <a:pt x="1656501" y="0"/>
                </a:cubicBezTo>
                <a:close/>
                <a:moveTo>
                  <a:pt x="1582299" y="0"/>
                </a:moveTo>
                <a:cubicBezTo>
                  <a:pt x="1588134" y="0"/>
                  <a:pt x="1594704" y="5834"/>
                  <a:pt x="1594704" y="13856"/>
                </a:cubicBezTo>
                <a:cubicBezTo>
                  <a:pt x="1594704" y="19690"/>
                  <a:pt x="1588134" y="26254"/>
                  <a:pt x="1582299" y="26254"/>
                </a:cubicBezTo>
                <a:cubicBezTo>
                  <a:pt x="1574277" y="26254"/>
                  <a:pt x="1568444" y="19690"/>
                  <a:pt x="1568444" y="13856"/>
                </a:cubicBezTo>
                <a:cubicBezTo>
                  <a:pt x="1568444" y="5834"/>
                  <a:pt x="1574277" y="0"/>
                  <a:pt x="158229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de-DE" sz="3266" dirty="0">
              <a:latin typeface="Nunito Sans ExtraLight" pitchFamily="2" charset="77"/>
            </a:endParaRPr>
          </a:p>
        </p:txBody>
      </p:sp>
      <p:sp>
        <p:nvSpPr>
          <p:cNvPr id="7" name="Freeform 1">
            <a:extLst>
              <a:ext uri="{FF2B5EF4-FFF2-40B4-BE49-F238E27FC236}">
                <a16:creationId xmlns:a16="http://schemas.microsoft.com/office/drawing/2014/main" id="{71ABA098-9373-4043-B432-3DCD01B18139}"/>
              </a:ext>
            </a:extLst>
          </p:cNvPr>
          <p:cNvSpPr>
            <a:spLocks noChangeArrowheads="1"/>
          </p:cNvSpPr>
          <p:nvPr userDrawn="1"/>
        </p:nvSpPr>
        <p:spPr bwMode="auto">
          <a:xfrm rot="13500000">
            <a:off x="8554870" y="2298264"/>
            <a:ext cx="2553637" cy="6324200"/>
          </a:xfrm>
          <a:custGeom>
            <a:avLst/>
            <a:gdLst>
              <a:gd name="T0" fmla="*/ 0 w 4138"/>
              <a:gd name="T1" fmla="*/ 10223 h 10245"/>
              <a:gd name="T2" fmla="*/ 0 w 4138"/>
              <a:gd name="T3" fmla="*/ 10223 h 10245"/>
              <a:gd name="T4" fmla="*/ 1549 w 4138"/>
              <a:gd name="T5" fmla="*/ 8731 h 10245"/>
              <a:gd name="T6" fmla="*/ 1549 w 4138"/>
              <a:gd name="T7" fmla="*/ 8731 h 10245"/>
              <a:gd name="T8" fmla="*/ 2011 w 4138"/>
              <a:gd name="T9" fmla="*/ 6622 h 10245"/>
              <a:gd name="T10" fmla="*/ 2011 w 4138"/>
              <a:gd name="T11" fmla="*/ 6622 h 10245"/>
              <a:gd name="T12" fmla="*/ 2941 w 4138"/>
              <a:gd name="T13" fmla="*/ 3654 h 10245"/>
              <a:gd name="T14" fmla="*/ 2941 w 4138"/>
              <a:gd name="T15" fmla="*/ 3654 h 10245"/>
              <a:gd name="T16" fmla="*/ 2247 w 4138"/>
              <a:gd name="T17" fmla="*/ 159 h 10245"/>
              <a:gd name="T18" fmla="*/ 2247 w 4138"/>
              <a:gd name="T19" fmla="*/ 159 h 10245"/>
              <a:gd name="T20" fmla="*/ 2107 w 4138"/>
              <a:gd name="T21" fmla="*/ 2 h 10245"/>
              <a:gd name="T22" fmla="*/ 2133 w 4138"/>
              <a:gd name="T23" fmla="*/ 0 h 10245"/>
              <a:gd name="T24" fmla="*/ 2120 w 4138"/>
              <a:gd name="T25" fmla="*/ 0 h 10245"/>
              <a:gd name="T26" fmla="*/ 2133 w 4138"/>
              <a:gd name="T27" fmla="*/ 0 h 10245"/>
              <a:gd name="T28" fmla="*/ 2133 w 4138"/>
              <a:gd name="T29" fmla="*/ 0 h 10245"/>
              <a:gd name="T30" fmla="*/ 2266 w 4138"/>
              <a:gd name="T31" fmla="*/ 140 h 10245"/>
              <a:gd name="T32" fmla="*/ 2266 w 4138"/>
              <a:gd name="T33" fmla="*/ 140 h 10245"/>
              <a:gd name="T34" fmla="*/ 2962 w 4138"/>
              <a:gd name="T35" fmla="*/ 3669 h 10245"/>
              <a:gd name="T36" fmla="*/ 2962 w 4138"/>
              <a:gd name="T37" fmla="*/ 3669 h 10245"/>
              <a:gd name="T38" fmla="*/ 2036 w 4138"/>
              <a:gd name="T39" fmla="*/ 6625 h 10245"/>
              <a:gd name="T40" fmla="*/ 2036 w 4138"/>
              <a:gd name="T41" fmla="*/ 6625 h 10245"/>
              <a:gd name="T42" fmla="*/ 1573 w 4138"/>
              <a:gd name="T43" fmla="*/ 8743 h 10245"/>
              <a:gd name="T44" fmla="*/ 1573 w 4138"/>
              <a:gd name="T45" fmla="*/ 8743 h 10245"/>
              <a:gd name="T46" fmla="*/ 13 w 4138"/>
              <a:gd name="T47" fmla="*/ 10244 h 10245"/>
              <a:gd name="T48" fmla="*/ 0 w 4138"/>
              <a:gd name="T49" fmla="*/ 10223 h 10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138" h="10245">
                <a:moveTo>
                  <a:pt x="0" y="10223"/>
                </a:moveTo>
                <a:lnTo>
                  <a:pt x="0" y="10223"/>
                </a:lnTo>
                <a:cubicBezTo>
                  <a:pt x="13" y="10217"/>
                  <a:pt x="1109" y="9592"/>
                  <a:pt x="1549" y="8731"/>
                </a:cubicBezTo>
                <a:lnTo>
                  <a:pt x="1549" y="8731"/>
                </a:lnTo>
                <a:cubicBezTo>
                  <a:pt x="1966" y="7914"/>
                  <a:pt x="1988" y="7287"/>
                  <a:pt x="2011" y="6622"/>
                </a:cubicBezTo>
                <a:lnTo>
                  <a:pt x="2011" y="6622"/>
                </a:lnTo>
                <a:cubicBezTo>
                  <a:pt x="2038" y="5791"/>
                  <a:pt x="2067" y="4928"/>
                  <a:pt x="2941" y="3654"/>
                </a:cubicBezTo>
                <a:lnTo>
                  <a:pt x="2941" y="3654"/>
                </a:lnTo>
                <a:cubicBezTo>
                  <a:pt x="4103" y="1962"/>
                  <a:pt x="2706" y="606"/>
                  <a:pt x="2247" y="159"/>
                </a:cubicBezTo>
                <a:lnTo>
                  <a:pt x="2247" y="159"/>
                </a:lnTo>
                <a:cubicBezTo>
                  <a:pt x="2145" y="60"/>
                  <a:pt x="2109" y="24"/>
                  <a:pt x="2107" y="2"/>
                </a:cubicBezTo>
                <a:lnTo>
                  <a:pt x="2133" y="0"/>
                </a:lnTo>
                <a:lnTo>
                  <a:pt x="2120" y="0"/>
                </a:lnTo>
                <a:lnTo>
                  <a:pt x="2133" y="0"/>
                </a:lnTo>
                <a:lnTo>
                  <a:pt x="2133" y="0"/>
                </a:lnTo>
                <a:cubicBezTo>
                  <a:pt x="2135" y="15"/>
                  <a:pt x="2198" y="77"/>
                  <a:pt x="2266" y="140"/>
                </a:cubicBezTo>
                <a:lnTo>
                  <a:pt x="2266" y="140"/>
                </a:lnTo>
                <a:cubicBezTo>
                  <a:pt x="2730" y="591"/>
                  <a:pt x="4137" y="1958"/>
                  <a:pt x="2962" y="3669"/>
                </a:cubicBezTo>
                <a:lnTo>
                  <a:pt x="2962" y="3669"/>
                </a:lnTo>
                <a:cubicBezTo>
                  <a:pt x="2092" y="4936"/>
                  <a:pt x="2063" y="5795"/>
                  <a:pt x="2036" y="6625"/>
                </a:cubicBezTo>
                <a:lnTo>
                  <a:pt x="2036" y="6625"/>
                </a:lnTo>
                <a:cubicBezTo>
                  <a:pt x="2013" y="7291"/>
                  <a:pt x="1992" y="7920"/>
                  <a:pt x="1573" y="8743"/>
                </a:cubicBezTo>
                <a:lnTo>
                  <a:pt x="1573" y="8743"/>
                </a:lnTo>
                <a:cubicBezTo>
                  <a:pt x="1128" y="9611"/>
                  <a:pt x="26" y="10238"/>
                  <a:pt x="13" y="10244"/>
                </a:cubicBezTo>
                <a:lnTo>
                  <a:pt x="0" y="10223"/>
                </a:ln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Nunito Sans Extra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036791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E10509D-3EAC-47D7-B44D-46B0ADE1A7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0317"/>
          <a:stretch/>
        </p:blipFill>
        <p:spPr>
          <a:xfrm>
            <a:off x="-2933129" y="0"/>
            <a:ext cx="714293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902" y="171450"/>
            <a:ext cx="9718769" cy="885826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rgbClr val="323476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15600" y="1268413"/>
            <a:ext cx="11129433" cy="5046662"/>
          </a:xfrm>
          <a:prstGeom prst="rect">
            <a:avLst/>
          </a:prstGeom>
        </p:spPr>
        <p:txBody>
          <a:bodyPr anchor="ctr"/>
          <a:lstStyle>
            <a:lvl1pPr marL="342900" indent="-342900" algn="l">
              <a:lnSpc>
                <a:spcPct val="100000"/>
              </a:lnSpc>
              <a:spcBef>
                <a:spcPts val="1000"/>
              </a:spcBef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lang="de-DE" sz="2000" b="0" dirty="0" smtClean="0">
                <a:solidFill>
                  <a:schemeClr val="tx1"/>
                </a:solidFill>
                <a:latin typeface="+mn-lt"/>
              </a:defRPr>
            </a:lvl1pPr>
            <a:lvl2pPr marL="323992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2pPr>
            <a:lvl3pPr marL="647984" indent="-287993" algn="l">
              <a:lnSpc>
                <a:spcPct val="100000"/>
              </a:lnSpc>
              <a:spcBef>
                <a:spcPts val="1000"/>
              </a:spcBef>
              <a:spcAft>
                <a:spcPts val="1800"/>
              </a:spcAft>
              <a:buClr>
                <a:srgbClr val="323476"/>
              </a:buClr>
              <a:buFont typeface="Wingdings" panose="05000000000000000000" pitchFamily="2" charset="2"/>
              <a:buChar char="§"/>
              <a:defRPr sz="2000">
                <a:latin typeface="+mn-lt"/>
              </a:defRPr>
            </a:lvl3pPr>
            <a:lvl4pPr marL="971976" indent="-287993" algn="l">
              <a:lnSpc>
                <a:spcPct val="100000"/>
              </a:lnSpc>
              <a:spcBef>
                <a:spcPts val="1000"/>
              </a:spcBef>
              <a:spcAft>
                <a:spcPts val="1800"/>
              </a:spcAft>
              <a:buClr>
                <a:srgbClr val="323476"/>
              </a:buClr>
              <a:buFont typeface="Wingdings" panose="05000000000000000000" pitchFamily="2" charset="2"/>
              <a:buChar char="§"/>
              <a:defRPr sz="2000">
                <a:latin typeface="+mn-lt"/>
              </a:defRPr>
            </a:lvl4pPr>
            <a:lvl5pPr marL="1295968" indent="-287993" algn="l">
              <a:lnSpc>
                <a:spcPct val="100000"/>
              </a:lnSpc>
              <a:spcBef>
                <a:spcPts val="1000"/>
              </a:spcBef>
              <a:spcAft>
                <a:spcPts val="1800"/>
              </a:spcAft>
              <a:buClr>
                <a:srgbClr val="323476"/>
              </a:buClr>
              <a:buFont typeface="Wingdings" panose="05000000000000000000" pitchFamily="2" charset="2"/>
              <a:buChar char="§"/>
              <a:defRPr sz="2000">
                <a:latin typeface="+mn-lt"/>
              </a:defRPr>
            </a:lvl5pPr>
            <a:lvl6pPr marL="2285943" indent="0">
              <a:buNone/>
              <a:defRPr/>
            </a:lvl6pPr>
            <a:lvl8pPr marL="1619960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8pPr>
            <a:lvl9pPr marL="1943951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9pPr>
          </a:lstStyle>
          <a:p>
            <a:pPr lvl="0"/>
            <a:r>
              <a:rPr lang="de-DE" dirty="0"/>
              <a:t>Punkt 1</a:t>
            </a:r>
          </a:p>
          <a:p>
            <a:pPr lvl="0"/>
            <a:r>
              <a:rPr lang="de-DE" dirty="0"/>
              <a:t>Punkt 2</a:t>
            </a:r>
          </a:p>
          <a:p>
            <a:pPr lvl="0"/>
            <a:r>
              <a:rPr lang="de-DE" dirty="0"/>
              <a:t>Punkt 3</a:t>
            </a:r>
          </a:p>
          <a:p>
            <a:pPr lvl="0"/>
            <a:r>
              <a:rPr lang="de-DE" dirty="0"/>
              <a:t>Punkt 4</a:t>
            </a:r>
          </a:p>
        </p:txBody>
      </p:sp>
    </p:spTree>
    <p:extLst>
      <p:ext uri="{BB962C8B-B14F-4D97-AF65-F5344CB8AC3E}">
        <p14:creationId xmlns:p14="http://schemas.microsoft.com/office/powerpoint/2010/main" val="23600278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Volle_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902" y="171450"/>
            <a:ext cx="9718769" cy="885826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rgbClr val="323476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1" name="Content Placeholder 2"/>
          <p:cNvSpPr>
            <a:spLocks noGrp="1" noChangeAspect="1"/>
          </p:cNvSpPr>
          <p:nvPr>
            <p:ph sz="half" idx="1"/>
          </p:nvPr>
        </p:nvSpPr>
        <p:spPr>
          <a:xfrm>
            <a:off x="615600" y="1268413"/>
            <a:ext cx="11129433" cy="504666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7984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976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5968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8pPr marL="1619960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8pPr>
            <a:lvl9pPr marL="1943951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619849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Halbe_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902" y="171450"/>
            <a:ext cx="9718769" cy="885826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rgbClr val="323476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614594" y="1268413"/>
            <a:ext cx="5280000" cy="504666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7984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976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5968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8pPr marL="1619960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8pPr>
            <a:lvl9pPr marL="1943951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/>
          </p:nvPr>
        </p:nvSpPr>
        <p:spPr>
          <a:xfrm>
            <a:off x="6297408" y="1268413"/>
            <a:ext cx="5280000" cy="504666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7984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976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5968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8pPr marL="1619960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8pPr>
            <a:lvl9pPr marL="1943951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62084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Drittel_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902" y="171450"/>
            <a:ext cx="9718769" cy="885826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rgbClr val="323476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615600" y="1268413"/>
            <a:ext cx="5280000" cy="504666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7984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976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5968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8pPr marL="1619960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8pPr>
            <a:lvl9pPr marL="1943951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6296400" y="1268413"/>
            <a:ext cx="5280000" cy="237966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7984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976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7975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None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8pPr marL="1619960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8pPr>
            <a:lvl9pPr marL="1943951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endParaRPr lang="de-DE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6296400" y="3935413"/>
            <a:ext cx="5280000" cy="237966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7984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976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5968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Rotis Sans Serif Std" panose="020B0503030202020304" pitchFamily="34" charset="0"/>
                <a:ea typeface="+mn-ea"/>
                <a:cs typeface="+mn-cs"/>
              </a:defRPr>
            </a:lvl5pPr>
            <a:lvl8pPr marL="1619960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8pPr>
            <a:lvl9pPr marL="1943951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6194625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Viertel_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902" y="171450"/>
            <a:ext cx="9718769" cy="885826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rgbClr val="323476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615600" y="1268413"/>
            <a:ext cx="5280000" cy="237966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7984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976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5968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Rotis Sans Serif Std" panose="020B0503030202020304" pitchFamily="34" charset="0"/>
                <a:ea typeface="+mn-ea"/>
                <a:cs typeface="+mn-cs"/>
              </a:defRPr>
            </a:lvl5pPr>
            <a:lvl8pPr marL="1619960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8pPr>
            <a:lvl9pPr marL="1943951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6296400" y="1268413"/>
            <a:ext cx="5280000" cy="237966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7984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976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5968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Arial" panose="020B0604020202020204" pitchFamily="34" charset="0"/>
              <a:buChar char="•"/>
              <a:defRPr sz="1400">
                <a:latin typeface="+mn-lt"/>
              </a:defRPr>
            </a:lvl5pPr>
            <a:lvl8pPr marL="1619960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8pPr>
            <a:lvl9pPr marL="1943951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5" hasCustomPrompt="1"/>
          </p:nvPr>
        </p:nvSpPr>
        <p:spPr>
          <a:xfrm>
            <a:off x="6296400" y="3935413"/>
            <a:ext cx="5280000" cy="237966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7984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976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5968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Arial" panose="020B0604020202020204" pitchFamily="34" charset="0"/>
              <a:buChar char="•"/>
              <a:defRPr sz="1400">
                <a:latin typeface="+mn-lt"/>
              </a:defRPr>
            </a:lvl5pPr>
            <a:lvl8pPr marL="1619960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8pPr>
            <a:lvl9pPr marL="1943951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615600" y="3935413"/>
            <a:ext cx="5280000" cy="237966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7984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976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5968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Arial" panose="020B0604020202020204" pitchFamily="34" charset="0"/>
              <a:buChar char="•"/>
              <a:defRPr sz="1400">
                <a:latin typeface="+mn-lt"/>
              </a:defRPr>
            </a:lvl5pPr>
            <a:lvl8pPr marL="1619960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8pPr>
            <a:lvl9pPr marL="1943951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63719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902" y="171450"/>
            <a:ext cx="9718769" cy="885826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rgbClr val="323476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2"/>
          </p:nvPr>
        </p:nvSpPr>
        <p:spPr>
          <a:xfrm>
            <a:off x="8326800" y="1268414"/>
            <a:ext cx="3454401" cy="5037136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7984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976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5968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8pPr marL="1619960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8pPr>
            <a:lvl9pPr marL="1943951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71200" y="1268414"/>
            <a:ext cx="3454401" cy="5037136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7984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976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5968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8pPr marL="1619960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8pPr>
            <a:lvl9pPr marL="1943951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614796" y="1268414"/>
            <a:ext cx="3454401" cy="5037136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7984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976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5968" indent="-28799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lang="de-DE" sz="20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8pPr marL="1619960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8pPr>
            <a:lvl9pPr marL="1943951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931601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_Drei_Seiten_Logo_Förde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902" y="171450"/>
            <a:ext cx="9718769" cy="885826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rgbClr val="323476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615600" y="1268413"/>
            <a:ext cx="5280000" cy="409098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lang="de-DE" sz="2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287993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sz="2000">
                <a:latin typeface="+mn-lt"/>
              </a:defRPr>
            </a:lvl2pPr>
            <a:lvl3pPr marL="647984" indent="-287993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sz="2000">
                <a:latin typeface="+mn-lt"/>
              </a:defRPr>
            </a:lvl3pPr>
            <a:lvl4pPr marL="971976" indent="-287993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sz="2000">
                <a:latin typeface="+mn-lt"/>
              </a:defRPr>
            </a:lvl4pPr>
            <a:lvl5pPr marL="1295968" indent="-287993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323476"/>
              </a:buClr>
              <a:buFont typeface="Arial" panose="020B0604020202020204" pitchFamily="34" charset="0"/>
              <a:buChar char="•"/>
              <a:defRPr sz="2000">
                <a:latin typeface="+mn-lt"/>
              </a:defRPr>
            </a:lvl5pPr>
            <a:lvl8pPr marL="1619960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8pPr>
            <a:lvl9pPr marL="1943951" indent="-287993">
              <a:lnSpc>
                <a:spcPct val="100000"/>
              </a:lnSpc>
              <a:spcBef>
                <a:spcPts val="0"/>
              </a:spcBef>
              <a:buClr>
                <a:srgbClr val="323476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B9BBCC1-5F44-4FAB-848F-EEB1722F8413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6296400" y="1268413"/>
            <a:ext cx="5281200" cy="2448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bbildung 1</a:t>
            </a:r>
          </a:p>
        </p:txBody>
      </p:sp>
      <p:sp>
        <p:nvSpPr>
          <p:cNvPr id="6" name="Bildplatzhalter 2">
            <a:extLst>
              <a:ext uri="{FF2B5EF4-FFF2-40B4-BE49-F238E27FC236}">
                <a16:creationId xmlns:a16="http://schemas.microsoft.com/office/drawing/2014/main" id="{6B17DF57-2C1F-4F1C-98E4-CFAD48B888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95200" y="3867075"/>
            <a:ext cx="5281200" cy="2448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bbildung 2</a:t>
            </a:r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21B37E86-FA22-4F6C-86C4-3DA120F058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5000" y="5589587"/>
            <a:ext cx="52812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Logos Förderer und Partner</a:t>
            </a:r>
          </a:p>
        </p:txBody>
      </p:sp>
    </p:spTree>
    <p:extLst>
      <p:ext uri="{BB962C8B-B14F-4D97-AF65-F5344CB8AC3E}">
        <p14:creationId xmlns:p14="http://schemas.microsoft.com/office/powerpoint/2010/main" val="34052142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5"/>
          <p:cNvSpPr txBox="1">
            <a:spLocks noChangeArrowheads="1"/>
          </p:cNvSpPr>
          <p:nvPr userDrawn="1"/>
        </p:nvSpPr>
        <p:spPr bwMode="auto">
          <a:xfrm>
            <a:off x="93495" y="6548206"/>
            <a:ext cx="4641304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B1C91F"/>
                </a:solidFill>
                <a:latin typeface="+mn-lt"/>
                <a:ea typeface="ＭＳ Ｐゴシック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 algn="l">
              <a:defRPr/>
            </a:pPr>
            <a:r>
              <a:rPr lang="de-DE" b="0" dirty="0">
                <a:solidFill>
                  <a:srgbClr val="323476"/>
                </a:solidFill>
                <a:latin typeface="Rotis Sans Serif Std" panose="020B0503030202020304" pitchFamily="34" charset="0"/>
              </a:rPr>
              <a:t>© </a:t>
            </a:r>
            <a:fld id="{0CF4243B-AF83-48BD-97A1-54E6A6DCE4F9}" type="datetimeyyyy">
              <a:rPr lang="de-DE" b="0" smtClean="0">
                <a:solidFill>
                  <a:srgbClr val="323476"/>
                </a:solidFill>
                <a:latin typeface="Rotis Sans Serif Std" panose="020B0503030202020304" pitchFamily="34" charset="0"/>
              </a:rPr>
              <a:t>2024</a:t>
            </a:fld>
            <a:r>
              <a:rPr lang="de-DE" b="0" dirty="0">
                <a:solidFill>
                  <a:srgbClr val="323476"/>
                </a:solidFill>
                <a:latin typeface="Rotis Sans Serif Std" panose="020B0503030202020304" pitchFamily="34" charset="0"/>
              </a:rPr>
              <a:t> IPeG Vaclav Kasal</a:t>
            </a:r>
            <a:endParaRPr lang="de-DE" b="0" dirty="0">
              <a:solidFill>
                <a:srgbClr val="FFFFFF"/>
              </a:solidFill>
              <a:latin typeface="Rotis Sans Serif Std" panose="020B0503030202020304" pitchFamily="34" charset="0"/>
            </a:endParaRPr>
          </a:p>
        </p:txBody>
      </p:sp>
      <p:sp>
        <p:nvSpPr>
          <p:cNvPr id="27" name="Rectangle 15"/>
          <p:cNvSpPr>
            <a:spLocks noChangeArrowheads="1"/>
          </p:cNvSpPr>
          <p:nvPr userDrawn="1"/>
        </p:nvSpPr>
        <p:spPr bwMode="auto">
          <a:xfrm>
            <a:off x="9468911" y="6534150"/>
            <a:ext cx="2523067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/>
            <a:fld id="{3487190C-C8DB-4049-B230-687AB28A0226}" type="slidenum">
              <a:rPr lang="de-DE" sz="1200" smtClean="0">
                <a:solidFill>
                  <a:srgbClr val="323476"/>
                </a:solidFill>
                <a:latin typeface="Rotis Sans Serif Std" panose="020B0503030202020304" pitchFamily="34" charset="0"/>
                <a:ea typeface="ＭＳ Ｐゴシック" pitchFamily="34" charset="-128"/>
              </a:rPr>
              <a:pPr algn="r"/>
              <a:t>‹#›</a:t>
            </a:fld>
            <a:endParaRPr lang="de-DE" sz="1200" dirty="0">
              <a:solidFill>
                <a:srgbClr val="323476"/>
              </a:solidFill>
              <a:latin typeface="Rotis Sans Serif Std" panose="020B0503030202020304" pitchFamily="34" charset="0"/>
              <a:ea typeface="ＭＳ Ｐゴシック" pitchFamily="34" charset="-128"/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10400467" y="6457950"/>
            <a:ext cx="1464511" cy="66675"/>
          </a:xfrm>
          <a:prstGeom prst="rect">
            <a:avLst/>
          </a:prstGeom>
          <a:solidFill>
            <a:srgbClr val="32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3622283" y="6541178"/>
            <a:ext cx="4947434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rgbClr val="B1C91F"/>
                </a:solidFill>
                <a:latin typeface="+mn-lt"/>
                <a:ea typeface="ＭＳ Ｐゴシック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en-GB" sz="1200" b="0" noProof="0" dirty="0">
                <a:solidFill>
                  <a:srgbClr val="323476"/>
                </a:solidFill>
                <a:latin typeface="Rotis Sans Serif Std" panose="020B0503030202020304" pitchFamily="34" charset="0"/>
              </a:rPr>
              <a:t>Calculation of geometric values for shape and load sensing from CAD models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4124" y="221383"/>
            <a:ext cx="1136342" cy="332969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2DA9ADB8-1B2A-4FBC-867F-BBFD959D56F1}"/>
              </a:ext>
            </a:extLst>
          </p:cNvPr>
          <p:cNvSpPr/>
          <p:nvPr userDrawn="1"/>
        </p:nvSpPr>
        <p:spPr>
          <a:xfrm>
            <a:off x="0" y="6454861"/>
            <a:ext cx="12192000" cy="93345"/>
          </a:xfrm>
          <a:prstGeom prst="rect">
            <a:avLst/>
          </a:prstGeom>
          <a:solidFill>
            <a:srgbClr val="AB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0048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9" r:id="rId2"/>
    <p:sldLayoutId id="2147483666" r:id="rId3"/>
    <p:sldLayoutId id="2147483677" r:id="rId4"/>
    <p:sldLayoutId id="2147483669" r:id="rId5"/>
    <p:sldLayoutId id="2147483670" r:id="rId6"/>
    <p:sldLayoutId id="2147483671" r:id="rId7"/>
    <p:sldLayoutId id="2147483672" r:id="rId8"/>
    <p:sldLayoutId id="2147483681" r:id="rId9"/>
    <p:sldLayoutId id="2147483676" r:id="rId10"/>
    <p:sldLayoutId id="2147483678" r:id="rId11"/>
    <p:sldLayoutId id="2147483680" r:id="rId12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bg1">
              <a:lumMod val="75000"/>
            </a:schemeClr>
          </a:solidFill>
          <a:latin typeface="Arial Narrow" panose="020B0606020202030204" pitchFamily="34" charset="0"/>
          <a:ea typeface="+mn-ea"/>
          <a:cs typeface="+mn-cs"/>
        </a:defRPr>
      </a:lvl1pPr>
      <a:lvl2pPr marL="457189" indent="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914377" indent="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371566" indent="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1828754" indent="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doi.org/10.3390/aerospace9090509" TargetMode="External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95D339A-EE3B-4FA8-9BD3-3FD90C1966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Calculation of geometric values for shape and load sensing  from CAD model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53788B8-A75A-41B6-8DDF-B3A1013F463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0317"/>
          <a:stretch/>
        </p:blipFill>
        <p:spPr>
          <a:xfrm>
            <a:off x="-2933129" y="0"/>
            <a:ext cx="714293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8768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E36340-85AB-4A9B-881D-1B23E0CC5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 and future wor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AFD883-E4C4-4C03-8731-128208B5E8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05439" y="3954460"/>
            <a:ext cx="3690929" cy="1887742"/>
          </a:xfrm>
        </p:spPr>
        <p:txBody>
          <a:bodyPr/>
          <a:lstStyle/>
          <a:p>
            <a:r>
              <a:rPr lang="en-GB" sz="1600" dirty="0"/>
              <a:t>Surprisingly fast</a:t>
            </a:r>
          </a:p>
          <a:p>
            <a:r>
              <a:rPr lang="en-GB" dirty="0"/>
              <a:t>Very few input limitations</a:t>
            </a:r>
          </a:p>
          <a:p>
            <a:r>
              <a:rPr lang="en-GB" dirty="0"/>
              <a:t>Pretty accurate</a:t>
            </a:r>
          </a:p>
          <a:p>
            <a:r>
              <a:rPr lang="en-GB" dirty="0"/>
              <a:t>Never able to calculate completely correctly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9D0F430-A7D8-6AAE-41AB-74A2AEC3C5DD}"/>
              </a:ext>
            </a:extLst>
          </p:cNvPr>
          <p:cNvGrpSpPr/>
          <p:nvPr/>
        </p:nvGrpSpPr>
        <p:grpSpPr>
          <a:xfrm>
            <a:off x="5075286" y="1284359"/>
            <a:ext cx="2711309" cy="1730791"/>
            <a:chOff x="336692" y="2111396"/>
            <a:chExt cx="2711309" cy="1730791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C0FCA5D1-C075-C8B3-E364-B03E5D36C589}"/>
                </a:ext>
              </a:extLst>
            </p:cNvPr>
            <p:cNvGrpSpPr/>
            <p:nvPr/>
          </p:nvGrpSpPr>
          <p:grpSpPr>
            <a:xfrm>
              <a:off x="1697149" y="2111396"/>
              <a:ext cx="1350852" cy="862861"/>
              <a:chOff x="2644877" y="1243782"/>
              <a:chExt cx="6823588" cy="4370436"/>
            </a:xfrm>
          </p:grpSpPr>
          <p:sp>
            <p:nvSpPr>
              <p:cNvPr id="84" name="L-Shape 83">
                <a:extLst>
                  <a:ext uri="{FF2B5EF4-FFF2-40B4-BE49-F238E27FC236}">
                    <a16:creationId xmlns:a16="http://schemas.microsoft.com/office/drawing/2014/main" id="{6C6F1CAE-FA28-652C-2724-B8EDBEC9978F}"/>
                  </a:ext>
                </a:extLst>
              </p:cNvPr>
              <p:cNvSpPr/>
              <p:nvPr/>
            </p:nvSpPr>
            <p:spPr>
              <a:xfrm flipH="1" flipV="1">
                <a:off x="2644877" y="1779639"/>
                <a:ext cx="6213987" cy="3834579"/>
              </a:xfrm>
              <a:prstGeom prst="corner">
                <a:avLst>
                  <a:gd name="adj1" fmla="val 19231"/>
                  <a:gd name="adj2" fmla="val 20769"/>
                </a:avLst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E93241CD-668D-F723-A99B-66F728A5CB0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268361"/>
                <a:ext cx="422788" cy="4345857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E0BD8EB-A77B-9B3A-CB78-A0A374F5169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35510"/>
                <a:ext cx="1730478" cy="4178708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FD884A9-8CC0-4E81-0515-424BF23B4CD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995948"/>
                <a:ext cx="6823588" cy="3593691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4367D15-216C-0D4C-24C4-23992EA3FEE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3087329"/>
                <a:ext cx="6744929" cy="2502310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2B811138-4481-C754-DE9F-60A64A1D8FB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4719484"/>
                <a:ext cx="6823588" cy="870155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37CC9598-FA35-9E76-40B9-77B09350E09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01405"/>
                <a:ext cx="6213987" cy="4188234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819D53B6-B7DA-5038-A90D-48F68DF5BB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243782"/>
                <a:ext cx="4916129" cy="4345857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6BCA960-4065-DF0B-1F4F-533C32853C3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35510"/>
                <a:ext cx="3372464" cy="4154129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31E307B1-FAB7-10A7-60CD-C4A2A33FFB1A}"/>
                  </a:ext>
                </a:extLst>
              </p:cNvPr>
              <p:cNvSpPr/>
              <p:nvPr/>
            </p:nvSpPr>
            <p:spPr>
              <a:xfrm>
                <a:off x="6041311" y="245849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DD907443-B2D5-F041-4624-4FF9B528F732}"/>
                  </a:ext>
                </a:extLst>
              </p:cNvPr>
              <p:cNvSpPr/>
              <p:nvPr/>
            </p:nvSpPr>
            <p:spPr>
              <a:xfrm>
                <a:off x="7138591" y="245849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1F5A06BC-F93E-1841-0796-8557CAEECA9E}"/>
                  </a:ext>
                </a:extLst>
              </p:cNvPr>
              <p:cNvSpPr/>
              <p:nvPr/>
            </p:nvSpPr>
            <p:spPr>
              <a:xfrm>
                <a:off x="7988281" y="2677662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CF70F69-72EF-9D92-47B9-D10469441BCD}"/>
                  </a:ext>
                </a:extLst>
              </p:cNvPr>
              <p:cNvSpPr/>
              <p:nvPr/>
            </p:nvSpPr>
            <p:spPr>
              <a:xfrm>
                <a:off x="7988281" y="3524864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639CE319-0040-31A6-AEE9-91A7010FCB5F}"/>
                  </a:ext>
                </a:extLst>
              </p:cNvPr>
              <p:cNvSpPr/>
              <p:nvPr/>
            </p:nvSpPr>
            <p:spPr>
              <a:xfrm>
                <a:off x="7988281" y="4845029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2CC86C52-888C-4AD6-FD2A-D1563B9DBDF5}"/>
                  </a:ext>
                </a:extLst>
              </p:cNvPr>
              <p:cNvSpPr/>
              <p:nvPr/>
            </p:nvSpPr>
            <p:spPr>
              <a:xfrm>
                <a:off x="6902985" y="1719201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91A5773B-63E2-9CB2-47A2-468D4087CA55}"/>
                  </a:ext>
                </a:extLst>
              </p:cNvPr>
              <p:cNvSpPr/>
              <p:nvPr/>
            </p:nvSpPr>
            <p:spPr>
              <a:xfrm>
                <a:off x="8236300" y="1719201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CDECA657-2236-C321-E031-A294B0F06532}"/>
                  </a:ext>
                </a:extLst>
              </p:cNvPr>
              <p:cNvSpPr/>
              <p:nvPr/>
            </p:nvSpPr>
            <p:spPr>
              <a:xfrm>
                <a:off x="8792189" y="2269746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7A086804-4222-1020-E956-F630A9060483}"/>
                  </a:ext>
                </a:extLst>
              </p:cNvPr>
              <p:cNvSpPr/>
              <p:nvPr/>
            </p:nvSpPr>
            <p:spPr>
              <a:xfrm>
                <a:off x="8792189" y="3231372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0F7989CE-88AE-CFCE-F8CA-C9EB9845B4DE}"/>
                  </a:ext>
                </a:extLst>
              </p:cNvPr>
              <p:cNvSpPr/>
              <p:nvPr/>
            </p:nvSpPr>
            <p:spPr>
              <a:xfrm>
                <a:off x="8804174" y="4732634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3" name="Isosceles Triangle 102">
                <a:extLst>
                  <a:ext uri="{FF2B5EF4-FFF2-40B4-BE49-F238E27FC236}">
                    <a16:creationId xmlns:a16="http://schemas.microsoft.com/office/drawing/2014/main" id="{9E3B96A1-EEB9-727C-DFE8-E65237E5FD4A}"/>
                  </a:ext>
                </a:extLst>
              </p:cNvPr>
              <p:cNvSpPr/>
              <p:nvPr/>
            </p:nvSpPr>
            <p:spPr>
              <a:xfrm>
                <a:off x="2946300" y="1767685"/>
                <a:ext cx="972920" cy="761541"/>
              </a:xfrm>
              <a:prstGeom prst="triangle">
                <a:avLst>
                  <a:gd name="adj" fmla="val 7446"/>
                </a:avLst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Isosceles Triangle 103">
                <a:extLst>
                  <a:ext uri="{FF2B5EF4-FFF2-40B4-BE49-F238E27FC236}">
                    <a16:creationId xmlns:a16="http://schemas.microsoft.com/office/drawing/2014/main" id="{BF812589-C66C-E863-DBC0-06525EDF6E73}"/>
                  </a:ext>
                </a:extLst>
              </p:cNvPr>
              <p:cNvSpPr/>
              <p:nvPr/>
            </p:nvSpPr>
            <p:spPr>
              <a:xfrm flipV="1">
                <a:off x="3018054" y="1770220"/>
                <a:ext cx="1223745" cy="770959"/>
              </a:xfrm>
              <a:prstGeom prst="triangle">
                <a:avLst>
                  <a:gd name="adj" fmla="val 74073"/>
                </a:avLst>
              </a:prstGeom>
              <a:solidFill>
                <a:schemeClr val="accent5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036F9BE1-3CE4-BD4D-5DE3-2F11A90A696E}"/>
                  </a:ext>
                </a:extLst>
              </p:cNvPr>
              <p:cNvSpPr/>
              <p:nvPr/>
            </p:nvSpPr>
            <p:spPr>
              <a:xfrm>
                <a:off x="2946300" y="1711643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94E2D022-39FC-526B-A640-0958CDCA8A91}"/>
                  </a:ext>
                </a:extLst>
              </p:cNvPr>
              <p:cNvSpPr/>
              <p:nvPr/>
            </p:nvSpPr>
            <p:spPr>
              <a:xfrm>
                <a:off x="2872740" y="2462735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Isosceles Triangle 106">
                <a:extLst>
                  <a:ext uri="{FF2B5EF4-FFF2-40B4-BE49-F238E27FC236}">
                    <a16:creationId xmlns:a16="http://schemas.microsoft.com/office/drawing/2014/main" id="{CDE0F033-2732-31B8-7787-3B0866484820}"/>
                  </a:ext>
                </a:extLst>
              </p:cNvPr>
              <p:cNvSpPr/>
              <p:nvPr/>
            </p:nvSpPr>
            <p:spPr>
              <a:xfrm>
                <a:off x="3944407" y="1760554"/>
                <a:ext cx="1193752" cy="761541"/>
              </a:xfrm>
              <a:prstGeom prst="triangle">
                <a:avLst>
                  <a:gd name="adj" fmla="val 25319"/>
                </a:avLst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17D37E05-7F9A-11C3-2376-5263A2CCF0D4}"/>
                  </a:ext>
                </a:extLst>
              </p:cNvPr>
              <p:cNvSpPr/>
              <p:nvPr/>
            </p:nvSpPr>
            <p:spPr>
              <a:xfrm>
                <a:off x="3857625" y="2462736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Isosceles Triangle 108">
                <a:extLst>
                  <a:ext uri="{FF2B5EF4-FFF2-40B4-BE49-F238E27FC236}">
                    <a16:creationId xmlns:a16="http://schemas.microsoft.com/office/drawing/2014/main" id="{9B2C7895-6739-F6F6-21E1-6597D0A4BCE3}"/>
                  </a:ext>
                </a:extLst>
              </p:cNvPr>
              <p:cNvSpPr/>
              <p:nvPr/>
            </p:nvSpPr>
            <p:spPr>
              <a:xfrm flipV="1">
                <a:off x="4243859" y="1777100"/>
                <a:ext cx="1488921" cy="761543"/>
              </a:xfrm>
              <a:prstGeom prst="triangle">
                <a:avLst>
                  <a:gd name="adj" fmla="val 59573"/>
                </a:avLst>
              </a:prstGeom>
              <a:solidFill>
                <a:schemeClr val="accent5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124ADFD0-2995-83BE-5C75-3DB6C41139B7}"/>
                  </a:ext>
                </a:extLst>
              </p:cNvPr>
              <p:cNvSpPr/>
              <p:nvPr/>
            </p:nvSpPr>
            <p:spPr>
              <a:xfrm>
                <a:off x="5662830" y="171778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28389084-4013-FB6A-2442-CC1D2DCFAABA}"/>
                  </a:ext>
                </a:extLst>
              </p:cNvPr>
              <p:cNvSpPr/>
              <p:nvPr/>
            </p:nvSpPr>
            <p:spPr>
              <a:xfrm>
                <a:off x="5062998" y="2462735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31A3BA77-E51B-45EE-078B-D7B92A40E4EC}"/>
                  </a:ext>
                </a:extLst>
              </p:cNvPr>
              <p:cNvSpPr/>
              <p:nvPr/>
            </p:nvSpPr>
            <p:spPr>
              <a:xfrm>
                <a:off x="4163595" y="1711488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3" name="Isosceles Triangle 112">
                <a:extLst>
                  <a:ext uri="{FF2B5EF4-FFF2-40B4-BE49-F238E27FC236}">
                    <a16:creationId xmlns:a16="http://schemas.microsoft.com/office/drawing/2014/main" id="{410B6366-1C2A-E435-80A4-EDBFC5C22CEE}"/>
                  </a:ext>
                </a:extLst>
              </p:cNvPr>
              <p:cNvSpPr/>
              <p:nvPr/>
            </p:nvSpPr>
            <p:spPr>
              <a:xfrm>
                <a:off x="5131670" y="1758730"/>
                <a:ext cx="987190" cy="770245"/>
              </a:xfrm>
              <a:prstGeom prst="triangle">
                <a:avLst>
                  <a:gd name="adj" fmla="val 63913"/>
                </a:avLst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0652D51D-F4A1-F35E-C51A-D88FAA3C8787}"/>
                </a:ext>
              </a:extLst>
            </p:cNvPr>
            <p:cNvGrpSpPr/>
            <p:nvPr/>
          </p:nvGrpSpPr>
          <p:grpSpPr>
            <a:xfrm rot="10800000">
              <a:off x="337897" y="2979326"/>
              <a:ext cx="1350852" cy="862861"/>
              <a:chOff x="2644877" y="1243782"/>
              <a:chExt cx="6823588" cy="4370436"/>
            </a:xfrm>
          </p:grpSpPr>
          <p:sp>
            <p:nvSpPr>
              <p:cNvPr id="59" name="L-Shape 58">
                <a:extLst>
                  <a:ext uri="{FF2B5EF4-FFF2-40B4-BE49-F238E27FC236}">
                    <a16:creationId xmlns:a16="http://schemas.microsoft.com/office/drawing/2014/main" id="{D81E77B4-D518-E159-4FB7-6BB4C187D107}"/>
                  </a:ext>
                </a:extLst>
              </p:cNvPr>
              <p:cNvSpPr/>
              <p:nvPr/>
            </p:nvSpPr>
            <p:spPr>
              <a:xfrm flipH="1" flipV="1">
                <a:off x="2644877" y="1779639"/>
                <a:ext cx="6213987" cy="3834579"/>
              </a:xfrm>
              <a:prstGeom prst="corner">
                <a:avLst>
                  <a:gd name="adj1" fmla="val 19231"/>
                  <a:gd name="adj2" fmla="val 20769"/>
                </a:avLst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8C3B7341-43B7-34C6-6A68-F11B8062A0D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268361"/>
                <a:ext cx="422788" cy="4345857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333F317C-D720-8172-FC36-049FA63237B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35510"/>
                <a:ext cx="1730478" cy="4178708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F31AB238-D919-1EB7-E69A-E05718E34D8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995948"/>
                <a:ext cx="6823588" cy="3593691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C4CFAAF1-54F5-3162-393B-D9AFC9539F3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3087329"/>
                <a:ext cx="6744929" cy="2502310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5F8717F7-8D59-93B0-C4F8-C478ED70FE0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4719484"/>
                <a:ext cx="6823588" cy="870155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0EB5050B-30C2-B5FD-F078-6DC0B023831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01405"/>
                <a:ext cx="6213987" cy="4188234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03B4FF6E-E0BC-A08E-BD81-6D62BEAD3CB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243782"/>
                <a:ext cx="4916129" cy="4345857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B56BCDCC-453A-3382-E1FD-53716C8FBD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35510"/>
                <a:ext cx="3372464" cy="4154129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B52F8524-0861-72E4-3D47-2A2421B01485}"/>
                  </a:ext>
                </a:extLst>
              </p:cNvPr>
              <p:cNvSpPr/>
              <p:nvPr/>
            </p:nvSpPr>
            <p:spPr>
              <a:xfrm>
                <a:off x="6041311" y="245849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0EB5914D-EF11-A771-A032-6877C4958D78}"/>
                  </a:ext>
                </a:extLst>
              </p:cNvPr>
              <p:cNvSpPr/>
              <p:nvPr/>
            </p:nvSpPr>
            <p:spPr>
              <a:xfrm>
                <a:off x="7138591" y="245849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D3A2505B-2B38-14D2-4ECC-90970678369C}"/>
                  </a:ext>
                </a:extLst>
              </p:cNvPr>
              <p:cNvSpPr/>
              <p:nvPr/>
            </p:nvSpPr>
            <p:spPr>
              <a:xfrm>
                <a:off x="7988281" y="2677662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6084B3C3-5B3E-1683-800F-74C77DE4F639}"/>
                  </a:ext>
                </a:extLst>
              </p:cNvPr>
              <p:cNvSpPr/>
              <p:nvPr/>
            </p:nvSpPr>
            <p:spPr>
              <a:xfrm>
                <a:off x="7988281" y="3524864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F94AD0F8-A29E-1B15-503A-B078414E2083}"/>
                  </a:ext>
                </a:extLst>
              </p:cNvPr>
              <p:cNvSpPr/>
              <p:nvPr/>
            </p:nvSpPr>
            <p:spPr>
              <a:xfrm>
                <a:off x="7988281" y="4845029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C25DCDCA-4389-810D-6E74-D9F0F5B4D5CC}"/>
                  </a:ext>
                </a:extLst>
              </p:cNvPr>
              <p:cNvSpPr/>
              <p:nvPr/>
            </p:nvSpPr>
            <p:spPr>
              <a:xfrm>
                <a:off x="6902985" y="1719201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9662EFC6-24A4-5D3E-7F25-DD8AE174B517}"/>
                  </a:ext>
                </a:extLst>
              </p:cNvPr>
              <p:cNvSpPr/>
              <p:nvPr/>
            </p:nvSpPr>
            <p:spPr>
              <a:xfrm>
                <a:off x="8236300" y="1719201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EEBF6775-7557-26FE-BBF5-86A7A02E0B9F}"/>
                  </a:ext>
                </a:extLst>
              </p:cNvPr>
              <p:cNvSpPr/>
              <p:nvPr/>
            </p:nvSpPr>
            <p:spPr>
              <a:xfrm>
                <a:off x="8792189" y="2269746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8DFE5543-DF85-4D97-DB3A-C78E1DF6246B}"/>
                  </a:ext>
                </a:extLst>
              </p:cNvPr>
              <p:cNvSpPr/>
              <p:nvPr/>
            </p:nvSpPr>
            <p:spPr>
              <a:xfrm>
                <a:off x="8792189" y="3231372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D0349CAD-949F-09F7-0586-D86BFE01ABD3}"/>
                  </a:ext>
                </a:extLst>
              </p:cNvPr>
              <p:cNvSpPr/>
              <p:nvPr/>
            </p:nvSpPr>
            <p:spPr>
              <a:xfrm>
                <a:off x="8804174" y="4732634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47E617DF-3545-D828-532B-5BED3039A80F}"/>
                  </a:ext>
                </a:extLst>
              </p:cNvPr>
              <p:cNvSpPr/>
              <p:nvPr/>
            </p:nvSpPr>
            <p:spPr>
              <a:xfrm>
                <a:off x="2946300" y="1711643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CA129572-41D3-BB2A-572A-A59D9DF974CC}"/>
                  </a:ext>
                </a:extLst>
              </p:cNvPr>
              <p:cNvSpPr/>
              <p:nvPr/>
            </p:nvSpPr>
            <p:spPr>
              <a:xfrm>
                <a:off x="2872740" y="2462735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17A9D82D-CEF0-E826-5F94-48A7A5E3C746}"/>
                  </a:ext>
                </a:extLst>
              </p:cNvPr>
              <p:cNvSpPr/>
              <p:nvPr/>
            </p:nvSpPr>
            <p:spPr>
              <a:xfrm>
                <a:off x="3857625" y="2462736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78813850-1402-6370-BCD0-E32AEBF99818}"/>
                  </a:ext>
                </a:extLst>
              </p:cNvPr>
              <p:cNvSpPr/>
              <p:nvPr/>
            </p:nvSpPr>
            <p:spPr>
              <a:xfrm>
                <a:off x="5662830" y="171778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8031231E-232E-889C-D3B9-35134CC96531}"/>
                  </a:ext>
                </a:extLst>
              </p:cNvPr>
              <p:cNvSpPr/>
              <p:nvPr/>
            </p:nvSpPr>
            <p:spPr>
              <a:xfrm>
                <a:off x="5062998" y="2462735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5988892-0BDE-90D2-1CAC-FC7CD4BE659A}"/>
                  </a:ext>
                </a:extLst>
              </p:cNvPr>
              <p:cNvSpPr/>
              <p:nvPr/>
            </p:nvSpPr>
            <p:spPr>
              <a:xfrm>
                <a:off x="4163595" y="1711488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49D5BFC-C587-5A4D-5437-24170A010D36}"/>
                </a:ext>
              </a:extLst>
            </p:cNvPr>
            <p:cNvGrpSpPr/>
            <p:nvPr/>
          </p:nvGrpSpPr>
          <p:grpSpPr>
            <a:xfrm flipV="1">
              <a:off x="1692797" y="2971490"/>
              <a:ext cx="1350852" cy="865844"/>
              <a:chOff x="2644877" y="1243782"/>
              <a:chExt cx="6823588" cy="4370436"/>
            </a:xfrm>
          </p:grpSpPr>
          <p:sp>
            <p:nvSpPr>
              <p:cNvPr id="34" name="L-Shape 33">
                <a:extLst>
                  <a:ext uri="{FF2B5EF4-FFF2-40B4-BE49-F238E27FC236}">
                    <a16:creationId xmlns:a16="http://schemas.microsoft.com/office/drawing/2014/main" id="{FA47D405-5E1F-AF7D-7F4A-886A2B719466}"/>
                  </a:ext>
                </a:extLst>
              </p:cNvPr>
              <p:cNvSpPr/>
              <p:nvPr/>
            </p:nvSpPr>
            <p:spPr>
              <a:xfrm flipH="1" flipV="1">
                <a:off x="2644877" y="1779639"/>
                <a:ext cx="6213987" cy="3834579"/>
              </a:xfrm>
              <a:prstGeom prst="corner">
                <a:avLst>
                  <a:gd name="adj1" fmla="val 19231"/>
                  <a:gd name="adj2" fmla="val 20769"/>
                </a:avLst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8F868085-76FD-0D34-8B0E-32418D519E2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268361"/>
                <a:ext cx="422788" cy="4345857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4F80C5CD-613F-1EAA-AF69-7D654CB692F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35510"/>
                <a:ext cx="1730478" cy="4178708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E466E844-C61B-94C4-C58A-E87CFF6A63C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995948"/>
                <a:ext cx="6823588" cy="3593691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DC83AAFD-86E4-3693-9EF8-8EDB15A374E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3087329"/>
                <a:ext cx="6744929" cy="2502310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73F264B8-C236-18BA-C5CC-254DFA3C6C3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4719484"/>
                <a:ext cx="6823588" cy="870155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145DCCD6-A062-1BBB-C495-FF6328A53F4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01405"/>
                <a:ext cx="6213987" cy="4188234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DFB3B877-94F0-B754-E112-0181E12884A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243782"/>
                <a:ext cx="4916129" cy="4345857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DEB5E844-83E1-5D0B-6EA3-4CEBE280E80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35510"/>
                <a:ext cx="3372464" cy="4154129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33DA3F0C-C2FC-619B-4B27-69EC1B4A590B}"/>
                  </a:ext>
                </a:extLst>
              </p:cNvPr>
              <p:cNvSpPr/>
              <p:nvPr/>
            </p:nvSpPr>
            <p:spPr>
              <a:xfrm>
                <a:off x="6041311" y="245849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95E3EB3A-6C8B-296B-BEA9-8D799F2FF34A}"/>
                  </a:ext>
                </a:extLst>
              </p:cNvPr>
              <p:cNvSpPr/>
              <p:nvPr/>
            </p:nvSpPr>
            <p:spPr>
              <a:xfrm>
                <a:off x="7138591" y="245849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D081040C-D13B-7C34-6ACD-B953A89AEC57}"/>
                  </a:ext>
                </a:extLst>
              </p:cNvPr>
              <p:cNvSpPr/>
              <p:nvPr/>
            </p:nvSpPr>
            <p:spPr>
              <a:xfrm>
                <a:off x="7988281" y="2677662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8B3E9B1B-6732-7BBD-78E3-5491C36A7BA9}"/>
                  </a:ext>
                </a:extLst>
              </p:cNvPr>
              <p:cNvSpPr/>
              <p:nvPr/>
            </p:nvSpPr>
            <p:spPr>
              <a:xfrm>
                <a:off x="7988281" y="3524864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9D51718A-7489-0320-AFDB-0DD7CB947420}"/>
                  </a:ext>
                </a:extLst>
              </p:cNvPr>
              <p:cNvSpPr/>
              <p:nvPr/>
            </p:nvSpPr>
            <p:spPr>
              <a:xfrm>
                <a:off x="7988281" y="4845029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ACF053A9-C47F-500C-C2C5-A3A1EF327622}"/>
                  </a:ext>
                </a:extLst>
              </p:cNvPr>
              <p:cNvSpPr/>
              <p:nvPr/>
            </p:nvSpPr>
            <p:spPr>
              <a:xfrm>
                <a:off x="6902985" y="1719201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812C6488-7141-BEB5-83A2-05B20482BA08}"/>
                  </a:ext>
                </a:extLst>
              </p:cNvPr>
              <p:cNvSpPr/>
              <p:nvPr/>
            </p:nvSpPr>
            <p:spPr>
              <a:xfrm>
                <a:off x="8236300" y="1719201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CF92D488-6DCD-B232-718E-0A4DA459584B}"/>
                  </a:ext>
                </a:extLst>
              </p:cNvPr>
              <p:cNvSpPr/>
              <p:nvPr/>
            </p:nvSpPr>
            <p:spPr>
              <a:xfrm>
                <a:off x="8792189" y="2269746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32CC8554-AE99-3802-62CC-1FE4BEEEDE1D}"/>
                  </a:ext>
                </a:extLst>
              </p:cNvPr>
              <p:cNvSpPr/>
              <p:nvPr/>
            </p:nvSpPr>
            <p:spPr>
              <a:xfrm>
                <a:off x="8792189" y="3231372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8EA9673C-A3E5-A4BF-2DBA-7B3E25E6883D}"/>
                  </a:ext>
                </a:extLst>
              </p:cNvPr>
              <p:cNvSpPr/>
              <p:nvPr/>
            </p:nvSpPr>
            <p:spPr>
              <a:xfrm>
                <a:off x="8804174" y="4732634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D489862B-4B84-7A84-6BDB-E38DB49C0A6D}"/>
                  </a:ext>
                </a:extLst>
              </p:cNvPr>
              <p:cNvSpPr/>
              <p:nvPr/>
            </p:nvSpPr>
            <p:spPr>
              <a:xfrm>
                <a:off x="2946300" y="1711643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E12F34AA-10A8-3E6C-5C02-FB8F1A1D776A}"/>
                  </a:ext>
                </a:extLst>
              </p:cNvPr>
              <p:cNvSpPr/>
              <p:nvPr/>
            </p:nvSpPr>
            <p:spPr>
              <a:xfrm>
                <a:off x="2872740" y="2462735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05B5D124-A536-E96D-C3BA-002A8764E783}"/>
                  </a:ext>
                </a:extLst>
              </p:cNvPr>
              <p:cNvSpPr/>
              <p:nvPr/>
            </p:nvSpPr>
            <p:spPr>
              <a:xfrm>
                <a:off x="3857625" y="2462736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E919BB7A-E61C-883B-AB61-4B66931C3577}"/>
                  </a:ext>
                </a:extLst>
              </p:cNvPr>
              <p:cNvSpPr/>
              <p:nvPr/>
            </p:nvSpPr>
            <p:spPr>
              <a:xfrm>
                <a:off x="5662830" y="171778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7291E817-6954-CF36-38DE-34678773EDAE}"/>
                  </a:ext>
                </a:extLst>
              </p:cNvPr>
              <p:cNvSpPr/>
              <p:nvPr/>
            </p:nvSpPr>
            <p:spPr>
              <a:xfrm>
                <a:off x="5062998" y="2462735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979C39E9-D61D-2378-A5C0-0C3F2C359C3A}"/>
                  </a:ext>
                </a:extLst>
              </p:cNvPr>
              <p:cNvSpPr/>
              <p:nvPr/>
            </p:nvSpPr>
            <p:spPr>
              <a:xfrm>
                <a:off x="4163595" y="1711488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A02293F-2108-33A9-F1C8-DE1EBD8E2989}"/>
                </a:ext>
              </a:extLst>
            </p:cNvPr>
            <p:cNvGrpSpPr/>
            <p:nvPr/>
          </p:nvGrpSpPr>
          <p:grpSpPr>
            <a:xfrm rot="10800000" flipV="1">
              <a:off x="336692" y="2114094"/>
              <a:ext cx="1350852" cy="865844"/>
              <a:chOff x="2644877" y="1243782"/>
              <a:chExt cx="6823588" cy="4370436"/>
            </a:xfrm>
          </p:grpSpPr>
          <p:sp>
            <p:nvSpPr>
              <p:cNvPr id="9" name="L-Shape 8">
                <a:extLst>
                  <a:ext uri="{FF2B5EF4-FFF2-40B4-BE49-F238E27FC236}">
                    <a16:creationId xmlns:a16="http://schemas.microsoft.com/office/drawing/2014/main" id="{ABA8B7A4-BBBD-1194-6F28-D5B5814AAA44}"/>
                  </a:ext>
                </a:extLst>
              </p:cNvPr>
              <p:cNvSpPr/>
              <p:nvPr/>
            </p:nvSpPr>
            <p:spPr>
              <a:xfrm flipH="1" flipV="1">
                <a:off x="2644877" y="1779639"/>
                <a:ext cx="6213987" cy="3834579"/>
              </a:xfrm>
              <a:prstGeom prst="corner">
                <a:avLst>
                  <a:gd name="adj1" fmla="val 19231"/>
                  <a:gd name="adj2" fmla="val 20769"/>
                </a:avLst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F57B8DA3-DC2C-2BD4-7E0D-BBECC587441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268361"/>
                <a:ext cx="422788" cy="4345857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54E2E432-0E7E-677D-9BBC-DF404691C9B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35510"/>
                <a:ext cx="1730478" cy="4178708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BD488B2F-BE33-189E-E79D-12D923FB654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995948"/>
                <a:ext cx="6823588" cy="3593691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9B1719B5-2591-8399-73EF-22C8693EE7F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3087329"/>
                <a:ext cx="6744929" cy="2502310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6504BC02-7364-251D-737B-379CB7642E2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4719484"/>
                <a:ext cx="6823588" cy="870155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1AD3E4CB-5F8E-9477-9BB8-F61C9782C37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01405"/>
                <a:ext cx="6213987" cy="4188234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05833980-08DA-655B-EB32-2D5EF65E33D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243782"/>
                <a:ext cx="4916129" cy="4345857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1F0EF0A2-AD45-B4B5-7607-635A3ED1F5A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35510"/>
                <a:ext cx="3372464" cy="4154129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314C0114-3EEA-0961-5786-F1C16F086BAE}"/>
                  </a:ext>
                </a:extLst>
              </p:cNvPr>
              <p:cNvSpPr/>
              <p:nvPr/>
            </p:nvSpPr>
            <p:spPr>
              <a:xfrm>
                <a:off x="6041311" y="245849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945B9C08-8720-AA48-E01B-E4DE8E51A7FB}"/>
                  </a:ext>
                </a:extLst>
              </p:cNvPr>
              <p:cNvSpPr/>
              <p:nvPr/>
            </p:nvSpPr>
            <p:spPr>
              <a:xfrm>
                <a:off x="7138591" y="245849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62955D70-C6B8-EBF3-A201-0312EC2BCF4F}"/>
                  </a:ext>
                </a:extLst>
              </p:cNvPr>
              <p:cNvSpPr/>
              <p:nvPr/>
            </p:nvSpPr>
            <p:spPr>
              <a:xfrm>
                <a:off x="7988281" y="2677662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61C7895A-F1EE-A88F-C080-86C185E3D09F}"/>
                  </a:ext>
                </a:extLst>
              </p:cNvPr>
              <p:cNvSpPr/>
              <p:nvPr/>
            </p:nvSpPr>
            <p:spPr>
              <a:xfrm>
                <a:off x="7988281" y="3524864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62DF9BB1-FFD9-3CD7-4438-3F66583FB024}"/>
                  </a:ext>
                </a:extLst>
              </p:cNvPr>
              <p:cNvSpPr/>
              <p:nvPr/>
            </p:nvSpPr>
            <p:spPr>
              <a:xfrm>
                <a:off x="7988281" y="4845029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2D339DF8-7E43-FEB6-38FC-B125D60DDEB4}"/>
                  </a:ext>
                </a:extLst>
              </p:cNvPr>
              <p:cNvSpPr/>
              <p:nvPr/>
            </p:nvSpPr>
            <p:spPr>
              <a:xfrm>
                <a:off x="6902985" y="1719201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DFE87B72-CE3C-577C-FC1D-499C1A25E927}"/>
                  </a:ext>
                </a:extLst>
              </p:cNvPr>
              <p:cNvSpPr/>
              <p:nvPr/>
            </p:nvSpPr>
            <p:spPr>
              <a:xfrm>
                <a:off x="8236300" y="1719201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2820EA04-6AC2-5C8B-15FF-D16AA515960B}"/>
                  </a:ext>
                </a:extLst>
              </p:cNvPr>
              <p:cNvSpPr/>
              <p:nvPr/>
            </p:nvSpPr>
            <p:spPr>
              <a:xfrm>
                <a:off x="8792189" y="2269746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DCDCD039-5E22-103B-8768-30BD17E75BA8}"/>
                  </a:ext>
                </a:extLst>
              </p:cNvPr>
              <p:cNvSpPr/>
              <p:nvPr/>
            </p:nvSpPr>
            <p:spPr>
              <a:xfrm>
                <a:off x="8792189" y="3231372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EC99AEAA-E9C2-2E88-2D65-795DD2026CB3}"/>
                  </a:ext>
                </a:extLst>
              </p:cNvPr>
              <p:cNvSpPr/>
              <p:nvPr/>
            </p:nvSpPr>
            <p:spPr>
              <a:xfrm>
                <a:off x="8804174" y="4732634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7B90B99D-2EC9-2B53-47E1-285C421E2242}"/>
                  </a:ext>
                </a:extLst>
              </p:cNvPr>
              <p:cNvSpPr/>
              <p:nvPr/>
            </p:nvSpPr>
            <p:spPr>
              <a:xfrm>
                <a:off x="2946300" y="1711643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B31DA4F9-BDFA-00F9-F384-575C809945F7}"/>
                  </a:ext>
                </a:extLst>
              </p:cNvPr>
              <p:cNvSpPr/>
              <p:nvPr/>
            </p:nvSpPr>
            <p:spPr>
              <a:xfrm>
                <a:off x="2872740" y="2462735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21FF9C30-E99C-B389-3AAF-4364D862C4E2}"/>
                  </a:ext>
                </a:extLst>
              </p:cNvPr>
              <p:cNvSpPr/>
              <p:nvPr/>
            </p:nvSpPr>
            <p:spPr>
              <a:xfrm>
                <a:off x="3857625" y="2462736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00422722-87F4-A972-C75B-B3B8453EFF0C}"/>
                  </a:ext>
                </a:extLst>
              </p:cNvPr>
              <p:cNvSpPr/>
              <p:nvPr/>
            </p:nvSpPr>
            <p:spPr>
              <a:xfrm>
                <a:off x="5662830" y="171778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C9050510-DF8E-64BD-5C3B-390D89C5940D}"/>
                  </a:ext>
                </a:extLst>
              </p:cNvPr>
              <p:cNvSpPr/>
              <p:nvPr/>
            </p:nvSpPr>
            <p:spPr>
              <a:xfrm>
                <a:off x="5062998" y="2462735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9DC77ACF-04AF-1F1E-BF2E-8E881412D5B6}"/>
                  </a:ext>
                </a:extLst>
              </p:cNvPr>
              <p:cNvSpPr/>
              <p:nvPr/>
            </p:nvSpPr>
            <p:spPr>
              <a:xfrm>
                <a:off x="4163595" y="1711488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F241C0FD-5EEC-B593-004A-0558D7F09FF4}"/>
              </a:ext>
            </a:extLst>
          </p:cNvPr>
          <p:cNvGrpSpPr/>
          <p:nvPr/>
        </p:nvGrpSpPr>
        <p:grpSpPr>
          <a:xfrm>
            <a:off x="709254" y="1268415"/>
            <a:ext cx="3022713" cy="1820811"/>
            <a:chOff x="709254" y="1268415"/>
            <a:chExt cx="6568534" cy="3956731"/>
          </a:xfrm>
        </p:grpSpPr>
        <p:pic>
          <p:nvPicPr>
            <p:cNvPr id="114" name="Grafik 3">
              <a:extLst>
                <a:ext uri="{FF2B5EF4-FFF2-40B4-BE49-F238E27FC236}">
                  <a16:creationId xmlns:a16="http://schemas.microsoft.com/office/drawing/2014/main" id="{E1E03B2E-7D3D-78F7-0D8B-F29C5A3769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174" t="4171" r="13666" b="4929"/>
            <a:stretch/>
          </p:blipFill>
          <p:spPr>
            <a:xfrm>
              <a:off x="709254" y="1268415"/>
              <a:ext cx="6568534" cy="3956731"/>
            </a:xfrm>
            <a:prstGeom prst="rect">
              <a:avLst/>
            </a:prstGeom>
          </p:spPr>
        </p:pic>
        <p:pic>
          <p:nvPicPr>
            <p:cNvPr id="115" name="Grafik 4">
              <a:extLst>
                <a:ext uri="{FF2B5EF4-FFF2-40B4-BE49-F238E27FC236}">
                  <a16:creationId xmlns:a16="http://schemas.microsoft.com/office/drawing/2014/main" id="{15012435-DE79-5832-8DB5-ADF518AC348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94275" y="2736304"/>
              <a:ext cx="2305361" cy="2098212"/>
            </a:xfrm>
            <a:prstGeom prst="rect">
              <a:avLst/>
            </a:prstGeom>
          </p:spPr>
        </p:pic>
        <p:pic>
          <p:nvPicPr>
            <p:cNvPr id="116" name="Grafik 5">
              <a:extLst>
                <a:ext uri="{FF2B5EF4-FFF2-40B4-BE49-F238E27FC236}">
                  <a16:creationId xmlns:a16="http://schemas.microsoft.com/office/drawing/2014/main" id="{56D86EF1-A579-43F1-A5C3-578B4B665F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60000">
              <a:off x="3399089" y="1562434"/>
              <a:ext cx="3807322" cy="1588080"/>
            </a:xfrm>
            <a:prstGeom prst="rect">
              <a:avLst/>
            </a:prstGeom>
          </p:spPr>
        </p:pic>
      </p:grpSp>
      <p:sp>
        <p:nvSpPr>
          <p:cNvPr id="118" name="Arrow: Right 117">
            <a:extLst>
              <a:ext uri="{FF2B5EF4-FFF2-40B4-BE49-F238E27FC236}">
                <a16:creationId xmlns:a16="http://schemas.microsoft.com/office/drawing/2014/main" id="{F62B9651-EB6B-CD5D-BECF-FD02710C723F}"/>
              </a:ext>
            </a:extLst>
          </p:cNvPr>
          <p:cNvSpPr/>
          <p:nvPr/>
        </p:nvSpPr>
        <p:spPr>
          <a:xfrm>
            <a:off x="4130256" y="1639533"/>
            <a:ext cx="732224" cy="70950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Arrow: Right 121">
            <a:extLst>
              <a:ext uri="{FF2B5EF4-FFF2-40B4-BE49-F238E27FC236}">
                <a16:creationId xmlns:a16="http://schemas.microsoft.com/office/drawing/2014/main" id="{AB065FEA-ABC2-F39B-54A6-85E50B1D4F3A}"/>
              </a:ext>
            </a:extLst>
          </p:cNvPr>
          <p:cNvSpPr/>
          <p:nvPr/>
        </p:nvSpPr>
        <p:spPr>
          <a:xfrm>
            <a:off x="8072859" y="1634626"/>
            <a:ext cx="732224" cy="70950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3A5619D6-2B3B-ABB0-93E2-353EB2FB5712}"/>
              </a:ext>
            </a:extLst>
          </p:cNvPr>
          <p:cNvSpPr txBox="1"/>
          <p:nvPr/>
        </p:nvSpPr>
        <p:spPr>
          <a:xfrm>
            <a:off x="9218865" y="1420378"/>
            <a:ext cx="231058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Area</a:t>
            </a:r>
            <a:br>
              <a:rPr lang="en-US" sz="2400" dirty="0"/>
            </a:br>
            <a:r>
              <a:rPr lang="en-US" sz="2400" dirty="0"/>
              <a:t>+</a:t>
            </a:r>
          </a:p>
          <a:p>
            <a:pPr algn="ctr"/>
            <a:r>
              <a:rPr lang="en-US" sz="2400" dirty="0"/>
              <a:t>Moment of inertia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0FBCD48E-B916-C266-38DE-F1C09D72D0A5}"/>
              </a:ext>
            </a:extLst>
          </p:cNvPr>
          <p:cNvSpPr txBox="1"/>
          <p:nvPr/>
        </p:nvSpPr>
        <p:spPr>
          <a:xfrm>
            <a:off x="7025764" y="3991313"/>
            <a:ext cx="512441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Outlook</a:t>
            </a:r>
          </a:p>
          <a:p>
            <a:endParaRPr lang="en-US" sz="1600" dirty="0"/>
          </a:p>
          <a:p>
            <a:r>
              <a:rPr lang="en-US" sz="1600" dirty="0"/>
              <a:t>Optimizing sensor position</a:t>
            </a:r>
          </a:p>
          <a:p>
            <a:endParaRPr lang="en-US" sz="1600" dirty="0"/>
          </a:p>
          <a:p>
            <a:r>
              <a:rPr lang="en-US" sz="1600" dirty="0"/>
              <a:t>Ko’s shape sensing algorithm</a:t>
            </a:r>
          </a:p>
          <a:p>
            <a:endParaRPr lang="en-US" sz="1600" dirty="0"/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927149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118" grpId="0" animBg="1"/>
      <p:bldP spid="122" grpId="0" animBg="1"/>
      <p:bldP spid="123" grpId="0"/>
      <p:bldP spid="12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49293D7-7168-4431-8D4F-A97B888F18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ank you for your attention!</a:t>
            </a:r>
          </a:p>
        </p:txBody>
      </p:sp>
    </p:spTree>
    <p:extLst>
      <p:ext uri="{BB962C8B-B14F-4D97-AF65-F5344CB8AC3E}">
        <p14:creationId xmlns:p14="http://schemas.microsoft.com/office/powerpoint/2010/main" val="24508018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E36340-85AB-4A9B-881D-1B23E0CC5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ther solvable shapes</a:t>
            </a:r>
          </a:p>
        </p:txBody>
      </p:sp>
    </p:spTree>
    <p:extLst>
      <p:ext uri="{BB962C8B-B14F-4D97-AF65-F5344CB8AC3E}">
        <p14:creationId xmlns:p14="http://schemas.microsoft.com/office/powerpoint/2010/main" val="42406211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E36340-85AB-4A9B-881D-1B23E0CC5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tiv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AFD883-E4C4-4C03-8731-128208B5E81D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GB" dirty="0"/>
              <a:t>Estimate the deformations from the measured loads using the shape sensing method.</a:t>
            </a:r>
          </a:p>
          <a:p>
            <a:r>
              <a:rPr lang="en-GB" sz="1600" dirty="0"/>
              <a:t>To optimize the position of the sensors, cross sectional parameter necessary.</a:t>
            </a:r>
          </a:p>
          <a:p>
            <a:r>
              <a:rPr lang="en-GB" dirty="0"/>
              <a:t>Variable </a:t>
            </a:r>
            <a:r>
              <a:rPr lang="en-GB" sz="1600" dirty="0"/>
              <a:t>distance to neutral </a:t>
            </a:r>
            <a:r>
              <a:rPr lang="en-GB" sz="1600" dirty="0" err="1"/>
              <a:t>fiber</a:t>
            </a:r>
            <a:r>
              <a:rPr lang="en-GB" dirty="0"/>
              <a:t> and therefore </a:t>
            </a:r>
            <a:r>
              <a:rPr lang="en-GB" sz="1600" dirty="0"/>
              <a:t>variable cross-sectional area</a:t>
            </a:r>
          </a:p>
        </p:txBody>
      </p:sp>
    </p:spTree>
    <p:extLst>
      <p:ext uri="{BB962C8B-B14F-4D97-AF65-F5344CB8AC3E}">
        <p14:creationId xmlns:p14="http://schemas.microsoft.com/office/powerpoint/2010/main" val="20069707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E36340-85AB-4A9B-881D-1B23E0CC5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e of the ar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AFD883-E4C4-4C03-8731-128208B5E81D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GB" sz="1600" dirty="0"/>
              <a:t>Manual calculation – very precise, but  slow and with a lot of limitations</a:t>
            </a:r>
          </a:p>
          <a:p>
            <a:r>
              <a:rPr lang="en-GB" dirty="0"/>
              <a:t>CAD built in tool – fast at calculating but every calculation needs to be specified</a:t>
            </a:r>
          </a:p>
          <a:p>
            <a:r>
              <a:rPr lang="en-GB" dirty="0"/>
              <a:t>My algorithm was designed to exactly fin the needs</a:t>
            </a:r>
          </a:p>
          <a:p>
            <a:r>
              <a:rPr lang="en-GB" dirty="0"/>
              <a:t>Beams I can calculate: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F9298EC-45FC-E93A-7D98-F2E5CB9BBF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2474" y="4950170"/>
            <a:ext cx="4909543" cy="118930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BCB7049-E896-280A-595C-A4B7D610C5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2616" y="3035071"/>
            <a:ext cx="1782197" cy="95682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261DC17-6B4A-0BF1-2B9E-D5391DD14C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2616" y="4001729"/>
            <a:ext cx="1078468" cy="88389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C4ABE6F-267C-D3CE-AE70-A9B0A379BC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31568" y="3945135"/>
            <a:ext cx="3287435" cy="99520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30077E6-A7C5-9ECE-71DB-2D2CA32364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17246" y="3060007"/>
            <a:ext cx="6403513" cy="90695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CE48C10-F3BB-DC04-4F90-FBBD4A9B22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00" y="4676068"/>
            <a:ext cx="5806943" cy="173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289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E36340-85AB-4A9B-881D-1B23E0CC5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veloped Algorithm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077AA61-F812-9388-BEAA-091BEF890E0B}"/>
              </a:ext>
            </a:extLst>
          </p:cNvPr>
          <p:cNvGrpSpPr/>
          <p:nvPr/>
        </p:nvGrpSpPr>
        <p:grpSpPr>
          <a:xfrm>
            <a:off x="-3005893" y="3593363"/>
            <a:ext cx="1949253" cy="1673327"/>
            <a:chOff x="1429725" y="4365523"/>
            <a:chExt cx="1949253" cy="167332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95A525C-F093-4FD3-58A5-5FD61BC79A0C}"/>
                </a:ext>
              </a:extLst>
            </p:cNvPr>
            <p:cNvSpPr/>
            <p:nvPr/>
          </p:nvSpPr>
          <p:spPr>
            <a:xfrm rot="2587958">
              <a:off x="2184383" y="5141822"/>
              <a:ext cx="365892" cy="184909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CD69678A-F7E3-D07A-B467-5DE8EABA1C3B}"/>
                </a:ext>
              </a:extLst>
            </p:cNvPr>
            <p:cNvSpPr/>
            <p:nvPr/>
          </p:nvSpPr>
          <p:spPr>
            <a:xfrm rot="2581590">
              <a:off x="2214065" y="5040356"/>
              <a:ext cx="221014" cy="320492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B8886338-3F80-E594-45C4-981E83ECEC34}"/>
                </a:ext>
              </a:extLst>
            </p:cNvPr>
            <p:cNvSpPr/>
            <p:nvPr/>
          </p:nvSpPr>
          <p:spPr>
            <a:xfrm>
              <a:off x="1429725" y="4365523"/>
              <a:ext cx="1078381" cy="1027628"/>
            </a:xfrm>
            <a:prstGeom prst="ellipse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AD0C2602-B12C-B855-48FC-DBFF597219C9}"/>
                </a:ext>
              </a:extLst>
            </p:cNvPr>
            <p:cNvSpPr/>
            <p:nvPr/>
          </p:nvSpPr>
          <p:spPr>
            <a:xfrm>
              <a:off x="1534160" y="4470399"/>
              <a:ext cx="855019" cy="822961"/>
            </a:xfrm>
            <a:prstGeom prst="ellipse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FE23F3AA-EECE-9768-BCD3-C3E3AAF1E696}"/>
                </a:ext>
              </a:extLst>
            </p:cNvPr>
            <p:cNvSpPr/>
            <p:nvPr/>
          </p:nvSpPr>
          <p:spPr>
            <a:xfrm rot="2443974">
              <a:off x="2359516" y="5532066"/>
              <a:ext cx="1019462" cy="287536"/>
            </a:xfrm>
            <a:prstGeom prst="round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26F5005-04CF-0799-B7E3-097D4E2F3380}"/>
                </a:ext>
              </a:extLst>
            </p:cNvPr>
            <p:cNvCxnSpPr/>
            <p:nvPr/>
          </p:nvCxnSpPr>
          <p:spPr>
            <a:xfrm flipH="1">
              <a:off x="3068955" y="5823585"/>
              <a:ext cx="194310" cy="215265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B06C64E5-4388-F7AF-7E2D-E2AE3B264081}"/>
                </a:ext>
              </a:extLst>
            </p:cNvPr>
            <p:cNvCxnSpPr/>
            <p:nvPr/>
          </p:nvCxnSpPr>
          <p:spPr>
            <a:xfrm flipH="1">
              <a:off x="3030855" y="5793105"/>
              <a:ext cx="194310" cy="215265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6F8CE5DE-4909-2AB9-FCCB-1B834501D4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8661" b="93110" l="9712" r="89985">
                        <a14:foregroundMark x1="18665" y1="27165" x2="18665" y2="27165"/>
                        <a14:foregroundMark x1="18361" y1="23228" x2="18361" y2="23228"/>
                        <a14:foregroundMark x1="33912" y1="11888" x2="37936" y2="9449"/>
                        <a14:foregroundMark x1="25919" y1="16732" x2="26371" y2="16458"/>
                        <a14:foregroundMark x1="25269" y1="17126" x2="25919" y2="16732"/>
                        <a14:foregroundMark x1="19423" y1="20669" x2="25269" y2="17126"/>
                        <a14:foregroundMark x1="50694" y1="21340" x2="55387" y2="26772"/>
                        <a14:foregroundMark x1="39909" y1="8858" x2="44539" y2="14217"/>
                        <a14:foregroundMark x1="54932" y1="40945" x2="54173" y2="48228"/>
                        <a14:foregroundMark x1="44158" y1="56693" x2="35555" y2="59358"/>
                        <a14:foregroundMark x1="19879" y1="45866" x2="23824" y2="50787"/>
                        <a14:foregroundMark x1="52656" y1="52953" x2="64795" y2="66142"/>
                        <a14:foregroundMark x1="59636" y1="59252" x2="70865" y2="72244"/>
                        <a14:foregroundMark x1="70865" y1="72244" x2="73445" y2="73622"/>
                        <a14:foregroundMark x1="79666" y1="81102" x2="85281" y2="89370"/>
                        <a14:foregroundMark x1="86495" y1="88780" x2="83005" y2="85039"/>
                        <a14:foregroundMark x1="83915" y1="93110" x2="85888" y2="90157"/>
                        <a14:backgroundMark x1="33839" y1="60630" x2="34750" y2="60827"/>
                        <a14:backgroundMark x1="34598" y1="60630" x2="33384" y2="60433"/>
                        <a14:backgroundMark x1="46586" y1="18504" x2="48255" y2="19291"/>
                        <a14:backgroundMark x1="48255" y1="19488" x2="49165" y2="20866"/>
                        <a14:backgroundMark x1="49317" y1="20866" x2="48407" y2="19094"/>
                        <a14:backgroundMark x1="47496" y1="18504" x2="45524" y2="16929"/>
                        <a14:backgroundMark x1="45827" y1="16929" x2="47496" y2="18504"/>
                        <a14:backgroundMark x1="48103" y1="19291" x2="49924" y2="22047"/>
                        <a14:backgroundMark x1="30804" y1="14961" x2="29135" y2="15157"/>
                        <a14:backgroundMark x1="28680" y1="16142" x2="28983" y2="15748"/>
                        <a14:backgroundMark x1="25948" y1="17520" x2="33080" y2="13976"/>
                        <a14:backgroundMark x1="26404" y1="17126" x2="26404" y2="17126"/>
                        <a14:backgroundMark x1="26555" y1="16732" x2="26555" y2="1673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6651208" y="-1166536"/>
            <a:ext cx="5022015" cy="3871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2078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E36340-85AB-4A9B-881D-1B23E0CC5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alysis of the algorithm's performance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D879F597-6EF3-8A45-5156-08E4D91BAD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9708705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397018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E36340-85AB-4A9B-881D-1B23E0CC5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tiv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AFD883-E4C4-4C03-8731-128208B5E81D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GB" sz="16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1F7F390-E7F2-4160-85B6-7FE461D6934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74" t="4171" r="13666" b="4929"/>
          <a:stretch/>
        </p:blipFill>
        <p:spPr>
          <a:xfrm>
            <a:off x="709254" y="1268415"/>
            <a:ext cx="6568534" cy="3956731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9BC482F-9801-4EBE-806F-F90B1A064D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4275" y="2736304"/>
            <a:ext cx="2305361" cy="20982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5DCD15-D6DF-44EC-8AFA-3A2D266903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60000">
            <a:off x="3399089" y="1562434"/>
            <a:ext cx="3807322" cy="1588080"/>
          </a:xfrm>
          <a:prstGeom prst="rect">
            <a:avLst/>
          </a:prstGeom>
        </p:spPr>
      </p:pic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32D2EEF-9343-4E13-B760-A9D50D1BDC48}"/>
              </a:ext>
            </a:extLst>
          </p:cNvPr>
          <p:cNvGrpSpPr/>
          <p:nvPr/>
        </p:nvGrpSpPr>
        <p:grpSpPr>
          <a:xfrm>
            <a:off x="686218" y="5342351"/>
            <a:ext cx="6614605" cy="558054"/>
            <a:chOff x="5241086" y="5547005"/>
            <a:chExt cx="6614605" cy="558054"/>
          </a:xfrm>
        </p:grpSpPr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D109509D-92C1-454D-A129-8E45D839C734}"/>
                </a:ext>
              </a:extLst>
            </p:cNvPr>
            <p:cNvGrpSpPr/>
            <p:nvPr/>
          </p:nvGrpSpPr>
          <p:grpSpPr>
            <a:xfrm>
              <a:off x="5477690" y="5808615"/>
              <a:ext cx="6209533" cy="76337"/>
              <a:chOff x="5477691" y="5808615"/>
              <a:chExt cx="3987440" cy="69669"/>
            </a:xfrm>
          </p:grpSpPr>
          <p:sp>
            <p:nvSpPr>
              <p:cNvPr id="22" name="Rechteck 21">
                <a:extLst>
                  <a:ext uri="{FF2B5EF4-FFF2-40B4-BE49-F238E27FC236}">
                    <a16:creationId xmlns:a16="http://schemas.microsoft.com/office/drawing/2014/main" id="{3DEB9170-2E8A-4E7F-B981-AB7BE224C1EB}"/>
                  </a:ext>
                </a:extLst>
              </p:cNvPr>
              <p:cNvSpPr/>
              <p:nvPr/>
            </p:nvSpPr>
            <p:spPr>
              <a:xfrm>
                <a:off x="5477691" y="5808615"/>
                <a:ext cx="365760" cy="69669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7ED4B568-6B95-49BE-9D68-123E564DDEC7}"/>
                  </a:ext>
                </a:extLst>
              </p:cNvPr>
              <p:cNvSpPr/>
              <p:nvPr/>
            </p:nvSpPr>
            <p:spPr>
              <a:xfrm>
                <a:off x="5839859" y="5808615"/>
                <a:ext cx="365760" cy="69669"/>
              </a:xfrm>
              <a:prstGeom prst="rect">
                <a:avLst/>
              </a:prstGeom>
              <a:solidFill>
                <a:srgbClr val="FF8C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A8252846-9FD2-4A36-B22E-F65150C50582}"/>
                  </a:ext>
                </a:extLst>
              </p:cNvPr>
              <p:cNvSpPr/>
              <p:nvPr/>
            </p:nvSpPr>
            <p:spPr>
              <a:xfrm>
                <a:off x="6202027" y="5808615"/>
                <a:ext cx="365760" cy="69669"/>
              </a:xfrm>
              <a:prstGeom prst="rect">
                <a:avLst/>
              </a:prstGeom>
              <a:solidFill>
                <a:srgbClr val="FFC52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B7E6C69B-3BC0-42BB-8980-1F9F78297B2E}"/>
                  </a:ext>
                </a:extLst>
              </p:cNvPr>
              <p:cNvSpPr/>
              <p:nvPr/>
            </p:nvSpPr>
            <p:spPr>
              <a:xfrm>
                <a:off x="6564195" y="5808615"/>
                <a:ext cx="365760" cy="69669"/>
              </a:xfrm>
              <a:prstGeom prst="rect">
                <a:avLst/>
              </a:prstGeom>
              <a:solidFill>
                <a:srgbClr val="EBFF2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6" name="Rechteck 25">
                <a:extLst>
                  <a:ext uri="{FF2B5EF4-FFF2-40B4-BE49-F238E27FC236}">
                    <a16:creationId xmlns:a16="http://schemas.microsoft.com/office/drawing/2014/main" id="{D565D960-9F8D-408A-BFDF-927D8B2FE31E}"/>
                  </a:ext>
                </a:extLst>
              </p:cNvPr>
              <p:cNvSpPr/>
              <p:nvPr/>
            </p:nvSpPr>
            <p:spPr>
              <a:xfrm>
                <a:off x="6926363" y="5808615"/>
                <a:ext cx="365760" cy="69669"/>
              </a:xfrm>
              <a:prstGeom prst="rect">
                <a:avLst/>
              </a:prstGeom>
              <a:solidFill>
                <a:srgbClr val="9CFF2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08C8D59D-44FF-433B-B29A-72F90A7E6E72}"/>
                  </a:ext>
                </a:extLst>
              </p:cNvPr>
              <p:cNvSpPr/>
              <p:nvPr/>
            </p:nvSpPr>
            <p:spPr>
              <a:xfrm>
                <a:off x="7288531" y="5808615"/>
                <a:ext cx="365760" cy="69669"/>
              </a:xfrm>
              <a:prstGeom prst="rect">
                <a:avLst/>
              </a:prstGeom>
              <a:solidFill>
                <a:srgbClr val="49FF2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AF18F84F-688B-4FBD-8D8D-83E4ADE53F66}"/>
                  </a:ext>
                </a:extLst>
              </p:cNvPr>
              <p:cNvSpPr/>
              <p:nvPr/>
            </p:nvSpPr>
            <p:spPr>
              <a:xfrm>
                <a:off x="7650699" y="5808615"/>
                <a:ext cx="365760" cy="69669"/>
              </a:xfrm>
              <a:prstGeom prst="rect">
                <a:avLst/>
              </a:prstGeom>
              <a:solidFill>
                <a:srgbClr val="19FF9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9" name="Rechteck 28">
                <a:extLst>
                  <a:ext uri="{FF2B5EF4-FFF2-40B4-BE49-F238E27FC236}">
                    <a16:creationId xmlns:a16="http://schemas.microsoft.com/office/drawing/2014/main" id="{F75116B6-0588-40B9-AA35-7B76FA23D974}"/>
                  </a:ext>
                </a:extLst>
              </p:cNvPr>
              <p:cNvSpPr/>
              <p:nvPr/>
            </p:nvSpPr>
            <p:spPr>
              <a:xfrm>
                <a:off x="8012867" y="5808615"/>
                <a:ext cx="365760" cy="69669"/>
              </a:xfrm>
              <a:prstGeom prst="rect">
                <a:avLst/>
              </a:prstGeom>
              <a:solidFill>
                <a:srgbClr val="40FF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0" name="Rechteck 29">
                <a:extLst>
                  <a:ext uri="{FF2B5EF4-FFF2-40B4-BE49-F238E27FC236}">
                    <a16:creationId xmlns:a16="http://schemas.microsoft.com/office/drawing/2014/main" id="{2F929AC2-E8CB-4F21-820D-1C3F8E30C2C0}"/>
                  </a:ext>
                </a:extLst>
              </p:cNvPr>
              <p:cNvSpPr/>
              <p:nvPr/>
            </p:nvSpPr>
            <p:spPr>
              <a:xfrm>
                <a:off x="8375035" y="5808615"/>
                <a:ext cx="365760" cy="69669"/>
              </a:xfrm>
              <a:prstGeom prst="rect">
                <a:avLst/>
              </a:prstGeom>
              <a:solidFill>
                <a:srgbClr val="35C7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90E29AAD-8B06-4A5B-9A0C-D034A86698EE}"/>
                  </a:ext>
                </a:extLst>
              </p:cNvPr>
              <p:cNvSpPr/>
              <p:nvPr/>
            </p:nvSpPr>
            <p:spPr>
              <a:xfrm>
                <a:off x="8737203" y="5808615"/>
                <a:ext cx="365760" cy="69669"/>
              </a:xfrm>
              <a:prstGeom prst="rect">
                <a:avLst/>
              </a:prstGeom>
              <a:solidFill>
                <a:srgbClr val="0760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F283980B-A42A-4E8D-BEF4-24064BA2664B}"/>
                  </a:ext>
                </a:extLst>
              </p:cNvPr>
              <p:cNvSpPr/>
              <p:nvPr/>
            </p:nvSpPr>
            <p:spPr>
              <a:xfrm>
                <a:off x="9099371" y="5808615"/>
                <a:ext cx="365760" cy="69669"/>
              </a:xfrm>
              <a:prstGeom prst="rect">
                <a:avLst/>
              </a:prstGeom>
              <a:solidFill>
                <a:srgbClr val="0101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9A994DD-BEB2-4046-B082-F2093F21B99B}"/>
                </a:ext>
              </a:extLst>
            </p:cNvPr>
            <p:cNvSpPr txBox="1"/>
            <p:nvPr/>
          </p:nvSpPr>
          <p:spPr>
            <a:xfrm>
              <a:off x="5241101" y="5547005"/>
              <a:ext cx="117852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b="1" dirty="0" err="1"/>
                <a:t>Deflection</a:t>
              </a:r>
              <a:r>
                <a:rPr lang="de-DE" sz="1100" b="1" dirty="0"/>
                <a:t> w [mm]</a:t>
              </a: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BE906BCC-8F7C-4B25-9E12-0E932FA089B7}"/>
                </a:ext>
              </a:extLst>
            </p:cNvPr>
            <p:cNvSpPr txBox="1"/>
            <p:nvPr/>
          </p:nvSpPr>
          <p:spPr>
            <a:xfrm>
              <a:off x="5241086" y="5843449"/>
              <a:ext cx="47320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500,0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0522D620-41FD-4DBD-9018-1C6838712485}"/>
                </a:ext>
              </a:extLst>
            </p:cNvPr>
            <p:cNvSpPr txBox="1"/>
            <p:nvPr/>
          </p:nvSpPr>
          <p:spPr>
            <a:xfrm>
              <a:off x="11510725" y="5843449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0,0</a:t>
              </a:r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717ED78D-E1D2-4978-8BD6-1C66B0BB537C}"/>
                </a:ext>
              </a:extLst>
            </p:cNvPr>
            <p:cNvSpPr txBox="1"/>
            <p:nvPr/>
          </p:nvSpPr>
          <p:spPr>
            <a:xfrm>
              <a:off x="10913092" y="5843449"/>
              <a:ext cx="40908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45,5</a:t>
              </a: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7318B29-E14C-4453-8B70-AD2159A6B87E}"/>
                </a:ext>
              </a:extLst>
            </p:cNvPr>
            <p:cNvSpPr txBox="1"/>
            <p:nvPr/>
          </p:nvSpPr>
          <p:spPr>
            <a:xfrm>
              <a:off x="10355982" y="5843449"/>
              <a:ext cx="40908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90,9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696CC0BF-D8E2-46CA-8A2B-A8965C06ABEF}"/>
                </a:ext>
              </a:extLst>
            </p:cNvPr>
            <p:cNvSpPr txBox="1"/>
            <p:nvPr/>
          </p:nvSpPr>
          <p:spPr>
            <a:xfrm>
              <a:off x="9755753" y="5843449"/>
              <a:ext cx="47320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136,4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C457E072-89F9-498B-BD5E-1DEF8FDA1EFF}"/>
                </a:ext>
              </a:extLst>
            </p:cNvPr>
            <p:cNvSpPr txBox="1"/>
            <p:nvPr/>
          </p:nvSpPr>
          <p:spPr>
            <a:xfrm>
              <a:off x="9189048" y="5843449"/>
              <a:ext cx="47320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181,8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79FD1259-331D-4A6B-95FB-98C6CBD97F00}"/>
                </a:ext>
              </a:extLst>
            </p:cNvPr>
            <p:cNvSpPr txBox="1"/>
            <p:nvPr/>
          </p:nvSpPr>
          <p:spPr>
            <a:xfrm>
              <a:off x="8630647" y="5843449"/>
              <a:ext cx="47320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227,3</a:t>
              </a: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27A4B80E-938F-48DD-8A12-6F22F4CAE645}"/>
                </a:ext>
              </a:extLst>
            </p:cNvPr>
            <p:cNvSpPr txBox="1"/>
            <p:nvPr/>
          </p:nvSpPr>
          <p:spPr>
            <a:xfrm>
              <a:off x="8066652" y="5843449"/>
              <a:ext cx="47320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272,7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694053DD-58ED-4632-8F6F-E83E8EF40675}"/>
                </a:ext>
              </a:extLst>
            </p:cNvPr>
            <p:cNvSpPr txBox="1"/>
            <p:nvPr/>
          </p:nvSpPr>
          <p:spPr>
            <a:xfrm>
              <a:off x="7491175" y="5843449"/>
              <a:ext cx="47320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318,2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96AC9F74-3ED6-4B07-AA37-4A2521D267B4}"/>
                </a:ext>
              </a:extLst>
            </p:cNvPr>
            <p:cNvSpPr txBox="1"/>
            <p:nvPr/>
          </p:nvSpPr>
          <p:spPr>
            <a:xfrm>
              <a:off x="6924470" y="5843449"/>
              <a:ext cx="47320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363,6</a:t>
              </a: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ED5A3CBA-FC91-4E98-8218-BA094819C38B}"/>
                </a:ext>
              </a:extLst>
            </p:cNvPr>
            <p:cNvSpPr txBox="1"/>
            <p:nvPr/>
          </p:nvSpPr>
          <p:spPr>
            <a:xfrm>
              <a:off x="6370573" y="5843449"/>
              <a:ext cx="47320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409,1</a:t>
              </a:r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A3E2757A-91BF-45C3-B7E8-041AF8B574F4}"/>
                </a:ext>
              </a:extLst>
            </p:cNvPr>
            <p:cNvSpPr txBox="1"/>
            <p:nvPr/>
          </p:nvSpPr>
          <p:spPr>
            <a:xfrm>
              <a:off x="5809178" y="5843449"/>
              <a:ext cx="47320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454,6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DA06CB1B-0332-43D7-A49C-8AC14C22AD6C}"/>
              </a:ext>
            </a:extLst>
          </p:cNvPr>
          <p:cNvGrpSpPr/>
          <p:nvPr/>
        </p:nvGrpSpPr>
        <p:grpSpPr>
          <a:xfrm>
            <a:off x="8911225" y="2677971"/>
            <a:ext cx="2444761" cy="505646"/>
            <a:chOff x="1095197" y="3143622"/>
            <a:chExt cx="2444761" cy="505646"/>
          </a:xfrm>
        </p:grpSpPr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F9076D9F-A09D-4A33-92D8-7FFB5AC85C96}"/>
                </a:ext>
              </a:extLst>
            </p:cNvPr>
            <p:cNvSpPr/>
            <p:nvPr/>
          </p:nvSpPr>
          <p:spPr>
            <a:xfrm>
              <a:off x="1095197" y="3143622"/>
              <a:ext cx="2444761" cy="505646"/>
            </a:xfrm>
            <a:custGeom>
              <a:avLst/>
              <a:gdLst>
                <a:gd name="connsiteX0" fmla="*/ 2444761 w 2444761"/>
                <a:gd name="connsiteY0" fmla="*/ 219873 h 505646"/>
                <a:gd name="connsiteX1" fmla="*/ 1631961 w 2444761"/>
                <a:gd name="connsiteY1" fmla="*/ 91536 h 505646"/>
                <a:gd name="connsiteX2" fmla="*/ 968887 w 2444761"/>
                <a:gd name="connsiteY2" fmla="*/ 631 h 505646"/>
                <a:gd name="connsiteX3" fmla="*/ 332550 w 2444761"/>
                <a:gd name="connsiteY3" fmla="*/ 59452 h 505646"/>
                <a:gd name="connsiteX4" fmla="*/ 49140 w 2444761"/>
                <a:gd name="connsiteY4" fmla="*/ 209178 h 505646"/>
                <a:gd name="connsiteX5" fmla="*/ 1014 w 2444761"/>
                <a:gd name="connsiteY5" fmla="*/ 374946 h 505646"/>
                <a:gd name="connsiteX6" fmla="*/ 59835 w 2444761"/>
                <a:gd name="connsiteY6" fmla="*/ 449810 h 505646"/>
                <a:gd name="connsiteX7" fmla="*/ 305814 w 2444761"/>
                <a:gd name="connsiteY7" fmla="*/ 497936 h 505646"/>
                <a:gd name="connsiteX8" fmla="*/ 792424 w 2444761"/>
                <a:gd name="connsiteY8" fmla="*/ 492589 h 505646"/>
                <a:gd name="connsiteX9" fmla="*/ 1439456 w 2444761"/>
                <a:gd name="connsiteY9" fmla="*/ 374946 h 505646"/>
                <a:gd name="connsiteX10" fmla="*/ 2198782 w 2444761"/>
                <a:gd name="connsiteY10" fmla="*/ 251957 h 505646"/>
                <a:gd name="connsiteX11" fmla="*/ 2444761 w 2444761"/>
                <a:gd name="connsiteY11" fmla="*/ 219873 h 50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44761" h="505646">
                  <a:moveTo>
                    <a:pt x="2444761" y="219873"/>
                  </a:moveTo>
                  <a:lnTo>
                    <a:pt x="1631961" y="91536"/>
                  </a:lnTo>
                  <a:cubicBezTo>
                    <a:pt x="1385982" y="54996"/>
                    <a:pt x="1185455" y="5978"/>
                    <a:pt x="968887" y="631"/>
                  </a:cubicBezTo>
                  <a:cubicBezTo>
                    <a:pt x="752319" y="-4716"/>
                    <a:pt x="485841" y="24694"/>
                    <a:pt x="332550" y="59452"/>
                  </a:cubicBezTo>
                  <a:cubicBezTo>
                    <a:pt x="179259" y="94210"/>
                    <a:pt x="104396" y="156596"/>
                    <a:pt x="49140" y="209178"/>
                  </a:cubicBezTo>
                  <a:cubicBezTo>
                    <a:pt x="-6116" y="261760"/>
                    <a:pt x="-768" y="334841"/>
                    <a:pt x="1014" y="374946"/>
                  </a:cubicBezTo>
                  <a:cubicBezTo>
                    <a:pt x="2796" y="415051"/>
                    <a:pt x="9035" y="429312"/>
                    <a:pt x="59835" y="449810"/>
                  </a:cubicBezTo>
                  <a:cubicBezTo>
                    <a:pt x="110635" y="470308"/>
                    <a:pt x="183716" y="490806"/>
                    <a:pt x="305814" y="497936"/>
                  </a:cubicBezTo>
                  <a:cubicBezTo>
                    <a:pt x="427912" y="505066"/>
                    <a:pt x="603484" y="513087"/>
                    <a:pt x="792424" y="492589"/>
                  </a:cubicBezTo>
                  <a:cubicBezTo>
                    <a:pt x="981364" y="472091"/>
                    <a:pt x="1205063" y="415051"/>
                    <a:pt x="1439456" y="374946"/>
                  </a:cubicBezTo>
                  <a:lnTo>
                    <a:pt x="2198782" y="251957"/>
                  </a:lnTo>
                  <a:lnTo>
                    <a:pt x="2444761" y="21987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57A3F87A-4440-4B7C-98F8-A71C6B8E39CF}"/>
                </a:ext>
              </a:extLst>
            </p:cNvPr>
            <p:cNvSpPr/>
            <p:nvPr/>
          </p:nvSpPr>
          <p:spPr>
            <a:xfrm>
              <a:off x="1123950" y="3162485"/>
              <a:ext cx="2262355" cy="467919"/>
            </a:xfrm>
            <a:custGeom>
              <a:avLst/>
              <a:gdLst>
                <a:gd name="connsiteX0" fmla="*/ 2444761 w 2444761"/>
                <a:gd name="connsiteY0" fmla="*/ 219873 h 505646"/>
                <a:gd name="connsiteX1" fmla="*/ 1631961 w 2444761"/>
                <a:gd name="connsiteY1" fmla="*/ 91536 h 505646"/>
                <a:gd name="connsiteX2" fmla="*/ 968887 w 2444761"/>
                <a:gd name="connsiteY2" fmla="*/ 631 h 505646"/>
                <a:gd name="connsiteX3" fmla="*/ 332550 w 2444761"/>
                <a:gd name="connsiteY3" fmla="*/ 59452 h 505646"/>
                <a:gd name="connsiteX4" fmla="*/ 49140 w 2444761"/>
                <a:gd name="connsiteY4" fmla="*/ 209178 h 505646"/>
                <a:gd name="connsiteX5" fmla="*/ 1014 w 2444761"/>
                <a:gd name="connsiteY5" fmla="*/ 374946 h 505646"/>
                <a:gd name="connsiteX6" fmla="*/ 59835 w 2444761"/>
                <a:gd name="connsiteY6" fmla="*/ 449810 h 505646"/>
                <a:gd name="connsiteX7" fmla="*/ 305814 w 2444761"/>
                <a:gd name="connsiteY7" fmla="*/ 497936 h 505646"/>
                <a:gd name="connsiteX8" fmla="*/ 792424 w 2444761"/>
                <a:gd name="connsiteY8" fmla="*/ 492589 h 505646"/>
                <a:gd name="connsiteX9" fmla="*/ 1439456 w 2444761"/>
                <a:gd name="connsiteY9" fmla="*/ 374946 h 505646"/>
                <a:gd name="connsiteX10" fmla="*/ 2198782 w 2444761"/>
                <a:gd name="connsiteY10" fmla="*/ 251957 h 505646"/>
                <a:gd name="connsiteX11" fmla="*/ 2444761 w 2444761"/>
                <a:gd name="connsiteY11" fmla="*/ 219873 h 50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44761" h="505646">
                  <a:moveTo>
                    <a:pt x="2444761" y="219873"/>
                  </a:moveTo>
                  <a:lnTo>
                    <a:pt x="1631961" y="91536"/>
                  </a:lnTo>
                  <a:cubicBezTo>
                    <a:pt x="1385982" y="54996"/>
                    <a:pt x="1185455" y="5978"/>
                    <a:pt x="968887" y="631"/>
                  </a:cubicBezTo>
                  <a:cubicBezTo>
                    <a:pt x="752319" y="-4716"/>
                    <a:pt x="485841" y="24694"/>
                    <a:pt x="332550" y="59452"/>
                  </a:cubicBezTo>
                  <a:cubicBezTo>
                    <a:pt x="179259" y="94210"/>
                    <a:pt x="104396" y="156596"/>
                    <a:pt x="49140" y="209178"/>
                  </a:cubicBezTo>
                  <a:cubicBezTo>
                    <a:pt x="-6116" y="261760"/>
                    <a:pt x="-768" y="334841"/>
                    <a:pt x="1014" y="374946"/>
                  </a:cubicBezTo>
                  <a:cubicBezTo>
                    <a:pt x="2796" y="415051"/>
                    <a:pt x="9035" y="429312"/>
                    <a:pt x="59835" y="449810"/>
                  </a:cubicBezTo>
                  <a:cubicBezTo>
                    <a:pt x="110635" y="470308"/>
                    <a:pt x="183716" y="490806"/>
                    <a:pt x="305814" y="497936"/>
                  </a:cubicBezTo>
                  <a:cubicBezTo>
                    <a:pt x="427912" y="505066"/>
                    <a:pt x="603484" y="513087"/>
                    <a:pt x="792424" y="492589"/>
                  </a:cubicBezTo>
                  <a:cubicBezTo>
                    <a:pt x="981364" y="472091"/>
                    <a:pt x="1205063" y="415051"/>
                    <a:pt x="1439456" y="374946"/>
                  </a:cubicBezTo>
                  <a:lnTo>
                    <a:pt x="2198782" y="251957"/>
                  </a:lnTo>
                  <a:lnTo>
                    <a:pt x="2444761" y="219873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52A4D18C-0D76-4B9E-A6AE-015398A183E3}"/>
              </a:ext>
            </a:extLst>
          </p:cNvPr>
          <p:cNvGrpSpPr/>
          <p:nvPr/>
        </p:nvGrpSpPr>
        <p:grpSpPr>
          <a:xfrm>
            <a:off x="9206051" y="1615336"/>
            <a:ext cx="1730208" cy="357856"/>
            <a:chOff x="1095197" y="3143622"/>
            <a:chExt cx="2444761" cy="505646"/>
          </a:xfrm>
        </p:grpSpPr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16327A53-EDA1-46C9-889B-AB59C5DC0CB9}"/>
                </a:ext>
              </a:extLst>
            </p:cNvPr>
            <p:cNvSpPr/>
            <p:nvPr/>
          </p:nvSpPr>
          <p:spPr>
            <a:xfrm>
              <a:off x="1095197" y="3143622"/>
              <a:ext cx="2444761" cy="505646"/>
            </a:xfrm>
            <a:custGeom>
              <a:avLst/>
              <a:gdLst>
                <a:gd name="connsiteX0" fmla="*/ 2444761 w 2444761"/>
                <a:gd name="connsiteY0" fmla="*/ 219873 h 505646"/>
                <a:gd name="connsiteX1" fmla="*/ 1631961 w 2444761"/>
                <a:gd name="connsiteY1" fmla="*/ 91536 h 505646"/>
                <a:gd name="connsiteX2" fmla="*/ 968887 w 2444761"/>
                <a:gd name="connsiteY2" fmla="*/ 631 h 505646"/>
                <a:gd name="connsiteX3" fmla="*/ 332550 w 2444761"/>
                <a:gd name="connsiteY3" fmla="*/ 59452 h 505646"/>
                <a:gd name="connsiteX4" fmla="*/ 49140 w 2444761"/>
                <a:gd name="connsiteY4" fmla="*/ 209178 h 505646"/>
                <a:gd name="connsiteX5" fmla="*/ 1014 w 2444761"/>
                <a:gd name="connsiteY5" fmla="*/ 374946 h 505646"/>
                <a:gd name="connsiteX6" fmla="*/ 59835 w 2444761"/>
                <a:gd name="connsiteY6" fmla="*/ 449810 h 505646"/>
                <a:gd name="connsiteX7" fmla="*/ 305814 w 2444761"/>
                <a:gd name="connsiteY7" fmla="*/ 497936 h 505646"/>
                <a:gd name="connsiteX8" fmla="*/ 792424 w 2444761"/>
                <a:gd name="connsiteY8" fmla="*/ 492589 h 505646"/>
                <a:gd name="connsiteX9" fmla="*/ 1439456 w 2444761"/>
                <a:gd name="connsiteY9" fmla="*/ 374946 h 505646"/>
                <a:gd name="connsiteX10" fmla="*/ 2198782 w 2444761"/>
                <a:gd name="connsiteY10" fmla="*/ 251957 h 505646"/>
                <a:gd name="connsiteX11" fmla="*/ 2444761 w 2444761"/>
                <a:gd name="connsiteY11" fmla="*/ 219873 h 50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44761" h="505646">
                  <a:moveTo>
                    <a:pt x="2444761" y="219873"/>
                  </a:moveTo>
                  <a:lnTo>
                    <a:pt x="1631961" y="91536"/>
                  </a:lnTo>
                  <a:cubicBezTo>
                    <a:pt x="1385982" y="54996"/>
                    <a:pt x="1185455" y="5978"/>
                    <a:pt x="968887" y="631"/>
                  </a:cubicBezTo>
                  <a:cubicBezTo>
                    <a:pt x="752319" y="-4716"/>
                    <a:pt x="485841" y="24694"/>
                    <a:pt x="332550" y="59452"/>
                  </a:cubicBezTo>
                  <a:cubicBezTo>
                    <a:pt x="179259" y="94210"/>
                    <a:pt x="104396" y="156596"/>
                    <a:pt x="49140" y="209178"/>
                  </a:cubicBezTo>
                  <a:cubicBezTo>
                    <a:pt x="-6116" y="261760"/>
                    <a:pt x="-768" y="334841"/>
                    <a:pt x="1014" y="374946"/>
                  </a:cubicBezTo>
                  <a:cubicBezTo>
                    <a:pt x="2796" y="415051"/>
                    <a:pt x="9035" y="429312"/>
                    <a:pt x="59835" y="449810"/>
                  </a:cubicBezTo>
                  <a:cubicBezTo>
                    <a:pt x="110635" y="470308"/>
                    <a:pt x="183716" y="490806"/>
                    <a:pt x="305814" y="497936"/>
                  </a:cubicBezTo>
                  <a:cubicBezTo>
                    <a:pt x="427912" y="505066"/>
                    <a:pt x="603484" y="513087"/>
                    <a:pt x="792424" y="492589"/>
                  </a:cubicBezTo>
                  <a:cubicBezTo>
                    <a:pt x="981364" y="472091"/>
                    <a:pt x="1205063" y="415051"/>
                    <a:pt x="1439456" y="374946"/>
                  </a:cubicBezTo>
                  <a:lnTo>
                    <a:pt x="2198782" y="251957"/>
                  </a:lnTo>
                  <a:lnTo>
                    <a:pt x="2444761" y="21987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BE813A58-2BCD-4E51-9A76-909F5053FD17}"/>
                </a:ext>
              </a:extLst>
            </p:cNvPr>
            <p:cNvSpPr/>
            <p:nvPr/>
          </p:nvSpPr>
          <p:spPr>
            <a:xfrm>
              <a:off x="1123950" y="3162485"/>
              <a:ext cx="2262355" cy="467919"/>
            </a:xfrm>
            <a:custGeom>
              <a:avLst/>
              <a:gdLst>
                <a:gd name="connsiteX0" fmla="*/ 2444761 w 2444761"/>
                <a:gd name="connsiteY0" fmla="*/ 219873 h 505646"/>
                <a:gd name="connsiteX1" fmla="*/ 1631961 w 2444761"/>
                <a:gd name="connsiteY1" fmla="*/ 91536 h 505646"/>
                <a:gd name="connsiteX2" fmla="*/ 968887 w 2444761"/>
                <a:gd name="connsiteY2" fmla="*/ 631 h 505646"/>
                <a:gd name="connsiteX3" fmla="*/ 332550 w 2444761"/>
                <a:gd name="connsiteY3" fmla="*/ 59452 h 505646"/>
                <a:gd name="connsiteX4" fmla="*/ 49140 w 2444761"/>
                <a:gd name="connsiteY4" fmla="*/ 209178 h 505646"/>
                <a:gd name="connsiteX5" fmla="*/ 1014 w 2444761"/>
                <a:gd name="connsiteY5" fmla="*/ 374946 h 505646"/>
                <a:gd name="connsiteX6" fmla="*/ 59835 w 2444761"/>
                <a:gd name="connsiteY6" fmla="*/ 449810 h 505646"/>
                <a:gd name="connsiteX7" fmla="*/ 305814 w 2444761"/>
                <a:gd name="connsiteY7" fmla="*/ 497936 h 505646"/>
                <a:gd name="connsiteX8" fmla="*/ 792424 w 2444761"/>
                <a:gd name="connsiteY8" fmla="*/ 492589 h 505646"/>
                <a:gd name="connsiteX9" fmla="*/ 1439456 w 2444761"/>
                <a:gd name="connsiteY9" fmla="*/ 374946 h 505646"/>
                <a:gd name="connsiteX10" fmla="*/ 2198782 w 2444761"/>
                <a:gd name="connsiteY10" fmla="*/ 251957 h 505646"/>
                <a:gd name="connsiteX11" fmla="*/ 2444761 w 2444761"/>
                <a:gd name="connsiteY11" fmla="*/ 219873 h 50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44761" h="505646">
                  <a:moveTo>
                    <a:pt x="2444761" y="219873"/>
                  </a:moveTo>
                  <a:lnTo>
                    <a:pt x="1631961" y="91536"/>
                  </a:lnTo>
                  <a:cubicBezTo>
                    <a:pt x="1385982" y="54996"/>
                    <a:pt x="1185455" y="5978"/>
                    <a:pt x="968887" y="631"/>
                  </a:cubicBezTo>
                  <a:cubicBezTo>
                    <a:pt x="752319" y="-4716"/>
                    <a:pt x="485841" y="24694"/>
                    <a:pt x="332550" y="59452"/>
                  </a:cubicBezTo>
                  <a:cubicBezTo>
                    <a:pt x="179259" y="94210"/>
                    <a:pt x="104396" y="156596"/>
                    <a:pt x="49140" y="209178"/>
                  </a:cubicBezTo>
                  <a:cubicBezTo>
                    <a:pt x="-6116" y="261760"/>
                    <a:pt x="-768" y="334841"/>
                    <a:pt x="1014" y="374946"/>
                  </a:cubicBezTo>
                  <a:cubicBezTo>
                    <a:pt x="2796" y="415051"/>
                    <a:pt x="9035" y="429312"/>
                    <a:pt x="59835" y="449810"/>
                  </a:cubicBezTo>
                  <a:cubicBezTo>
                    <a:pt x="110635" y="470308"/>
                    <a:pt x="183716" y="490806"/>
                    <a:pt x="305814" y="497936"/>
                  </a:cubicBezTo>
                  <a:cubicBezTo>
                    <a:pt x="427912" y="505066"/>
                    <a:pt x="603484" y="513087"/>
                    <a:pt x="792424" y="492589"/>
                  </a:cubicBezTo>
                  <a:cubicBezTo>
                    <a:pt x="981364" y="472091"/>
                    <a:pt x="1205063" y="415051"/>
                    <a:pt x="1439456" y="374946"/>
                  </a:cubicBezTo>
                  <a:lnTo>
                    <a:pt x="2198782" y="251957"/>
                  </a:lnTo>
                  <a:lnTo>
                    <a:pt x="2444761" y="219873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18E27927-2179-4E00-95E7-54BC1B0DEE96}"/>
              </a:ext>
            </a:extLst>
          </p:cNvPr>
          <p:cNvCxnSpPr>
            <a:cxnSpLocks/>
          </p:cNvCxnSpPr>
          <p:nvPr/>
        </p:nvCxnSpPr>
        <p:spPr>
          <a:xfrm flipH="1" flipV="1">
            <a:off x="4962525" y="2930793"/>
            <a:ext cx="3890891" cy="12030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B75FBC49-9A34-4DBA-A407-2CF81DC27745}"/>
              </a:ext>
            </a:extLst>
          </p:cNvPr>
          <p:cNvCxnSpPr>
            <a:cxnSpLocks/>
          </p:cNvCxnSpPr>
          <p:nvPr/>
        </p:nvCxnSpPr>
        <p:spPr>
          <a:xfrm flipH="1">
            <a:off x="6096000" y="1866900"/>
            <a:ext cx="3067050" cy="45111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Pfeil: nach rechts 46">
            <a:extLst>
              <a:ext uri="{FF2B5EF4-FFF2-40B4-BE49-F238E27FC236}">
                <a16:creationId xmlns:a16="http://schemas.microsoft.com/office/drawing/2014/main" id="{E62BD1EF-1784-48AE-9DB7-B4F8D783A508}"/>
              </a:ext>
            </a:extLst>
          </p:cNvPr>
          <p:cNvSpPr/>
          <p:nvPr/>
        </p:nvSpPr>
        <p:spPr>
          <a:xfrm>
            <a:off x="7762875" y="4024313"/>
            <a:ext cx="499934" cy="2333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7B1FC061-ED26-49A7-801D-762783787792}"/>
              </a:ext>
            </a:extLst>
          </p:cNvPr>
          <p:cNvSpPr txBox="1"/>
          <p:nvPr/>
        </p:nvSpPr>
        <p:spPr>
          <a:xfrm>
            <a:off x="4445437" y="5050791"/>
            <a:ext cx="27745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Source: IPeG, Sören Meyer zu Westerhausen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85F8DCCA-FD5E-492A-98CD-5A09B5D59F4B}"/>
              </a:ext>
            </a:extLst>
          </p:cNvPr>
          <p:cNvSpPr txBox="1"/>
          <p:nvPr/>
        </p:nvSpPr>
        <p:spPr>
          <a:xfrm>
            <a:off x="8262810" y="3947215"/>
            <a:ext cx="34822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Varying</a:t>
            </a:r>
            <a:r>
              <a:rPr lang="de-DE" dirty="0"/>
              <a:t> </a:t>
            </a:r>
            <a:r>
              <a:rPr lang="de-DE" dirty="0" err="1"/>
              <a:t>cross</a:t>
            </a:r>
            <a:r>
              <a:rPr lang="de-DE" dirty="0"/>
              <a:t> </a:t>
            </a:r>
            <a:r>
              <a:rPr lang="de-DE" dirty="0" err="1"/>
              <a:t>sections</a:t>
            </a:r>
            <a:r>
              <a:rPr lang="de-DE" dirty="0"/>
              <a:t> </a:t>
            </a:r>
            <a:r>
              <a:rPr lang="de-DE" dirty="0" err="1"/>
              <a:t>alo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ing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difficul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alcult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formation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21303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E36340-85AB-4A9B-881D-1B23E0CC5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e of the ar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AFD883-E4C4-4C03-8731-128208B5E81D}"/>
              </a:ext>
            </a:extLst>
          </p:cNvPr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r>
              <a:rPr lang="de-DE" sz="1800" b="1" dirty="0"/>
              <a:t>Commercial Software</a:t>
            </a:r>
          </a:p>
          <a:p>
            <a:endParaRPr lang="en-GB" sz="1600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52C6295-3635-4DCB-9FB6-046E6CEC166D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r>
              <a:rPr lang="de-DE" sz="1800" b="1" dirty="0" err="1"/>
              <a:t>Calculation</a:t>
            </a:r>
            <a:r>
              <a:rPr lang="de-DE" sz="1800" b="1" dirty="0"/>
              <a:t> </a:t>
            </a:r>
            <a:r>
              <a:rPr lang="de-DE" sz="1800" b="1" dirty="0" err="1"/>
              <a:t>by</a:t>
            </a:r>
            <a:r>
              <a:rPr lang="de-DE" sz="1800" b="1" dirty="0"/>
              <a:t> Hand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3FDBE6A-E72E-4A2D-89AF-8ED9E094C204}"/>
              </a:ext>
            </a:extLst>
          </p:cNvPr>
          <p:cNvSpPr>
            <a:spLocks noGrp="1"/>
          </p:cNvSpPr>
          <p:nvPr>
            <p:ph sz="half" idx="14"/>
          </p:nvPr>
        </p:nvSpPr>
        <p:spPr/>
        <p:txBody>
          <a:bodyPr/>
          <a:lstStyle/>
          <a:p>
            <a:r>
              <a:rPr lang="de-DE" sz="1800" b="1" dirty="0" err="1"/>
              <a:t>Assumptions</a:t>
            </a:r>
            <a:r>
              <a:rPr lang="de-DE" sz="1800" b="1" dirty="0"/>
              <a:t> </a:t>
            </a:r>
            <a:r>
              <a:rPr lang="de-DE" sz="1800" b="1" dirty="0" err="1"/>
              <a:t>for</a:t>
            </a:r>
            <a:r>
              <a:rPr lang="de-DE" sz="1800" b="1" dirty="0"/>
              <a:t> </a:t>
            </a:r>
            <a:r>
              <a:rPr lang="de-DE" sz="1800" b="1" dirty="0" err="1"/>
              <a:t>geometric</a:t>
            </a:r>
            <a:r>
              <a:rPr lang="de-DE" sz="1800" b="1" dirty="0"/>
              <a:t> </a:t>
            </a:r>
            <a:r>
              <a:rPr lang="de-DE" sz="1800" b="1" dirty="0" err="1"/>
              <a:t>parameters</a:t>
            </a:r>
            <a:endParaRPr lang="de-DE" sz="1800" b="1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FE0A590-E5B9-4530-B829-F7C5DD9AC0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706" y="2139471"/>
            <a:ext cx="3346580" cy="110335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E29DB9A-FD71-4D34-96FF-923C76BB2D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796" y="3453966"/>
            <a:ext cx="3667955" cy="118683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E60194B6-7613-4522-8A38-4E2DCB707DAE}"/>
                  </a:ext>
                </a:extLst>
              </p:cNvPr>
              <p:cNvSpPr txBox="1"/>
              <p:nvPr/>
            </p:nvSpPr>
            <p:spPr>
              <a:xfrm>
                <a:off x="4823408" y="1721653"/>
                <a:ext cx="1272592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</m:sSub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∙</m:t>
                          </m:r>
                          <m:sSup>
                            <m:sSup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h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2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E60194B6-7613-4522-8A38-4E2DCB707D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23408" y="1721653"/>
                <a:ext cx="1272592" cy="6463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26" name="Picture 2" descr="Inventor | ECAD, Inc.">
            <a:extLst>
              <a:ext uri="{FF2B5EF4-FFF2-40B4-BE49-F238E27FC236}">
                <a16:creationId xmlns:a16="http://schemas.microsoft.com/office/drawing/2014/main" id="{6E2A7721-11F4-4654-A493-6FBC052367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4964" y="1579814"/>
            <a:ext cx="4656237" cy="930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9F1CE8E-5C32-4C75-8CB5-BD007ADD0A76}"/>
              </a:ext>
            </a:extLst>
          </p:cNvPr>
          <p:cNvGrpSpPr/>
          <p:nvPr/>
        </p:nvGrpSpPr>
        <p:grpSpPr>
          <a:xfrm>
            <a:off x="5825412" y="2631527"/>
            <a:ext cx="541176" cy="577564"/>
            <a:chOff x="5309118" y="3117359"/>
            <a:chExt cx="541176" cy="577564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F129B97-EB33-4936-8E69-005A6A30A548}"/>
                </a:ext>
              </a:extLst>
            </p:cNvPr>
            <p:cNvSpPr/>
            <p:nvPr/>
          </p:nvSpPr>
          <p:spPr>
            <a:xfrm>
              <a:off x="5309118" y="3117359"/>
              <a:ext cx="541176" cy="45719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962737A4-4CB1-4635-A296-857F583C0BAD}"/>
                </a:ext>
              </a:extLst>
            </p:cNvPr>
            <p:cNvSpPr/>
            <p:nvPr/>
          </p:nvSpPr>
          <p:spPr>
            <a:xfrm>
              <a:off x="5309118" y="3649204"/>
              <a:ext cx="541176" cy="45719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9EB30DE7-FF7A-466C-B3E7-FF00AAA44A40}"/>
                </a:ext>
              </a:extLst>
            </p:cNvPr>
            <p:cNvSpPr/>
            <p:nvPr/>
          </p:nvSpPr>
          <p:spPr>
            <a:xfrm rot="16200000">
              <a:off x="5309118" y="3383281"/>
              <a:ext cx="541176" cy="45719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1028" name="Picture 4" descr="Berechnung von Schwerpunkt und Flächenträgheitsmoment | Der  Wirtschaftsingenieur.de">
            <a:extLst>
              <a:ext uri="{FF2B5EF4-FFF2-40B4-BE49-F238E27FC236}">
                <a16:creationId xmlns:a16="http://schemas.microsoft.com/office/drawing/2014/main" id="{3E7EF5B2-5066-4155-A5E8-3D878CAA15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6330" y="3609264"/>
            <a:ext cx="2524764" cy="862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6F13C5A9-7F4F-4F7D-8E57-411D70949AC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76" b="9604"/>
          <a:stretch/>
        </p:blipFill>
        <p:spPr>
          <a:xfrm>
            <a:off x="7840476" y="2649720"/>
            <a:ext cx="3682818" cy="1876151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9D736DCC-28C1-4D93-A827-3E22E156C175}"/>
              </a:ext>
            </a:extLst>
          </p:cNvPr>
          <p:cNvSpPr txBox="1"/>
          <p:nvPr/>
        </p:nvSpPr>
        <p:spPr>
          <a:xfrm>
            <a:off x="668706" y="5660909"/>
            <a:ext cx="25907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dirty="0"/>
              <a:t>Risk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unprecise</a:t>
            </a:r>
            <a:r>
              <a:rPr lang="de-DE" dirty="0"/>
              <a:t> </a:t>
            </a:r>
            <a:r>
              <a:rPr lang="de-DE" dirty="0" err="1"/>
              <a:t>results</a:t>
            </a:r>
            <a:endParaRPr lang="de-DE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3E2AC568-0E75-4DF1-B130-1F2B2601AAE1}"/>
              </a:ext>
            </a:extLst>
          </p:cNvPr>
          <p:cNvSpPr txBox="1"/>
          <p:nvPr/>
        </p:nvSpPr>
        <p:spPr>
          <a:xfrm>
            <a:off x="4486033" y="5660909"/>
            <a:ext cx="24432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dirty="0"/>
              <a:t>High time </a:t>
            </a:r>
            <a:r>
              <a:rPr lang="de-DE" dirty="0" err="1"/>
              <a:t>effort</a:t>
            </a:r>
            <a:r>
              <a:rPr lang="de-DE" dirty="0"/>
              <a:t> </a:t>
            </a:r>
            <a:r>
              <a:rPr lang="de-DE" dirty="0" err="1"/>
              <a:t>needed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dirty="0"/>
              <a:t>Not </a:t>
            </a:r>
            <a:r>
              <a:rPr lang="de-DE" dirty="0" err="1"/>
              <a:t>automated</a:t>
            </a:r>
            <a:endParaRPr lang="de-DE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1AF0C096-9BB3-458F-9B89-0789D85F1B22}"/>
              </a:ext>
            </a:extLst>
          </p:cNvPr>
          <p:cNvSpPr txBox="1"/>
          <p:nvPr/>
        </p:nvSpPr>
        <p:spPr>
          <a:xfrm>
            <a:off x="7996167" y="5660909"/>
            <a:ext cx="3371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dirty="0"/>
              <a:t>Not open source (</a:t>
            </a:r>
            <a:r>
              <a:rPr lang="de-DE" dirty="0" err="1"/>
              <a:t>requires</a:t>
            </a:r>
            <a:r>
              <a:rPr lang="de-DE" dirty="0"/>
              <a:t> </a:t>
            </a:r>
            <a:r>
              <a:rPr lang="de-DE" dirty="0" err="1"/>
              <a:t>license</a:t>
            </a:r>
            <a:r>
              <a:rPr lang="de-DE" dirty="0"/>
              <a:t>)</a:t>
            </a:r>
          </a:p>
        </p:txBody>
      </p:sp>
      <p:sp>
        <p:nvSpPr>
          <p:cNvPr id="6" name="Textfeld 47">
            <a:extLst>
              <a:ext uri="{FF2B5EF4-FFF2-40B4-BE49-F238E27FC236}">
                <a16:creationId xmlns:a16="http://schemas.microsoft.com/office/drawing/2014/main" id="{160D3007-EA2B-FADD-3F7B-1B8EB34FF301}"/>
              </a:ext>
            </a:extLst>
          </p:cNvPr>
          <p:cNvSpPr txBox="1"/>
          <p:nvPr/>
        </p:nvSpPr>
        <p:spPr>
          <a:xfrm>
            <a:off x="992464" y="4793406"/>
            <a:ext cx="256352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Source:</a:t>
            </a:r>
          </a:p>
          <a:p>
            <a:r>
              <a:rPr lang="de-DE" sz="1200" dirty="0"/>
              <a:t>Aerospace 2022, 9, 509.</a:t>
            </a:r>
          </a:p>
          <a:p>
            <a:r>
              <a:rPr lang="de-DE" sz="1200" dirty="0">
                <a:hlinkClick r:id="rId8"/>
              </a:rPr>
              <a:t>https://doi.org/10.3390/aerospace9090509</a:t>
            </a:r>
            <a:endParaRPr lang="de-DE" sz="1200" dirty="0"/>
          </a:p>
          <a:p>
            <a:r>
              <a:rPr lang="de-DE" sz="1200" dirty="0"/>
              <a:t>Filippo </a:t>
            </a:r>
            <a:r>
              <a:rPr lang="de-DE" sz="1200" dirty="0" err="1"/>
              <a:t>Valoriani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8762053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 build="p"/>
      <p:bldP spid="12" grpId="0"/>
      <p:bldP spid="19" grpId="0"/>
      <p:bldP spid="22" grpId="0"/>
      <p:bldP spid="2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E36340-85AB-4A9B-881D-1B23E0CC5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monstration part for the algorithm development and test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AFD883-E4C4-4C03-8731-128208B5E8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6103" y="1268413"/>
            <a:ext cx="7731987" cy="2861135"/>
          </a:xfrm>
        </p:spPr>
        <p:txBody>
          <a:bodyPr/>
          <a:lstStyle/>
          <a:p>
            <a:r>
              <a:rPr lang="en-GB" dirty="0"/>
              <a:t>H</a:t>
            </a:r>
            <a:r>
              <a:rPr lang="en-GB" sz="1600" dirty="0"/>
              <a:t>ollow rectangular bar</a:t>
            </a:r>
          </a:p>
          <a:p>
            <a:r>
              <a:rPr lang="en-GB" dirty="0"/>
              <a:t>Linearly decreasing cross section</a:t>
            </a:r>
          </a:p>
          <a:p>
            <a:r>
              <a:rPr lang="en-GB" dirty="0"/>
              <a:t>Simplified aircraft wing box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38464E-9660-F9ED-9C22-35FB920A22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7407" b="89918" l="9300" r="94748">
                        <a14:foregroundMark x1="9300" y1="83333" x2="9300" y2="83333"/>
                        <a14:foregroundMark x1="12473" y1="90329" x2="12473" y2="90329"/>
                        <a14:foregroundMark x1="91357" y1="8436" x2="91357" y2="8436"/>
                        <a14:foregroundMark x1="94748" y1="7407" x2="94748" y2="740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11460" y="1027779"/>
            <a:ext cx="9774245" cy="5197246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FB6F172-F336-BC80-5E9F-BB02CF1AE15E}"/>
              </a:ext>
            </a:extLst>
          </p:cNvPr>
          <p:cNvGrpSpPr/>
          <p:nvPr/>
        </p:nvGrpSpPr>
        <p:grpSpPr>
          <a:xfrm>
            <a:off x="3291840" y="5214969"/>
            <a:ext cx="248920" cy="212581"/>
            <a:chOff x="3291840" y="5214969"/>
            <a:chExt cx="248920" cy="212581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8518AA5-D83C-2C8D-C8CB-B12A040480FE}"/>
                </a:ext>
              </a:extLst>
            </p:cNvPr>
            <p:cNvSpPr/>
            <p:nvPr/>
          </p:nvSpPr>
          <p:spPr>
            <a:xfrm rot="19634816">
              <a:off x="3291840" y="5257800"/>
              <a:ext cx="248920" cy="129540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AF85A13-BE96-9F3F-8AD1-3B7BCBCBB86E}"/>
                </a:ext>
              </a:extLst>
            </p:cNvPr>
            <p:cNvCxnSpPr>
              <a:cxnSpLocks/>
            </p:cNvCxnSpPr>
            <p:nvPr/>
          </p:nvCxnSpPr>
          <p:spPr>
            <a:xfrm>
              <a:off x="3451860" y="5214969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78E624B-7A7C-DE9E-72D0-0B9F6931B2C0}"/>
                </a:ext>
              </a:extLst>
            </p:cNvPr>
            <p:cNvCxnSpPr>
              <a:cxnSpLocks/>
            </p:cNvCxnSpPr>
            <p:nvPr/>
          </p:nvCxnSpPr>
          <p:spPr>
            <a:xfrm>
              <a:off x="3441072" y="5260197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B48B1CF-E57B-8A60-A6FB-FDE52945C11C}"/>
                </a:ext>
              </a:extLst>
            </p:cNvPr>
            <p:cNvCxnSpPr>
              <a:cxnSpLocks/>
            </p:cNvCxnSpPr>
            <p:nvPr/>
          </p:nvCxnSpPr>
          <p:spPr>
            <a:xfrm>
              <a:off x="3398851" y="5260197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64D3870C-2D22-61AD-7454-C69E699708C7}"/>
                </a:ext>
              </a:extLst>
            </p:cNvPr>
            <p:cNvCxnSpPr>
              <a:cxnSpLocks/>
            </p:cNvCxnSpPr>
            <p:nvPr/>
          </p:nvCxnSpPr>
          <p:spPr>
            <a:xfrm>
              <a:off x="3378207" y="5301503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62C49DB-7527-72E0-0AEC-82FFF0A0B35D}"/>
                </a:ext>
              </a:extLst>
            </p:cNvPr>
            <p:cNvCxnSpPr>
              <a:cxnSpLocks/>
            </p:cNvCxnSpPr>
            <p:nvPr/>
          </p:nvCxnSpPr>
          <p:spPr>
            <a:xfrm>
              <a:off x="3335986" y="5291866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9047A1D-5E4E-43C1-67BE-FFB3C010CD1D}"/>
                </a:ext>
              </a:extLst>
            </p:cNvPr>
            <p:cNvCxnSpPr>
              <a:cxnSpLocks/>
            </p:cNvCxnSpPr>
            <p:nvPr/>
          </p:nvCxnSpPr>
          <p:spPr>
            <a:xfrm>
              <a:off x="3315342" y="5337094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C95B0C7-0708-15DC-E7C9-F2257A168267}"/>
              </a:ext>
            </a:extLst>
          </p:cNvPr>
          <p:cNvGrpSpPr/>
          <p:nvPr/>
        </p:nvGrpSpPr>
        <p:grpSpPr>
          <a:xfrm>
            <a:off x="4770120" y="4452573"/>
            <a:ext cx="248920" cy="212581"/>
            <a:chOff x="3291840" y="5214969"/>
            <a:chExt cx="248920" cy="212581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94D9F28-1BF4-0838-872A-AB43CB4C02BF}"/>
                </a:ext>
              </a:extLst>
            </p:cNvPr>
            <p:cNvSpPr/>
            <p:nvPr/>
          </p:nvSpPr>
          <p:spPr>
            <a:xfrm rot="19634816">
              <a:off x="3291840" y="5257800"/>
              <a:ext cx="248920" cy="129540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BD5CD2D-32F6-D03E-4BF3-66E3CF04BE3E}"/>
                </a:ext>
              </a:extLst>
            </p:cNvPr>
            <p:cNvCxnSpPr>
              <a:cxnSpLocks/>
            </p:cNvCxnSpPr>
            <p:nvPr/>
          </p:nvCxnSpPr>
          <p:spPr>
            <a:xfrm>
              <a:off x="3451860" y="5214969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58524A7C-06A8-C54F-E59E-FED272B99DB6}"/>
                </a:ext>
              </a:extLst>
            </p:cNvPr>
            <p:cNvCxnSpPr>
              <a:cxnSpLocks/>
            </p:cNvCxnSpPr>
            <p:nvPr/>
          </p:nvCxnSpPr>
          <p:spPr>
            <a:xfrm>
              <a:off x="3441072" y="5260197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3E61DFC-AAFF-AB4A-C553-943349015C43}"/>
                </a:ext>
              </a:extLst>
            </p:cNvPr>
            <p:cNvCxnSpPr>
              <a:cxnSpLocks/>
            </p:cNvCxnSpPr>
            <p:nvPr/>
          </p:nvCxnSpPr>
          <p:spPr>
            <a:xfrm>
              <a:off x="3398851" y="5260197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B6CBC24-941E-E68F-989A-A2A01B98A561}"/>
                </a:ext>
              </a:extLst>
            </p:cNvPr>
            <p:cNvCxnSpPr>
              <a:cxnSpLocks/>
            </p:cNvCxnSpPr>
            <p:nvPr/>
          </p:nvCxnSpPr>
          <p:spPr>
            <a:xfrm>
              <a:off x="3378207" y="5301503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9EA69330-715A-C912-6B9D-A8AF9368B32C}"/>
                </a:ext>
              </a:extLst>
            </p:cNvPr>
            <p:cNvCxnSpPr>
              <a:cxnSpLocks/>
            </p:cNvCxnSpPr>
            <p:nvPr/>
          </p:nvCxnSpPr>
          <p:spPr>
            <a:xfrm>
              <a:off x="3335986" y="5291866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6AB0DBC-436D-850D-3A72-880D97091727}"/>
                </a:ext>
              </a:extLst>
            </p:cNvPr>
            <p:cNvCxnSpPr>
              <a:cxnSpLocks/>
            </p:cNvCxnSpPr>
            <p:nvPr/>
          </p:nvCxnSpPr>
          <p:spPr>
            <a:xfrm>
              <a:off x="3315342" y="5337094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CE79257-1F8D-1EBF-C3A5-F2DD7F3DF05E}"/>
              </a:ext>
            </a:extLst>
          </p:cNvPr>
          <p:cNvGrpSpPr/>
          <p:nvPr/>
        </p:nvGrpSpPr>
        <p:grpSpPr>
          <a:xfrm>
            <a:off x="5847080" y="3919077"/>
            <a:ext cx="248920" cy="212581"/>
            <a:chOff x="3291840" y="5214969"/>
            <a:chExt cx="248920" cy="212581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3732C10-0A5C-8FA9-E8B2-7431A8E7C052}"/>
                </a:ext>
              </a:extLst>
            </p:cNvPr>
            <p:cNvSpPr/>
            <p:nvPr/>
          </p:nvSpPr>
          <p:spPr>
            <a:xfrm rot="19634816">
              <a:off x="3291840" y="5257800"/>
              <a:ext cx="248920" cy="129540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A42A2B63-AFA2-412A-D367-F52FC63DCE91}"/>
                </a:ext>
              </a:extLst>
            </p:cNvPr>
            <p:cNvCxnSpPr>
              <a:cxnSpLocks/>
            </p:cNvCxnSpPr>
            <p:nvPr/>
          </p:nvCxnSpPr>
          <p:spPr>
            <a:xfrm>
              <a:off x="3451860" y="5214969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FDBF632-47E4-ECC5-7AC0-B710CB315C18}"/>
                </a:ext>
              </a:extLst>
            </p:cNvPr>
            <p:cNvCxnSpPr>
              <a:cxnSpLocks/>
            </p:cNvCxnSpPr>
            <p:nvPr/>
          </p:nvCxnSpPr>
          <p:spPr>
            <a:xfrm>
              <a:off x="3441072" y="5260197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F264F475-0AFE-CF41-4958-FF746FD060BE}"/>
                </a:ext>
              </a:extLst>
            </p:cNvPr>
            <p:cNvCxnSpPr>
              <a:cxnSpLocks/>
            </p:cNvCxnSpPr>
            <p:nvPr/>
          </p:nvCxnSpPr>
          <p:spPr>
            <a:xfrm>
              <a:off x="3398851" y="5260197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1374BBC3-9FFF-721E-464A-A54DD135534D}"/>
                </a:ext>
              </a:extLst>
            </p:cNvPr>
            <p:cNvCxnSpPr>
              <a:cxnSpLocks/>
            </p:cNvCxnSpPr>
            <p:nvPr/>
          </p:nvCxnSpPr>
          <p:spPr>
            <a:xfrm>
              <a:off x="3378207" y="5301503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B6D6BB92-53D4-B0DA-F701-D4B2B055062C}"/>
                </a:ext>
              </a:extLst>
            </p:cNvPr>
            <p:cNvCxnSpPr>
              <a:cxnSpLocks/>
            </p:cNvCxnSpPr>
            <p:nvPr/>
          </p:nvCxnSpPr>
          <p:spPr>
            <a:xfrm>
              <a:off x="3335986" y="5291866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4C00D6C-635F-5700-D516-2DF267A3E31B}"/>
                </a:ext>
              </a:extLst>
            </p:cNvPr>
            <p:cNvCxnSpPr>
              <a:cxnSpLocks/>
            </p:cNvCxnSpPr>
            <p:nvPr/>
          </p:nvCxnSpPr>
          <p:spPr>
            <a:xfrm>
              <a:off x="3315342" y="5337094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BDBC88E-F37D-2E74-89E9-4ADD89E45A46}"/>
              </a:ext>
            </a:extLst>
          </p:cNvPr>
          <p:cNvGrpSpPr/>
          <p:nvPr/>
        </p:nvGrpSpPr>
        <p:grpSpPr>
          <a:xfrm>
            <a:off x="7406640" y="3104229"/>
            <a:ext cx="248920" cy="212581"/>
            <a:chOff x="3291840" y="5214969"/>
            <a:chExt cx="248920" cy="212581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F5FA5513-DF94-1D1F-EFD2-E741B2DBA775}"/>
                </a:ext>
              </a:extLst>
            </p:cNvPr>
            <p:cNvSpPr/>
            <p:nvPr/>
          </p:nvSpPr>
          <p:spPr>
            <a:xfrm rot="19634816">
              <a:off x="3291840" y="5257800"/>
              <a:ext cx="248920" cy="129540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7E2294FF-CC5B-5913-10C8-094F252D0001}"/>
                </a:ext>
              </a:extLst>
            </p:cNvPr>
            <p:cNvCxnSpPr>
              <a:cxnSpLocks/>
            </p:cNvCxnSpPr>
            <p:nvPr/>
          </p:nvCxnSpPr>
          <p:spPr>
            <a:xfrm>
              <a:off x="3451860" y="5214969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86736444-78C8-4834-5149-3D20D57752D1}"/>
                </a:ext>
              </a:extLst>
            </p:cNvPr>
            <p:cNvCxnSpPr>
              <a:cxnSpLocks/>
            </p:cNvCxnSpPr>
            <p:nvPr/>
          </p:nvCxnSpPr>
          <p:spPr>
            <a:xfrm>
              <a:off x="3441072" y="5260197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6966FDB9-44DB-E819-0F03-F885DE994EEC}"/>
                </a:ext>
              </a:extLst>
            </p:cNvPr>
            <p:cNvCxnSpPr>
              <a:cxnSpLocks/>
            </p:cNvCxnSpPr>
            <p:nvPr/>
          </p:nvCxnSpPr>
          <p:spPr>
            <a:xfrm>
              <a:off x="3398851" y="5260197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B0057046-C240-D458-D0D3-5FF577683DDE}"/>
                </a:ext>
              </a:extLst>
            </p:cNvPr>
            <p:cNvCxnSpPr>
              <a:cxnSpLocks/>
            </p:cNvCxnSpPr>
            <p:nvPr/>
          </p:nvCxnSpPr>
          <p:spPr>
            <a:xfrm>
              <a:off x="3378207" y="5301503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1A8B616E-B28A-77C9-4103-43788DD2B1F7}"/>
                </a:ext>
              </a:extLst>
            </p:cNvPr>
            <p:cNvCxnSpPr>
              <a:cxnSpLocks/>
            </p:cNvCxnSpPr>
            <p:nvPr/>
          </p:nvCxnSpPr>
          <p:spPr>
            <a:xfrm>
              <a:off x="3335986" y="5291866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DC4BC33C-5320-6B29-A20B-0FC355FA3161}"/>
                </a:ext>
              </a:extLst>
            </p:cNvPr>
            <p:cNvCxnSpPr>
              <a:cxnSpLocks/>
            </p:cNvCxnSpPr>
            <p:nvPr/>
          </p:nvCxnSpPr>
          <p:spPr>
            <a:xfrm>
              <a:off x="3315342" y="5337094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2E323F-65B5-EEF6-8822-DEA04AA5D8B7}"/>
              </a:ext>
            </a:extLst>
          </p:cNvPr>
          <p:cNvGrpSpPr/>
          <p:nvPr/>
        </p:nvGrpSpPr>
        <p:grpSpPr>
          <a:xfrm>
            <a:off x="11003280" y="1336389"/>
            <a:ext cx="248920" cy="212581"/>
            <a:chOff x="3291840" y="5214969"/>
            <a:chExt cx="248920" cy="212581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81082022-1007-1F23-03C6-A669199397AA}"/>
                </a:ext>
              </a:extLst>
            </p:cNvPr>
            <p:cNvSpPr/>
            <p:nvPr/>
          </p:nvSpPr>
          <p:spPr>
            <a:xfrm rot="19634816">
              <a:off x="3291840" y="5257800"/>
              <a:ext cx="248920" cy="129540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F241ECC1-68B4-BF5A-1FE2-18F541A016DB}"/>
                </a:ext>
              </a:extLst>
            </p:cNvPr>
            <p:cNvCxnSpPr>
              <a:cxnSpLocks/>
            </p:cNvCxnSpPr>
            <p:nvPr/>
          </p:nvCxnSpPr>
          <p:spPr>
            <a:xfrm>
              <a:off x="3451860" y="5214969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28179A65-1AF1-A161-F2E7-63EA1A4935B2}"/>
                </a:ext>
              </a:extLst>
            </p:cNvPr>
            <p:cNvCxnSpPr>
              <a:cxnSpLocks/>
            </p:cNvCxnSpPr>
            <p:nvPr/>
          </p:nvCxnSpPr>
          <p:spPr>
            <a:xfrm>
              <a:off x="3441072" y="5260197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9DDD2E52-1FB7-8385-0BB0-4626865DF465}"/>
                </a:ext>
              </a:extLst>
            </p:cNvPr>
            <p:cNvCxnSpPr>
              <a:cxnSpLocks/>
            </p:cNvCxnSpPr>
            <p:nvPr/>
          </p:nvCxnSpPr>
          <p:spPr>
            <a:xfrm>
              <a:off x="3398851" y="5260197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53F84ABF-4672-BA40-3161-4A9B783AC393}"/>
                </a:ext>
              </a:extLst>
            </p:cNvPr>
            <p:cNvCxnSpPr>
              <a:cxnSpLocks/>
            </p:cNvCxnSpPr>
            <p:nvPr/>
          </p:nvCxnSpPr>
          <p:spPr>
            <a:xfrm>
              <a:off x="3378207" y="5301503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111003F-6224-8DC0-6F04-D4E08FDC7512}"/>
                </a:ext>
              </a:extLst>
            </p:cNvPr>
            <p:cNvCxnSpPr>
              <a:cxnSpLocks/>
            </p:cNvCxnSpPr>
            <p:nvPr/>
          </p:nvCxnSpPr>
          <p:spPr>
            <a:xfrm>
              <a:off x="3335986" y="5291866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5D562460-164F-544A-40C8-9D431DCAFCB1}"/>
                </a:ext>
              </a:extLst>
            </p:cNvPr>
            <p:cNvCxnSpPr>
              <a:cxnSpLocks/>
            </p:cNvCxnSpPr>
            <p:nvPr/>
          </p:nvCxnSpPr>
          <p:spPr>
            <a:xfrm>
              <a:off x="3315342" y="5337094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BA09356F-D7C5-F9A3-23BC-02423C2C90A4}"/>
              </a:ext>
            </a:extLst>
          </p:cNvPr>
          <p:cNvGrpSpPr/>
          <p:nvPr/>
        </p:nvGrpSpPr>
        <p:grpSpPr>
          <a:xfrm>
            <a:off x="9532132" y="2075529"/>
            <a:ext cx="248920" cy="212581"/>
            <a:chOff x="3291840" y="5214969"/>
            <a:chExt cx="248920" cy="212581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231E2790-2FFB-301D-12C2-0D7747009FE1}"/>
                </a:ext>
              </a:extLst>
            </p:cNvPr>
            <p:cNvSpPr/>
            <p:nvPr/>
          </p:nvSpPr>
          <p:spPr>
            <a:xfrm rot="19634816">
              <a:off x="3291840" y="5257800"/>
              <a:ext cx="248920" cy="129540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81679E9D-D2BF-28CC-DD73-13729FF465FE}"/>
                </a:ext>
              </a:extLst>
            </p:cNvPr>
            <p:cNvCxnSpPr>
              <a:cxnSpLocks/>
            </p:cNvCxnSpPr>
            <p:nvPr/>
          </p:nvCxnSpPr>
          <p:spPr>
            <a:xfrm>
              <a:off x="3451860" y="5214969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7539A24-8090-6FE4-0542-89AAD061E1C5}"/>
                </a:ext>
              </a:extLst>
            </p:cNvPr>
            <p:cNvCxnSpPr>
              <a:cxnSpLocks/>
            </p:cNvCxnSpPr>
            <p:nvPr/>
          </p:nvCxnSpPr>
          <p:spPr>
            <a:xfrm>
              <a:off x="3441072" y="5260197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6DAF44B4-CAE6-A575-0B44-EE0A30B9A936}"/>
                </a:ext>
              </a:extLst>
            </p:cNvPr>
            <p:cNvCxnSpPr>
              <a:cxnSpLocks/>
            </p:cNvCxnSpPr>
            <p:nvPr/>
          </p:nvCxnSpPr>
          <p:spPr>
            <a:xfrm>
              <a:off x="3398851" y="5260197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FCD78614-A717-060F-8FD1-BB44C8893DAA}"/>
                </a:ext>
              </a:extLst>
            </p:cNvPr>
            <p:cNvCxnSpPr>
              <a:cxnSpLocks/>
            </p:cNvCxnSpPr>
            <p:nvPr/>
          </p:nvCxnSpPr>
          <p:spPr>
            <a:xfrm>
              <a:off x="3378207" y="5301503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EB20DECF-D051-CE9A-FE37-16AB0433288D}"/>
                </a:ext>
              </a:extLst>
            </p:cNvPr>
            <p:cNvCxnSpPr>
              <a:cxnSpLocks/>
            </p:cNvCxnSpPr>
            <p:nvPr/>
          </p:nvCxnSpPr>
          <p:spPr>
            <a:xfrm>
              <a:off x="3335986" y="5291866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6D263F09-1827-90F8-E9A9-4D3B4AA21AF7}"/>
                </a:ext>
              </a:extLst>
            </p:cNvPr>
            <p:cNvCxnSpPr>
              <a:cxnSpLocks/>
            </p:cNvCxnSpPr>
            <p:nvPr/>
          </p:nvCxnSpPr>
          <p:spPr>
            <a:xfrm>
              <a:off x="3315342" y="5337094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12302769-635C-510B-76EC-3C91355E408E}"/>
              </a:ext>
            </a:extLst>
          </p:cNvPr>
          <p:cNvGrpSpPr/>
          <p:nvPr/>
        </p:nvGrpSpPr>
        <p:grpSpPr>
          <a:xfrm>
            <a:off x="4000500" y="4879586"/>
            <a:ext cx="248920" cy="212581"/>
            <a:chOff x="3291840" y="5214969"/>
            <a:chExt cx="248920" cy="212581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0B2959E4-699B-45AD-3383-6BC8073087D9}"/>
                </a:ext>
              </a:extLst>
            </p:cNvPr>
            <p:cNvSpPr/>
            <p:nvPr/>
          </p:nvSpPr>
          <p:spPr>
            <a:xfrm rot="19634816">
              <a:off x="3291840" y="5257800"/>
              <a:ext cx="248920" cy="129540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EC2BD61F-9D5C-33B8-8CD7-7E9C2036B5C7}"/>
                </a:ext>
              </a:extLst>
            </p:cNvPr>
            <p:cNvCxnSpPr>
              <a:cxnSpLocks/>
            </p:cNvCxnSpPr>
            <p:nvPr/>
          </p:nvCxnSpPr>
          <p:spPr>
            <a:xfrm>
              <a:off x="3451860" y="5214969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D9FC0D57-C115-BD10-FB31-BCE4518094DF}"/>
                </a:ext>
              </a:extLst>
            </p:cNvPr>
            <p:cNvCxnSpPr>
              <a:cxnSpLocks/>
            </p:cNvCxnSpPr>
            <p:nvPr/>
          </p:nvCxnSpPr>
          <p:spPr>
            <a:xfrm>
              <a:off x="3441072" y="5260197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5CA9E55E-FEEA-084D-4175-2CD4F0327A21}"/>
                </a:ext>
              </a:extLst>
            </p:cNvPr>
            <p:cNvCxnSpPr>
              <a:cxnSpLocks/>
            </p:cNvCxnSpPr>
            <p:nvPr/>
          </p:nvCxnSpPr>
          <p:spPr>
            <a:xfrm>
              <a:off x="3398851" y="5260197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540C054F-B14F-227C-6C9C-F6D5A07C7C8F}"/>
                </a:ext>
              </a:extLst>
            </p:cNvPr>
            <p:cNvCxnSpPr>
              <a:cxnSpLocks/>
            </p:cNvCxnSpPr>
            <p:nvPr/>
          </p:nvCxnSpPr>
          <p:spPr>
            <a:xfrm>
              <a:off x="3378207" y="5301503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8F43704D-B9A6-BBF8-3588-CED5BA5A4CBF}"/>
                </a:ext>
              </a:extLst>
            </p:cNvPr>
            <p:cNvCxnSpPr>
              <a:cxnSpLocks/>
            </p:cNvCxnSpPr>
            <p:nvPr/>
          </p:nvCxnSpPr>
          <p:spPr>
            <a:xfrm>
              <a:off x="3335986" y="5291866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1F2F6C3E-0CCC-EDE0-A173-1EAA22D7F4AF}"/>
                </a:ext>
              </a:extLst>
            </p:cNvPr>
            <p:cNvCxnSpPr>
              <a:cxnSpLocks/>
            </p:cNvCxnSpPr>
            <p:nvPr/>
          </p:nvCxnSpPr>
          <p:spPr>
            <a:xfrm>
              <a:off x="3315342" y="5337094"/>
              <a:ext cx="62865" cy="904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559159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E36340-85AB-4A9B-881D-1B23E0CC5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veloped Algorithm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7B55C42-DB12-351F-B64F-3A13083547D1}"/>
              </a:ext>
            </a:extLst>
          </p:cNvPr>
          <p:cNvSpPr/>
          <p:nvPr/>
        </p:nvSpPr>
        <p:spPr>
          <a:xfrm>
            <a:off x="1198316" y="3055374"/>
            <a:ext cx="2320413" cy="786581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Reading the 3D model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B1D14AE-1606-42D6-79CC-FD2558021364}"/>
              </a:ext>
            </a:extLst>
          </p:cNvPr>
          <p:cNvSpPr/>
          <p:nvPr/>
        </p:nvSpPr>
        <p:spPr>
          <a:xfrm>
            <a:off x="4114338" y="3055374"/>
            <a:ext cx="1976284" cy="786581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Converting of geometry to point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2B17A33-427F-4E51-9C33-A392C314CF43}"/>
              </a:ext>
            </a:extLst>
          </p:cNvPr>
          <p:cNvSpPr/>
          <p:nvPr/>
        </p:nvSpPr>
        <p:spPr>
          <a:xfrm>
            <a:off x="6686230" y="3055374"/>
            <a:ext cx="1769807" cy="786581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riangularizati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EA6AD1B-69CA-B418-A9AD-07B7D158C4B2}"/>
              </a:ext>
            </a:extLst>
          </p:cNvPr>
          <p:cNvSpPr/>
          <p:nvPr/>
        </p:nvSpPr>
        <p:spPr>
          <a:xfrm>
            <a:off x="9051645" y="2268793"/>
            <a:ext cx="1769807" cy="786581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Calculation of area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367F68A-DFF8-6ED0-F66C-C4969F4AD01C}"/>
              </a:ext>
            </a:extLst>
          </p:cNvPr>
          <p:cNvSpPr/>
          <p:nvPr/>
        </p:nvSpPr>
        <p:spPr>
          <a:xfrm>
            <a:off x="9051646" y="3822290"/>
            <a:ext cx="1769807" cy="786581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Calculation of moments of inertia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25E1E64-82A9-FA85-0374-98C892E16768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>
            <a:off x="3518729" y="3448665"/>
            <a:ext cx="595609" cy="0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584047D-FD60-418C-76A6-4F94E148F2D1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>
            <a:off x="6090622" y="3448665"/>
            <a:ext cx="595608" cy="0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A1579C2-3BE3-3489-1238-9959B3D69507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 flipV="1">
            <a:off x="8456037" y="2662084"/>
            <a:ext cx="595608" cy="786581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2DB5E49-2180-E381-96DB-AAD5B8A2D017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>
            <a:off x="8456037" y="3448665"/>
            <a:ext cx="595609" cy="766916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61D6F35-40F3-8D18-1145-9FC779EEB192}"/>
              </a:ext>
            </a:extLst>
          </p:cNvPr>
          <p:cNvGrpSpPr/>
          <p:nvPr/>
        </p:nvGrpSpPr>
        <p:grpSpPr>
          <a:xfrm rot="16200000">
            <a:off x="797028" y="3163162"/>
            <a:ext cx="231568" cy="571006"/>
            <a:chOff x="486923" y="3105653"/>
            <a:chExt cx="231568" cy="571006"/>
          </a:xfrm>
        </p:grpSpPr>
        <p:sp>
          <p:nvSpPr>
            <p:cNvPr id="9" name="Ellipse 4">
              <a:extLst>
                <a:ext uri="{FF2B5EF4-FFF2-40B4-BE49-F238E27FC236}">
                  <a16:creationId xmlns:a16="http://schemas.microsoft.com/office/drawing/2014/main" id="{1B5ED09F-37C0-632F-7A9F-4755807E88CE}"/>
                </a:ext>
              </a:extLst>
            </p:cNvPr>
            <p:cNvSpPr/>
            <p:nvPr/>
          </p:nvSpPr>
          <p:spPr>
            <a:xfrm>
              <a:off x="486923" y="3105653"/>
              <a:ext cx="231568" cy="23156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+mj-lt"/>
                <a:cs typeface="Times New Roman" panose="02020603050405020304" pitchFamily="18" charset="0"/>
              </a:endParaRPr>
            </a:p>
          </p:txBody>
        </p:sp>
        <p:cxnSp>
          <p:nvCxnSpPr>
            <p:cNvPr id="11" name="Gerade Verbindung mit Pfeil 7">
              <a:extLst>
                <a:ext uri="{FF2B5EF4-FFF2-40B4-BE49-F238E27FC236}">
                  <a16:creationId xmlns:a16="http://schemas.microsoft.com/office/drawing/2014/main" id="{13C09D0A-EA29-AFDD-3860-77FCAED2B148}"/>
                </a:ext>
              </a:extLst>
            </p:cNvPr>
            <p:cNvCxnSpPr>
              <a:cxnSpLocks/>
            </p:cNvCxnSpPr>
            <p:nvPr/>
          </p:nvCxnSpPr>
          <p:spPr>
            <a:xfrm>
              <a:off x="602707" y="3337221"/>
              <a:ext cx="2342" cy="339438"/>
            </a:xfrm>
            <a:prstGeom prst="straightConnector1">
              <a:avLst/>
            </a:prstGeom>
            <a:ln w="190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cxnSp>
        <p:nvCxnSpPr>
          <p:cNvPr id="17" name="Gerade Verbindung mit Pfeil 31">
            <a:extLst>
              <a:ext uri="{FF2B5EF4-FFF2-40B4-BE49-F238E27FC236}">
                <a16:creationId xmlns:a16="http://schemas.microsoft.com/office/drawing/2014/main" id="{522123B7-6C0E-47A6-2F6E-EC137DC99801}"/>
              </a:ext>
            </a:extLst>
          </p:cNvPr>
          <p:cNvCxnSpPr>
            <a:cxnSpLocks/>
            <a:stCxn id="7" idx="3"/>
            <a:endCxn id="19" idx="1"/>
          </p:cNvCxnSpPr>
          <p:nvPr/>
        </p:nvCxnSpPr>
        <p:spPr>
          <a:xfrm>
            <a:off x="10821452" y="2662084"/>
            <a:ext cx="800802" cy="579092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8" name="Gruppieren 32">
            <a:extLst>
              <a:ext uri="{FF2B5EF4-FFF2-40B4-BE49-F238E27FC236}">
                <a16:creationId xmlns:a16="http://schemas.microsoft.com/office/drawing/2014/main" id="{7EE5EC83-66FF-6256-6BE4-ECEBAD4198F4}"/>
              </a:ext>
            </a:extLst>
          </p:cNvPr>
          <p:cNvGrpSpPr/>
          <p:nvPr/>
        </p:nvGrpSpPr>
        <p:grpSpPr>
          <a:xfrm>
            <a:off x="11588342" y="3207264"/>
            <a:ext cx="231568" cy="231568"/>
            <a:chOff x="4498993" y="2701853"/>
            <a:chExt cx="231568" cy="231568"/>
          </a:xfrm>
        </p:grpSpPr>
        <p:sp>
          <p:nvSpPr>
            <p:cNvPr id="19" name="Ellipse 53">
              <a:extLst>
                <a:ext uri="{FF2B5EF4-FFF2-40B4-BE49-F238E27FC236}">
                  <a16:creationId xmlns:a16="http://schemas.microsoft.com/office/drawing/2014/main" id="{93702A6E-6437-5B89-A526-0D1B79D66492}"/>
                </a:ext>
              </a:extLst>
            </p:cNvPr>
            <p:cNvSpPr/>
            <p:nvPr/>
          </p:nvSpPr>
          <p:spPr>
            <a:xfrm>
              <a:off x="4498993" y="2701853"/>
              <a:ext cx="231568" cy="23156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20" name="Ellipse 54">
              <a:extLst>
                <a:ext uri="{FF2B5EF4-FFF2-40B4-BE49-F238E27FC236}">
                  <a16:creationId xmlns:a16="http://schemas.microsoft.com/office/drawing/2014/main" id="{8929479D-7C12-7F2C-969D-8F50E9212ABE}"/>
                </a:ext>
              </a:extLst>
            </p:cNvPr>
            <p:cNvSpPr/>
            <p:nvPr/>
          </p:nvSpPr>
          <p:spPr>
            <a:xfrm>
              <a:off x="4533447" y="2734725"/>
              <a:ext cx="162659" cy="162659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+mj-lt"/>
                <a:cs typeface="Times New Roman" panose="02020603050405020304" pitchFamily="18" charset="0"/>
              </a:endParaRPr>
            </a:p>
          </p:txBody>
        </p:sp>
      </p:grpSp>
      <p:cxnSp>
        <p:nvCxnSpPr>
          <p:cNvPr id="24" name="Gerade Verbindung mit Pfeil 31">
            <a:extLst>
              <a:ext uri="{FF2B5EF4-FFF2-40B4-BE49-F238E27FC236}">
                <a16:creationId xmlns:a16="http://schemas.microsoft.com/office/drawing/2014/main" id="{F76F7E9B-4EF4-FA46-4E54-974A3FF94497}"/>
              </a:ext>
            </a:extLst>
          </p:cNvPr>
          <p:cNvCxnSpPr>
            <a:cxnSpLocks/>
            <a:stCxn id="8" idx="3"/>
            <a:endCxn id="19" idx="3"/>
          </p:cNvCxnSpPr>
          <p:nvPr/>
        </p:nvCxnSpPr>
        <p:spPr>
          <a:xfrm flipV="1">
            <a:off x="10821453" y="3404920"/>
            <a:ext cx="800801" cy="810661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615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Group 87">
            <a:extLst>
              <a:ext uri="{FF2B5EF4-FFF2-40B4-BE49-F238E27FC236}">
                <a16:creationId xmlns:a16="http://schemas.microsoft.com/office/drawing/2014/main" id="{DCC72AA5-714F-9A42-DA22-4D0302938B5E}"/>
              </a:ext>
            </a:extLst>
          </p:cNvPr>
          <p:cNvGrpSpPr/>
          <p:nvPr/>
        </p:nvGrpSpPr>
        <p:grpSpPr>
          <a:xfrm>
            <a:off x="1535202" y="930946"/>
            <a:ext cx="8692508" cy="5347178"/>
            <a:chOff x="1535202" y="930946"/>
            <a:chExt cx="8692508" cy="534717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E4EF051-D752-6CF9-C5A4-BECD47D9FD79}"/>
                </a:ext>
              </a:extLst>
            </p:cNvPr>
            <p:cNvSpPr/>
            <p:nvPr/>
          </p:nvSpPr>
          <p:spPr>
            <a:xfrm>
              <a:off x="1535202" y="930946"/>
              <a:ext cx="8692508" cy="5347178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A3B6FAA-967F-D343-81C0-3D058641C5BB}"/>
                </a:ext>
              </a:extLst>
            </p:cNvPr>
            <p:cNvSpPr/>
            <p:nvPr/>
          </p:nvSpPr>
          <p:spPr>
            <a:xfrm>
              <a:off x="2048840" y="1517464"/>
              <a:ext cx="7572326" cy="4266973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BCE36340-85AB-4A9B-881D-1B23E0CC5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veloped Algorithm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7A7855-2074-06B1-7B46-6899E6385D12}"/>
              </a:ext>
            </a:extLst>
          </p:cNvPr>
          <p:cNvCxnSpPr>
            <a:cxnSpLocks/>
          </p:cNvCxnSpPr>
          <p:nvPr/>
        </p:nvCxnSpPr>
        <p:spPr>
          <a:xfrm flipV="1">
            <a:off x="5898357" y="612436"/>
            <a:ext cx="294561" cy="3019598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82E9A23-B0C5-A008-F60A-FC1042B806B1}"/>
              </a:ext>
            </a:extLst>
          </p:cNvPr>
          <p:cNvCxnSpPr>
            <a:cxnSpLocks/>
          </p:cNvCxnSpPr>
          <p:nvPr/>
        </p:nvCxnSpPr>
        <p:spPr>
          <a:xfrm flipV="1">
            <a:off x="5898357" y="728575"/>
            <a:ext cx="1205643" cy="2903459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C28C8F0-F69E-25AF-6DCF-3D3C0C8D90AC}"/>
              </a:ext>
            </a:extLst>
          </p:cNvPr>
          <p:cNvCxnSpPr>
            <a:cxnSpLocks/>
          </p:cNvCxnSpPr>
          <p:nvPr/>
        </p:nvCxnSpPr>
        <p:spPr>
          <a:xfrm flipV="1">
            <a:off x="5898357" y="728575"/>
            <a:ext cx="2349633" cy="288638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F0C49D6B-6F32-D243-6F78-73DCA0A3CE64}"/>
              </a:ext>
            </a:extLst>
          </p:cNvPr>
          <p:cNvSpPr/>
          <p:nvPr/>
        </p:nvSpPr>
        <p:spPr>
          <a:xfrm>
            <a:off x="6108362" y="920438"/>
            <a:ext cx="92906" cy="78095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9855F845-25E4-F673-DAA1-6976AB521247}"/>
              </a:ext>
            </a:extLst>
          </p:cNvPr>
          <p:cNvSpPr/>
          <p:nvPr/>
        </p:nvSpPr>
        <p:spPr>
          <a:xfrm>
            <a:off x="6057111" y="1442314"/>
            <a:ext cx="92906" cy="78095"/>
          </a:xfrm>
          <a:prstGeom prst="ellipse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ADDC20D0-984E-0E8B-84DE-84BAD0E7E347}"/>
              </a:ext>
            </a:extLst>
          </p:cNvPr>
          <p:cNvSpPr/>
          <p:nvPr/>
        </p:nvSpPr>
        <p:spPr>
          <a:xfrm>
            <a:off x="6743292" y="1442314"/>
            <a:ext cx="92906" cy="78095"/>
          </a:xfrm>
          <a:prstGeom prst="ellipse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349BEDD8-624B-0EAD-C03D-D4571BCBB1F3}"/>
              </a:ext>
            </a:extLst>
          </p:cNvPr>
          <p:cNvSpPr/>
          <p:nvPr/>
        </p:nvSpPr>
        <p:spPr>
          <a:xfrm>
            <a:off x="8000998" y="924707"/>
            <a:ext cx="92906" cy="78095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F42A9DF5-299E-0839-0754-2E8E88CF3BBA}"/>
              </a:ext>
            </a:extLst>
          </p:cNvPr>
          <p:cNvSpPr/>
          <p:nvPr/>
        </p:nvSpPr>
        <p:spPr>
          <a:xfrm>
            <a:off x="7583088" y="1442314"/>
            <a:ext cx="92906" cy="78095"/>
          </a:xfrm>
          <a:prstGeom prst="ellipse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48D34963-C41C-B6F6-2302-C195B7579F0B}"/>
              </a:ext>
            </a:extLst>
          </p:cNvPr>
          <p:cNvSpPr/>
          <p:nvPr/>
        </p:nvSpPr>
        <p:spPr>
          <a:xfrm>
            <a:off x="6956464" y="920331"/>
            <a:ext cx="92906" cy="78095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1A834C34-D833-6553-71FB-5ACE4E1A1B99}"/>
              </a:ext>
            </a:extLst>
          </p:cNvPr>
          <p:cNvGrpSpPr/>
          <p:nvPr/>
        </p:nvGrpSpPr>
        <p:grpSpPr>
          <a:xfrm>
            <a:off x="1114858" y="558939"/>
            <a:ext cx="9541940" cy="6091192"/>
            <a:chOff x="1110486" y="565089"/>
            <a:chExt cx="9541940" cy="609119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7A89A-8725-AE91-F35F-D3671E425A3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98357" y="1087711"/>
              <a:ext cx="4754069" cy="2496976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A09633C-AE3E-7D2A-AD18-CA08A6AE13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98357" y="1846026"/>
              <a:ext cx="4699267" cy="1738661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CFF85400-4CA9-DC0F-9E53-BBA4B49B030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98357" y="2980084"/>
              <a:ext cx="4754069" cy="604603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6265365-383F-25F3-2939-A87AD8A053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98357" y="674609"/>
              <a:ext cx="4329353" cy="2910078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44FAD83-FFCD-1B46-2C44-290A61CC557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98357" y="565089"/>
              <a:ext cx="3425121" cy="3019598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7948A58-F633-0D43-E9AB-36CDB2964300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5574235" y="3619605"/>
              <a:ext cx="294561" cy="3019598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ECB251B-BBF4-CDBD-DC58-BF2999FB738E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4663153" y="3619605"/>
              <a:ext cx="1205643" cy="2903459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020BCCC-140A-1EB2-3A62-C6BF79051B61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1114727" y="3636683"/>
              <a:ext cx="4754069" cy="2496976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7EDC730E-C217-69AE-E826-C0EEF998982E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1169530" y="3636683"/>
              <a:ext cx="4699266" cy="1738661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C883774F-C4B6-BD23-7863-E5A75DE57604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1114727" y="3636683"/>
              <a:ext cx="4754069" cy="604603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B2FC870-37EF-3DAA-8763-DD6394FF82E2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1539443" y="3636683"/>
              <a:ext cx="4329353" cy="2910078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F0C9AE96-C742-0EC5-70F0-4E46668B50AA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2443675" y="3636683"/>
              <a:ext cx="3425121" cy="3019598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C5FB8057-6971-C5C6-1909-06D8185DA92A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3519163" y="3636683"/>
              <a:ext cx="2349633" cy="2886381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A62452F-2518-294A-7ACF-EC0E7A64B8AA}"/>
                </a:ext>
              </a:extLst>
            </p:cNvPr>
            <p:cNvCxnSpPr>
              <a:cxnSpLocks/>
            </p:cNvCxnSpPr>
            <p:nvPr/>
          </p:nvCxnSpPr>
          <p:spPr>
            <a:xfrm>
              <a:off x="5883043" y="3592027"/>
              <a:ext cx="294561" cy="3030037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A100075D-2283-C4F4-A077-538150AA894A}"/>
                </a:ext>
              </a:extLst>
            </p:cNvPr>
            <p:cNvCxnSpPr>
              <a:cxnSpLocks/>
            </p:cNvCxnSpPr>
            <p:nvPr/>
          </p:nvCxnSpPr>
          <p:spPr>
            <a:xfrm>
              <a:off x="5883043" y="3592027"/>
              <a:ext cx="1205643" cy="2913497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A6C5E2AD-2CE4-E8C6-E8F5-A5C0BF65259B}"/>
                </a:ext>
              </a:extLst>
            </p:cNvPr>
            <p:cNvCxnSpPr>
              <a:cxnSpLocks/>
            </p:cNvCxnSpPr>
            <p:nvPr/>
          </p:nvCxnSpPr>
          <p:spPr>
            <a:xfrm>
              <a:off x="5883043" y="3609164"/>
              <a:ext cx="4754070" cy="2505609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EF9D9E7F-45A5-D8CB-1667-953CF70C8D5F}"/>
                </a:ext>
              </a:extLst>
            </p:cNvPr>
            <p:cNvCxnSpPr>
              <a:cxnSpLocks/>
            </p:cNvCxnSpPr>
            <p:nvPr/>
          </p:nvCxnSpPr>
          <p:spPr>
            <a:xfrm>
              <a:off x="5883043" y="3609164"/>
              <a:ext cx="4699267" cy="1744671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1EFF5CC7-50B0-F799-C829-F22C1A546882}"/>
                </a:ext>
              </a:extLst>
            </p:cNvPr>
            <p:cNvCxnSpPr>
              <a:cxnSpLocks/>
            </p:cNvCxnSpPr>
            <p:nvPr/>
          </p:nvCxnSpPr>
          <p:spPr>
            <a:xfrm>
              <a:off x="5883043" y="3609164"/>
              <a:ext cx="4754070" cy="606693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2771B35-8DDD-0B76-FF04-7AB47AEC7B0B}"/>
                </a:ext>
              </a:extLst>
            </p:cNvPr>
            <p:cNvCxnSpPr>
              <a:cxnSpLocks/>
            </p:cNvCxnSpPr>
            <p:nvPr/>
          </p:nvCxnSpPr>
          <p:spPr>
            <a:xfrm>
              <a:off x="5883043" y="3609164"/>
              <a:ext cx="4329354" cy="2920138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F65242B4-0409-6F89-BF0D-357D8FFA498E}"/>
                </a:ext>
              </a:extLst>
            </p:cNvPr>
            <p:cNvCxnSpPr>
              <a:cxnSpLocks/>
            </p:cNvCxnSpPr>
            <p:nvPr/>
          </p:nvCxnSpPr>
          <p:spPr>
            <a:xfrm>
              <a:off x="5883043" y="3609164"/>
              <a:ext cx="3425122" cy="3030037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0631CE3E-8296-1D33-B9CF-FAF13607491C}"/>
                </a:ext>
              </a:extLst>
            </p:cNvPr>
            <p:cNvCxnSpPr>
              <a:cxnSpLocks/>
            </p:cNvCxnSpPr>
            <p:nvPr/>
          </p:nvCxnSpPr>
          <p:spPr>
            <a:xfrm>
              <a:off x="5883043" y="3609164"/>
              <a:ext cx="2349633" cy="2896360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64090E81-1176-B718-FEB6-4FF0A3E1FFE9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5569994" y="621990"/>
              <a:ext cx="294561" cy="3030037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2507D4F3-ACF6-2ABF-8FBA-98359F6CAF27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4658912" y="738530"/>
              <a:ext cx="1205643" cy="2913497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E9EAD2B9-08B6-2491-DC37-FC3082F69674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1110486" y="1129281"/>
              <a:ext cx="4754069" cy="2505609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26C8097F-9CCB-2033-AF00-D22DA7C72192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1165289" y="1890219"/>
              <a:ext cx="4699266" cy="1744671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840F2CF4-11AC-9FAE-515F-6ACEDF20837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1110486" y="3028197"/>
              <a:ext cx="4754069" cy="606693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A0AFED8C-6428-5F92-47B5-613330968008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1535202" y="714752"/>
              <a:ext cx="4329353" cy="2920138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19D43A5C-F771-826B-85D7-2CA921CB2851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2439435" y="604853"/>
              <a:ext cx="3425120" cy="3030037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9668A593-8FB8-B5E5-CD09-EE412CC73431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3514922" y="738530"/>
              <a:ext cx="2349633" cy="2896360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16775578-429C-8927-C629-21380C8AD042}"/>
              </a:ext>
            </a:extLst>
          </p:cNvPr>
          <p:cNvGrpSpPr/>
          <p:nvPr/>
        </p:nvGrpSpPr>
        <p:grpSpPr>
          <a:xfrm>
            <a:off x="2048840" y="1439369"/>
            <a:ext cx="7665231" cy="4403170"/>
            <a:chOff x="2048840" y="1439369"/>
            <a:chExt cx="7665231" cy="440317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FD43C48C-6160-5B53-1D28-D68708E5C9C7}"/>
                </a:ext>
              </a:extLst>
            </p:cNvPr>
            <p:cNvSpPr/>
            <p:nvPr/>
          </p:nvSpPr>
          <p:spPr>
            <a:xfrm>
              <a:off x="8293588" y="1439369"/>
              <a:ext cx="92906" cy="7809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84D82AA-AB60-6F61-9021-9F216A565DBD}"/>
                </a:ext>
              </a:extLst>
            </p:cNvPr>
            <p:cNvSpPr/>
            <p:nvPr/>
          </p:nvSpPr>
          <p:spPr>
            <a:xfrm>
              <a:off x="9029177" y="1439369"/>
              <a:ext cx="92906" cy="7809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856E9DCA-93D3-E520-4554-598CECA9A0DB}"/>
                </a:ext>
              </a:extLst>
            </p:cNvPr>
            <p:cNvSpPr/>
            <p:nvPr/>
          </p:nvSpPr>
          <p:spPr>
            <a:xfrm>
              <a:off x="9621165" y="1591650"/>
              <a:ext cx="92906" cy="7809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D356F355-50DF-1CD6-109B-5ECD91FB3481}"/>
                </a:ext>
              </a:extLst>
            </p:cNvPr>
            <p:cNvSpPr/>
            <p:nvPr/>
          </p:nvSpPr>
          <p:spPr>
            <a:xfrm>
              <a:off x="9621165" y="2180304"/>
              <a:ext cx="92906" cy="7809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55E96889-C92D-B429-1A62-040EE064D6BD}"/>
                </a:ext>
              </a:extLst>
            </p:cNvPr>
            <p:cNvSpPr/>
            <p:nvPr/>
          </p:nvSpPr>
          <p:spPr>
            <a:xfrm>
              <a:off x="9621165" y="3097584"/>
              <a:ext cx="92906" cy="7809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FCE63A0B-5C5B-C0BC-295B-CB59AF65AF68}"/>
                </a:ext>
              </a:extLst>
            </p:cNvPr>
            <p:cNvSpPr/>
            <p:nvPr/>
          </p:nvSpPr>
          <p:spPr>
            <a:xfrm rot="10800000">
              <a:off x="3409557" y="5764444"/>
              <a:ext cx="92906" cy="7809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581D45CF-2438-DE15-9511-C223E53E1994}"/>
                </a:ext>
              </a:extLst>
            </p:cNvPr>
            <p:cNvSpPr/>
            <p:nvPr/>
          </p:nvSpPr>
          <p:spPr>
            <a:xfrm rot="10800000">
              <a:off x="2645069" y="5764444"/>
              <a:ext cx="92906" cy="7809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F1E2C80E-C26F-B9E2-0A70-181BEC04D60B}"/>
                </a:ext>
              </a:extLst>
            </p:cNvPr>
            <p:cNvSpPr/>
            <p:nvPr/>
          </p:nvSpPr>
          <p:spPr>
            <a:xfrm rot="10800000">
              <a:off x="2053081" y="5612164"/>
              <a:ext cx="92906" cy="7809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350EF9B9-2E62-1BB9-EAA0-59B768304330}"/>
                </a:ext>
              </a:extLst>
            </p:cNvPr>
            <p:cNvSpPr/>
            <p:nvPr/>
          </p:nvSpPr>
          <p:spPr>
            <a:xfrm rot="10800000">
              <a:off x="2053081" y="5023509"/>
              <a:ext cx="92906" cy="7809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CC84BAC8-BFC0-1A46-6F6E-32655DF66DA7}"/>
                </a:ext>
              </a:extLst>
            </p:cNvPr>
            <p:cNvSpPr/>
            <p:nvPr/>
          </p:nvSpPr>
          <p:spPr>
            <a:xfrm rot="10800000">
              <a:off x="2053081" y="4106229"/>
              <a:ext cx="92906" cy="7809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FCE2E2A6-443A-C655-9EDB-410EA669CDBE}"/>
                </a:ext>
              </a:extLst>
            </p:cNvPr>
            <p:cNvSpPr/>
            <p:nvPr/>
          </p:nvSpPr>
          <p:spPr>
            <a:xfrm rot="10800000">
              <a:off x="5617135" y="5761500"/>
              <a:ext cx="92906" cy="7809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6ED41CEA-6099-4AEA-7070-6ED232129B4E}"/>
                </a:ext>
              </a:extLst>
            </p:cNvPr>
            <p:cNvSpPr/>
            <p:nvPr/>
          </p:nvSpPr>
          <p:spPr>
            <a:xfrm rot="10800000">
              <a:off x="4930955" y="5761499"/>
              <a:ext cx="92906" cy="7809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A72BBB03-8B32-3061-422D-6C0084189394}"/>
                </a:ext>
              </a:extLst>
            </p:cNvPr>
            <p:cNvSpPr/>
            <p:nvPr/>
          </p:nvSpPr>
          <p:spPr>
            <a:xfrm rot="10800000">
              <a:off x="4091158" y="5761500"/>
              <a:ext cx="92906" cy="7809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8E6B9373-70B7-E7BE-88CA-ECA2E12CB95C}"/>
                </a:ext>
              </a:extLst>
            </p:cNvPr>
            <p:cNvSpPr/>
            <p:nvPr/>
          </p:nvSpPr>
          <p:spPr>
            <a:xfrm flipV="1">
              <a:off x="8249377" y="5744177"/>
              <a:ext cx="92906" cy="7836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A3909CE7-67EF-6768-723D-13FE82254656}"/>
                </a:ext>
              </a:extLst>
            </p:cNvPr>
            <p:cNvSpPr/>
            <p:nvPr/>
          </p:nvSpPr>
          <p:spPr>
            <a:xfrm flipV="1">
              <a:off x="9013864" y="5744177"/>
              <a:ext cx="92906" cy="7836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161A3BBE-034C-5B4A-5BF9-FBA3B29AA78E}"/>
                </a:ext>
              </a:extLst>
            </p:cNvPr>
            <p:cNvSpPr/>
            <p:nvPr/>
          </p:nvSpPr>
          <p:spPr>
            <a:xfrm flipV="1">
              <a:off x="9605852" y="5591370"/>
              <a:ext cx="92906" cy="7836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F6396EC2-EB36-D8A8-A614-F8471D65ADD4}"/>
                </a:ext>
              </a:extLst>
            </p:cNvPr>
            <p:cNvSpPr/>
            <p:nvPr/>
          </p:nvSpPr>
          <p:spPr>
            <a:xfrm flipV="1">
              <a:off x="9605852" y="5000680"/>
              <a:ext cx="92906" cy="7836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4370C6E7-BB55-5FF5-417C-C33148FF12DF}"/>
                </a:ext>
              </a:extLst>
            </p:cNvPr>
            <p:cNvSpPr/>
            <p:nvPr/>
          </p:nvSpPr>
          <p:spPr>
            <a:xfrm flipV="1">
              <a:off x="9605852" y="4080229"/>
              <a:ext cx="92906" cy="7836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E0C6FBE4-12B1-2523-5E90-0273E9C0062C}"/>
                </a:ext>
              </a:extLst>
            </p:cNvPr>
            <p:cNvSpPr/>
            <p:nvPr/>
          </p:nvSpPr>
          <p:spPr>
            <a:xfrm flipV="1">
              <a:off x="6041798" y="5741222"/>
              <a:ext cx="92906" cy="7836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2BD41B8E-C662-F069-4EDF-0214295DD94D}"/>
                </a:ext>
              </a:extLst>
            </p:cNvPr>
            <p:cNvSpPr/>
            <p:nvPr/>
          </p:nvSpPr>
          <p:spPr>
            <a:xfrm flipV="1">
              <a:off x="6727978" y="5741221"/>
              <a:ext cx="92906" cy="7836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9B31C1F9-AAB7-56DE-EE1E-227BD7264A01}"/>
                </a:ext>
              </a:extLst>
            </p:cNvPr>
            <p:cNvSpPr/>
            <p:nvPr/>
          </p:nvSpPr>
          <p:spPr>
            <a:xfrm flipV="1">
              <a:off x="7567775" y="5741222"/>
              <a:ext cx="92906" cy="7836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ED5E6C67-895D-964E-7E53-1D0538ACCC75}"/>
                </a:ext>
              </a:extLst>
            </p:cNvPr>
            <p:cNvSpPr/>
            <p:nvPr/>
          </p:nvSpPr>
          <p:spPr>
            <a:xfrm rot="10800000" flipV="1">
              <a:off x="3405316" y="1451782"/>
              <a:ext cx="92906" cy="7836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1BB837BB-F9EE-C3CC-9229-0764BF433D7F}"/>
                </a:ext>
              </a:extLst>
            </p:cNvPr>
            <p:cNvSpPr/>
            <p:nvPr/>
          </p:nvSpPr>
          <p:spPr>
            <a:xfrm rot="10800000" flipV="1">
              <a:off x="2640828" y="1451782"/>
              <a:ext cx="92906" cy="7836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562BF19F-2E89-BB46-3A49-9ABFB880D34B}"/>
                </a:ext>
              </a:extLst>
            </p:cNvPr>
            <p:cNvSpPr/>
            <p:nvPr/>
          </p:nvSpPr>
          <p:spPr>
            <a:xfrm rot="10800000" flipV="1">
              <a:off x="2048840" y="1604589"/>
              <a:ext cx="92906" cy="7836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C83D564F-C6A2-AF7A-D24F-EBD05CD85A34}"/>
                </a:ext>
              </a:extLst>
            </p:cNvPr>
            <p:cNvSpPr/>
            <p:nvPr/>
          </p:nvSpPr>
          <p:spPr>
            <a:xfrm rot="10800000" flipV="1">
              <a:off x="2048840" y="2195279"/>
              <a:ext cx="92906" cy="7836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0300502E-9675-1CCC-77CF-B25A82C47578}"/>
                </a:ext>
              </a:extLst>
            </p:cNvPr>
            <p:cNvSpPr/>
            <p:nvPr/>
          </p:nvSpPr>
          <p:spPr>
            <a:xfrm rot="10800000" flipV="1">
              <a:off x="2048840" y="3115730"/>
              <a:ext cx="92906" cy="7836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7E0AF29E-605B-FC24-02D7-404634DFFC74}"/>
                </a:ext>
              </a:extLst>
            </p:cNvPr>
            <p:cNvSpPr/>
            <p:nvPr/>
          </p:nvSpPr>
          <p:spPr>
            <a:xfrm rot="10800000" flipV="1">
              <a:off x="5612894" y="1454737"/>
              <a:ext cx="92906" cy="7836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F68865E4-9216-1F2D-FF05-7DA1EA47F298}"/>
                </a:ext>
              </a:extLst>
            </p:cNvPr>
            <p:cNvSpPr/>
            <p:nvPr/>
          </p:nvSpPr>
          <p:spPr>
            <a:xfrm rot="10800000" flipV="1">
              <a:off x="4926715" y="1454737"/>
              <a:ext cx="92906" cy="7836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D2674A77-789F-9A82-CDEC-D596118E4E14}"/>
                </a:ext>
              </a:extLst>
            </p:cNvPr>
            <p:cNvSpPr/>
            <p:nvPr/>
          </p:nvSpPr>
          <p:spPr>
            <a:xfrm rot="10800000" flipV="1">
              <a:off x="4086917" y="1454737"/>
              <a:ext cx="92906" cy="78365"/>
            </a:xfrm>
            <a:prstGeom prst="ellipse">
              <a:avLst/>
            </a:prstGeom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586F6947-6D92-9F82-F3DE-DF10A02CBF27}"/>
              </a:ext>
            </a:extLst>
          </p:cNvPr>
          <p:cNvGrpSpPr/>
          <p:nvPr/>
        </p:nvGrpSpPr>
        <p:grpSpPr>
          <a:xfrm>
            <a:off x="1480398" y="925690"/>
            <a:ext cx="8802115" cy="5435888"/>
            <a:chOff x="1480398" y="925690"/>
            <a:chExt cx="8802115" cy="5435888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C2EAC53A-D8F2-4AE5-2C80-244EE518D5B7}"/>
                </a:ext>
              </a:extLst>
            </p:cNvPr>
            <p:cNvSpPr/>
            <p:nvPr/>
          </p:nvSpPr>
          <p:spPr>
            <a:xfrm>
              <a:off x="8865028" y="925690"/>
              <a:ext cx="92906" cy="7809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4C04833E-7B43-B0D1-52B4-979B30BC1E5B}"/>
                </a:ext>
              </a:extLst>
            </p:cNvPr>
            <p:cNvSpPr/>
            <p:nvPr/>
          </p:nvSpPr>
          <p:spPr>
            <a:xfrm>
              <a:off x="9793963" y="925690"/>
              <a:ext cx="92906" cy="7809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21DEADA8-459C-EAB2-CF52-E0D0AAB3AD5F}"/>
                </a:ext>
              </a:extLst>
            </p:cNvPr>
            <p:cNvSpPr/>
            <p:nvPr/>
          </p:nvSpPr>
          <p:spPr>
            <a:xfrm>
              <a:off x="10181257" y="1308221"/>
              <a:ext cx="92906" cy="7809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F63AFF1-B2EA-4B16-AA72-6098CC4D27E1}"/>
                </a:ext>
              </a:extLst>
            </p:cNvPr>
            <p:cNvSpPr/>
            <p:nvPr/>
          </p:nvSpPr>
          <p:spPr>
            <a:xfrm>
              <a:off x="10181257" y="1976380"/>
              <a:ext cx="92906" cy="7809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47D9AEB3-F60F-62C1-7C79-A116721B15FD}"/>
                </a:ext>
              </a:extLst>
            </p:cNvPr>
            <p:cNvSpPr/>
            <p:nvPr/>
          </p:nvSpPr>
          <p:spPr>
            <a:xfrm>
              <a:off x="10189607" y="3019490"/>
              <a:ext cx="92906" cy="7809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7D4A2576-3F02-84F8-13ED-3BAA97C21AE1}"/>
                </a:ext>
              </a:extLst>
            </p:cNvPr>
            <p:cNvSpPr/>
            <p:nvPr/>
          </p:nvSpPr>
          <p:spPr>
            <a:xfrm rot="10800000">
              <a:off x="2809219" y="6278124"/>
              <a:ext cx="92906" cy="7809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D386C377-7C60-B6F9-D10C-975591E4AA00}"/>
                </a:ext>
              </a:extLst>
            </p:cNvPr>
            <p:cNvSpPr/>
            <p:nvPr/>
          </p:nvSpPr>
          <p:spPr>
            <a:xfrm rot="10800000">
              <a:off x="1880284" y="6278124"/>
              <a:ext cx="92906" cy="7809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D0051CFA-33EF-019B-5EC5-A75D33D8B205}"/>
                </a:ext>
              </a:extLst>
            </p:cNvPr>
            <p:cNvSpPr/>
            <p:nvPr/>
          </p:nvSpPr>
          <p:spPr>
            <a:xfrm rot="10800000">
              <a:off x="1492990" y="5895593"/>
              <a:ext cx="92906" cy="7809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05E087E1-5CAC-CB09-6049-CE15FFEBBBB0}"/>
                </a:ext>
              </a:extLst>
            </p:cNvPr>
            <p:cNvSpPr/>
            <p:nvPr/>
          </p:nvSpPr>
          <p:spPr>
            <a:xfrm rot="10800000">
              <a:off x="1492990" y="5227434"/>
              <a:ext cx="92906" cy="7809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78045F8A-ED40-9557-46B8-5F499DE3A812}"/>
                </a:ext>
              </a:extLst>
            </p:cNvPr>
            <p:cNvSpPr/>
            <p:nvPr/>
          </p:nvSpPr>
          <p:spPr>
            <a:xfrm rot="10800000">
              <a:off x="1484639" y="4184324"/>
              <a:ext cx="92906" cy="7809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745A299F-17AC-107D-22C7-61EA6E3A6A00}"/>
                </a:ext>
              </a:extLst>
            </p:cNvPr>
            <p:cNvSpPr/>
            <p:nvPr/>
          </p:nvSpPr>
          <p:spPr>
            <a:xfrm rot="10800000">
              <a:off x="5565885" y="6283375"/>
              <a:ext cx="92906" cy="7809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8C6C2312-28B6-6640-1201-D2936F0AA10F}"/>
                </a:ext>
              </a:extLst>
            </p:cNvPr>
            <p:cNvSpPr/>
            <p:nvPr/>
          </p:nvSpPr>
          <p:spPr>
            <a:xfrm rot="10800000">
              <a:off x="3673248" y="6279106"/>
              <a:ext cx="92906" cy="7809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DBA6CB56-5FAE-19FB-5ADC-B8A2D17C9236}"/>
                </a:ext>
              </a:extLst>
            </p:cNvPr>
            <p:cNvSpPr/>
            <p:nvPr/>
          </p:nvSpPr>
          <p:spPr>
            <a:xfrm rot="10800000">
              <a:off x="4717782" y="6283483"/>
              <a:ext cx="92906" cy="7809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C0A93BC7-707A-6CEE-5908-2FCCB91EA872}"/>
                </a:ext>
              </a:extLst>
            </p:cNvPr>
            <p:cNvSpPr/>
            <p:nvPr/>
          </p:nvSpPr>
          <p:spPr>
            <a:xfrm flipV="1">
              <a:off x="8849714" y="6259632"/>
              <a:ext cx="92906" cy="7836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E0C99A45-6988-9611-FC22-D5C7117EF937}"/>
                </a:ext>
              </a:extLst>
            </p:cNvPr>
            <p:cNvSpPr/>
            <p:nvPr/>
          </p:nvSpPr>
          <p:spPr>
            <a:xfrm flipV="1">
              <a:off x="9778650" y="6259632"/>
              <a:ext cx="92906" cy="7836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AD8BC7ED-5671-F0F4-9C21-6FC0F04FFD53}"/>
                </a:ext>
              </a:extLst>
            </p:cNvPr>
            <p:cNvSpPr/>
            <p:nvPr/>
          </p:nvSpPr>
          <p:spPr>
            <a:xfrm flipV="1">
              <a:off x="10165944" y="5875778"/>
              <a:ext cx="92906" cy="7836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C2C1633D-CFB9-AB71-494F-25B7FAA6E3D3}"/>
                </a:ext>
              </a:extLst>
            </p:cNvPr>
            <p:cNvSpPr/>
            <p:nvPr/>
          </p:nvSpPr>
          <p:spPr>
            <a:xfrm flipV="1">
              <a:off x="10165944" y="5205310"/>
              <a:ext cx="92906" cy="7836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4A7BC006-659E-486E-4FA2-7A450A7BC076}"/>
                </a:ext>
              </a:extLst>
            </p:cNvPr>
            <p:cNvSpPr/>
            <p:nvPr/>
          </p:nvSpPr>
          <p:spPr>
            <a:xfrm flipV="1">
              <a:off x="10174294" y="4158593"/>
              <a:ext cx="92906" cy="7836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1ECCDCB9-566A-D101-8F46-71FC60B22970}"/>
                </a:ext>
              </a:extLst>
            </p:cNvPr>
            <p:cNvSpPr/>
            <p:nvPr/>
          </p:nvSpPr>
          <p:spPr>
            <a:xfrm flipV="1">
              <a:off x="6093048" y="6264901"/>
              <a:ext cx="92906" cy="7836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E2B8E181-6CAF-6F23-D0B9-C6E52086E207}"/>
                </a:ext>
              </a:extLst>
            </p:cNvPr>
            <p:cNvSpPr/>
            <p:nvPr/>
          </p:nvSpPr>
          <p:spPr>
            <a:xfrm flipV="1">
              <a:off x="7985685" y="6260618"/>
              <a:ext cx="92906" cy="7836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FB84F5D5-2068-6478-C1F6-3CAD3303CEAA}"/>
                </a:ext>
              </a:extLst>
            </p:cNvPr>
            <p:cNvSpPr/>
            <p:nvPr/>
          </p:nvSpPr>
          <p:spPr>
            <a:xfrm flipV="1">
              <a:off x="6941151" y="6265010"/>
              <a:ext cx="92906" cy="7836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3DDFF04E-C593-0C70-D759-7B4DF5D61B61}"/>
                </a:ext>
              </a:extLst>
            </p:cNvPr>
            <p:cNvSpPr/>
            <p:nvPr/>
          </p:nvSpPr>
          <p:spPr>
            <a:xfrm rot="10800000" flipV="1">
              <a:off x="2804978" y="936327"/>
              <a:ext cx="92906" cy="7836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7" name="Oval 166">
              <a:extLst>
                <a:ext uri="{FF2B5EF4-FFF2-40B4-BE49-F238E27FC236}">
                  <a16:creationId xmlns:a16="http://schemas.microsoft.com/office/drawing/2014/main" id="{54A29B82-561B-8FCF-3350-D1EC767A2A5D}"/>
                </a:ext>
              </a:extLst>
            </p:cNvPr>
            <p:cNvSpPr/>
            <p:nvPr/>
          </p:nvSpPr>
          <p:spPr>
            <a:xfrm rot="10800000" flipV="1">
              <a:off x="1876043" y="936327"/>
              <a:ext cx="92906" cy="7836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DDE51552-B8C0-28A8-51CF-DEA35094CBD4}"/>
                </a:ext>
              </a:extLst>
            </p:cNvPr>
            <p:cNvSpPr/>
            <p:nvPr/>
          </p:nvSpPr>
          <p:spPr>
            <a:xfrm rot="10800000" flipV="1">
              <a:off x="1488749" y="1320180"/>
              <a:ext cx="92906" cy="7836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73915BAF-1E4A-45FE-334D-53DA754FEA54}"/>
                </a:ext>
              </a:extLst>
            </p:cNvPr>
            <p:cNvSpPr/>
            <p:nvPr/>
          </p:nvSpPr>
          <p:spPr>
            <a:xfrm rot="10800000" flipV="1">
              <a:off x="1488749" y="1990649"/>
              <a:ext cx="92906" cy="7836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695D8A67-ADF7-5940-A8B2-C59813F51604}"/>
                </a:ext>
              </a:extLst>
            </p:cNvPr>
            <p:cNvSpPr/>
            <p:nvPr/>
          </p:nvSpPr>
          <p:spPr>
            <a:xfrm rot="10800000" flipV="1">
              <a:off x="1480398" y="3037365"/>
              <a:ext cx="92906" cy="7836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id="{34D3F172-F555-78E0-7E4E-EDD6A53FF166}"/>
                </a:ext>
              </a:extLst>
            </p:cNvPr>
            <p:cNvSpPr/>
            <p:nvPr/>
          </p:nvSpPr>
          <p:spPr>
            <a:xfrm rot="10800000" flipV="1">
              <a:off x="5561644" y="931057"/>
              <a:ext cx="92906" cy="7836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23372334-8BC5-3F29-D600-DA6EEDD24048}"/>
                </a:ext>
              </a:extLst>
            </p:cNvPr>
            <p:cNvSpPr/>
            <p:nvPr/>
          </p:nvSpPr>
          <p:spPr>
            <a:xfrm rot="10800000" flipV="1">
              <a:off x="3669008" y="935341"/>
              <a:ext cx="92906" cy="7836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54604122-382E-BD10-5157-F4F5BDD65F90}"/>
                </a:ext>
              </a:extLst>
            </p:cNvPr>
            <p:cNvSpPr/>
            <p:nvPr/>
          </p:nvSpPr>
          <p:spPr>
            <a:xfrm rot="10800000" flipV="1">
              <a:off x="4713532" y="930946"/>
              <a:ext cx="92906" cy="78365"/>
            </a:xfrm>
            <a:prstGeom prst="ellipse">
              <a:avLst/>
            </a:prstGeom>
          </p:spPr>
          <p:style>
            <a:lnRef idx="2">
              <a:schemeClr val="accent5">
                <a:shade val="15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94127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 animBg="1"/>
      <p:bldP spid="62" grpId="0" animBg="1"/>
      <p:bldP spid="64" grpId="0" animBg="1"/>
      <p:bldP spid="65" grpId="0" animBg="1"/>
      <p:bldP spid="6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E36340-85AB-4A9B-881D-1B23E0CC5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veloped Algorithm</a:t>
            </a:r>
          </a:p>
        </p:txBody>
      </p:sp>
      <p:sp>
        <p:nvSpPr>
          <p:cNvPr id="3" name="L-Shape 2">
            <a:extLst>
              <a:ext uri="{FF2B5EF4-FFF2-40B4-BE49-F238E27FC236}">
                <a16:creationId xmlns:a16="http://schemas.microsoft.com/office/drawing/2014/main" id="{449FAD02-33D1-FA5F-FB03-8C29199CBA11}"/>
              </a:ext>
            </a:extLst>
          </p:cNvPr>
          <p:cNvSpPr/>
          <p:nvPr/>
        </p:nvSpPr>
        <p:spPr>
          <a:xfrm flipH="1" flipV="1">
            <a:off x="5075286" y="2113936"/>
            <a:ext cx="6213987" cy="3834579"/>
          </a:xfrm>
          <a:prstGeom prst="corner">
            <a:avLst>
              <a:gd name="adj1" fmla="val 19231"/>
              <a:gd name="adj2" fmla="val 2076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4E37758-11C5-6027-84AA-6E413B67E2D5}"/>
              </a:ext>
            </a:extLst>
          </p:cNvPr>
          <p:cNvCxnSpPr>
            <a:cxnSpLocks/>
          </p:cNvCxnSpPr>
          <p:nvPr/>
        </p:nvCxnSpPr>
        <p:spPr>
          <a:xfrm flipV="1">
            <a:off x="5075286" y="1602658"/>
            <a:ext cx="422788" cy="4345857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8ED019C-0E94-4EAE-B530-644242BF2CE0}"/>
              </a:ext>
            </a:extLst>
          </p:cNvPr>
          <p:cNvCxnSpPr>
            <a:cxnSpLocks/>
          </p:cNvCxnSpPr>
          <p:nvPr/>
        </p:nvCxnSpPr>
        <p:spPr>
          <a:xfrm flipV="1">
            <a:off x="5075286" y="1769807"/>
            <a:ext cx="1730478" cy="4178708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55B0994-81DD-4F90-4DA8-E900D1CC01A7}"/>
              </a:ext>
            </a:extLst>
          </p:cNvPr>
          <p:cNvCxnSpPr>
            <a:cxnSpLocks/>
          </p:cNvCxnSpPr>
          <p:nvPr/>
        </p:nvCxnSpPr>
        <p:spPr>
          <a:xfrm flipV="1">
            <a:off x="5075286" y="2330245"/>
            <a:ext cx="6823588" cy="359369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BC9072D-0EE6-F605-928C-C2DF88DACE4A}"/>
              </a:ext>
            </a:extLst>
          </p:cNvPr>
          <p:cNvCxnSpPr>
            <a:cxnSpLocks/>
          </p:cNvCxnSpPr>
          <p:nvPr/>
        </p:nvCxnSpPr>
        <p:spPr>
          <a:xfrm flipV="1">
            <a:off x="5075286" y="3421626"/>
            <a:ext cx="6744929" cy="2502310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62E346A-6168-F252-1597-5DCFDFE98D4B}"/>
              </a:ext>
            </a:extLst>
          </p:cNvPr>
          <p:cNvCxnSpPr>
            <a:cxnSpLocks/>
          </p:cNvCxnSpPr>
          <p:nvPr/>
        </p:nvCxnSpPr>
        <p:spPr>
          <a:xfrm flipV="1">
            <a:off x="5075286" y="5053781"/>
            <a:ext cx="6823588" cy="870155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A211C0B-2792-9EC3-A6C3-647B184C8D6D}"/>
              </a:ext>
            </a:extLst>
          </p:cNvPr>
          <p:cNvCxnSpPr>
            <a:cxnSpLocks/>
          </p:cNvCxnSpPr>
          <p:nvPr/>
        </p:nvCxnSpPr>
        <p:spPr>
          <a:xfrm flipV="1">
            <a:off x="5075286" y="1735702"/>
            <a:ext cx="6213987" cy="4188234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5D661C1-9D88-ECFE-C4D3-34DE403609F5}"/>
              </a:ext>
            </a:extLst>
          </p:cNvPr>
          <p:cNvCxnSpPr>
            <a:cxnSpLocks/>
          </p:cNvCxnSpPr>
          <p:nvPr/>
        </p:nvCxnSpPr>
        <p:spPr>
          <a:xfrm flipV="1">
            <a:off x="5075286" y="1578079"/>
            <a:ext cx="4916129" cy="4345857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5EC07C3-AA89-48B7-1688-8AC4AEA2A6BA}"/>
              </a:ext>
            </a:extLst>
          </p:cNvPr>
          <p:cNvCxnSpPr>
            <a:cxnSpLocks/>
          </p:cNvCxnSpPr>
          <p:nvPr/>
        </p:nvCxnSpPr>
        <p:spPr>
          <a:xfrm flipV="1">
            <a:off x="5075286" y="1769807"/>
            <a:ext cx="3372464" cy="4154129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id="{29E26BF2-CC4D-BBDE-C04E-4B702CDFD483}"/>
              </a:ext>
            </a:extLst>
          </p:cNvPr>
          <p:cNvSpPr/>
          <p:nvPr/>
        </p:nvSpPr>
        <p:spPr>
          <a:xfrm>
            <a:off x="8471720" y="2792794"/>
            <a:ext cx="133350" cy="112395"/>
          </a:xfrm>
          <a:prstGeom prst="ellipse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3250FC97-4D9A-E657-81C0-73AB628AF9AD}"/>
              </a:ext>
            </a:extLst>
          </p:cNvPr>
          <p:cNvSpPr/>
          <p:nvPr/>
        </p:nvSpPr>
        <p:spPr>
          <a:xfrm>
            <a:off x="9569000" y="2792794"/>
            <a:ext cx="133350" cy="112395"/>
          </a:xfrm>
          <a:prstGeom prst="ellipse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11CCAA7-B2E6-1988-6BAF-F075347C7ACA}"/>
              </a:ext>
            </a:extLst>
          </p:cNvPr>
          <p:cNvSpPr/>
          <p:nvPr/>
        </p:nvSpPr>
        <p:spPr>
          <a:xfrm>
            <a:off x="10418690" y="3011959"/>
            <a:ext cx="133350" cy="112395"/>
          </a:xfrm>
          <a:prstGeom prst="ellipse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060AA0F3-4C53-6E7D-7B46-C693FF5A4B76}"/>
              </a:ext>
            </a:extLst>
          </p:cNvPr>
          <p:cNvSpPr/>
          <p:nvPr/>
        </p:nvSpPr>
        <p:spPr>
          <a:xfrm>
            <a:off x="10418690" y="3859161"/>
            <a:ext cx="133350" cy="112395"/>
          </a:xfrm>
          <a:prstGeom prst="ellipse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32C20AE7-D971-4684-3BDD-7FDE3D1130FA}"/>
              </a:ext>
            </a:extLst>
          </p:cNvPr>
          <p:cNvSpPr/>
          <p:nvPr/>
        </p:nvSpPr>
        <p:spPr>
          <a:xfrm>
            <a:off x="10418690" y="5179326"/>
            <a:ext cx="133350" cy="112395"/>
          </a:xfrm>
          <a:prstGeom prst="ellipse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14EED084-BFB2-EB6C-12CE-680519C05B4D}"/>
              </a:ext>
            </a:extLst>
          </p:cNvPr>
          <p:cNvSpPr/>
          <p:nvPr/>
        </p:nvSpPr>
        <p:spPr>
          <a:xfrm>
            <a:off x="9333394" y="2053498"/>
            <a:ext cx="133350" cy="112395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EEAB9630-E635-6A78-8860-02A93FD99AD7}"/>
              </a:ext>
            </a:extLst>
          </p:cNvPr>
          <p:cNvSpPr/>
          <p:nvPr/>
        </p:nvSpPr>
        <p:spPr>
          <a:xfrm>
            <a:off x="10666709" y="2053498"/>
            <a:ext cx="133350" cy="112395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4CB0D5-BF52-34CD-B35C-7FC0A1580E38}"/>
              </a:ext>
            </a:extLst>
          </p:cNvPr>
          <p:cNvSpPr/>
          <p:nvPr/>
        </p:nvSpPr>
        <p:spPr>
          <a:xfrm>
            <a:off x="11222598" y="2604043"/>
            <a:ext cx="133350" cy="112395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BA18E8E-242C-6337-E512-4E77ADED5C0B}"/>
              </a:ext>
            </a:extLst>
          </p:cNvPr>
          <p:cNvSpPr/>
          <p:nvPr/>
        </p:nvSpPr>
        <p:spPr>
          <a:xfrm>
            <a:off x="11222598" y="3565669"/>
            <a:ext cx="133350" cy="112395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259E1801-AA93-C565-E399-03C81EF949FE}"/>
              </a:ext>
            </a:extLst>
          </p:cNvPr>
          <p:cNvSpPr/>
          <p:nvPr/>
        </p:nvSpPr>
        <p:spPr>
          <a:xfrm>
            <a:off x="11234583" y="5066931"/>
            <a:ext cx="133350" cy="112395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9BC46491-1B04-69DB-64B8-3FC344835225}"/>
              </a:ext>
            </a:extLst>
          </p:cNvPr>
          <p:cNvSpPr/>
          <p:nvPr/>
        </p:nvSpPr>
        <p:spPr>
          <a:xfrm>
            <a:off x="5376709" y="2101982"/>
            <a:ext cx="972920" cy="761541"/>
          </a:xfrm>
          <a:prstGeom prst="triangle">
            <a:avLst>
              <a:gd name="adj" fmla="val 7446"/>
            </a:avLst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Isosceles Triangle 56">
            <a:extLst>
              <a:ext uri="{FF2B5EF4-FFF2-40B4-BE49-F238E27FC236}">
                <a16:creationId xmlns:a16="http://schemas.microsoft.com/office/drawing/2014/main" id="{274A8142-B894-E5AE-AAAC-2182714FDDE6}"/>
              </a:ext>
            </a:extLst>
          </p:cNvPr>
          <p:cNvSpPr/>
          <p:nvPr/>
        </p:nvSpPr>
        <p:spPr>
          <a:xfrm flipV="1">
            <a:off x="5448463" y="2104517"/>
            <a:ext cx="1223745" cy="770959"/>
          </a:xfrm>
          <a:prstGeom prst="triangle">
            <a:avLst>
              <a:gd name="adj" fmla="val 74073"/>
            </a:avLst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958C7F2-3CBD-B0A3-7E4D-7FEE93F2B252}"/>
              </a:ext>
            </a:extLst>
          </p:cNvPr>
          <p:cNvSpPr/>
          <p:nvPr/>
        </p:nvSpPr>
        <p:spPr>
          <a:xfrm>
            <a:off x="5376709" y="2045940"/>
            <a:ext cx="133350" cy="112395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993FC34-82BD-0CA7-6F4B-3501DE6F7BD3}"/>
              </a:ext>
            </a:extLst>
          </p:cNvPr>
          <p:cNvSpPr/>
          <p:nvPr/>
        </p:nvSpPr>
        <p:spPr>
          <a:xfrm>
            <a:off x="5303149" y="2797032"/>
            <a:ext cx="133350" cy="112395"/>
          </a:xfrm>
          <a:prstGeom prst="ellipse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0F0AC45-6EEF-A83E-7CA1-5AE36E7AB944}"/>
              </a:ext>
            </a:extLst>
          </p:cNvPr>
          <p:cNvSpPr/>
          <p:nvPr/>
        </p:nvSpPr>
        <p:spPr>
          <a:xfrm>
            <a:off x="6288034" y="2797033"/>
            <a:ext cx="133350" cy="112395"/>
          </a:xfrm>
          <a:prstGeom prst="ellipse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0ABD5B8C-F2C3-7B69-3B57-883FB5244AE0}"/>
              </a:ext>
            </a:extLst>
          </p:cNvPr>
          <p:cNvSpPr/>
          <p:nvPr/>
        </p:nvSpPr>
        <p:spPr>
          <a:xfrm>
            <a:off x="8093239" y="2052084"/>
            <a:ext cx="133350" cy="112395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4188EBEB-5BF9-7B13-C039-C1880F5F97EF}"/>
              </a:ext>
            </a:extLst>
          </p:cNvPr>
          <p:cNvSpPr/>
          <p:nvPr/>
        </p:nvSpPr>
        <p:spPr>
          <a:xfrm>
            <a:off x="7493407" y="2797032"/>
            <a:ext cx="133350" cy="112395"/>
          </a:xfrm>
          <a:prstGeom prst="ellipse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0707181A-2C90-8DCB-0A21-C02FDA667F7C}"/>
              </a:ext>
            </a:extLst>
          </p:cNvPr>
          <p:cNvSpPr/>
          <p:nvPr/>
        </p:nvSpPr>
        <p:spPr>
          <a:xfrm>
            <a:off x="6594004" y="2045785"/>
            <a:ext cx="133350" cy="112395"/>
          </a:xfrm>
          <a:prstGeom prst="ellipse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D436EF60-2172-E431-D50D-82909717EA39}"/>
              </a:ext>
            </a:extLst>
          </p:cNvPr>
          <p:cNvGrpSpPr/>
          <p:nvPr/>
        </p:nvGrpSpPr>
        <p:grpSpPr>
          <a:xfrm>
            <a:off x="6374816" y="2093027"/>
            <a:ext cx="2174453" cy="779913"/>
            <a:chOff x="6374816" y="2093027"/>
            <a:chExt cx="2174453" cy="779913"/>
          </a:xfrm>
        </p:grpSpPr>
        <p:sp>
          <p:nvSpPr>
            <p:cNvPr id="58" name="Isosceles Triangle 57">
              <a:extLst>
                <a:ext uri="{FF2B5EF4-FFF2-40B4-BE49-F238E27FC236}">
                  <a16:creationId xmlns:a16="http://schemas.microsoft.com/office/drawing/2014/main" id="{97D04308-8509-A06D-06B2-4D103D20304D}"/>
                </a:ext>
              </a:extLst>
            </p:cNvPr>
            <p:cNvSpPr/>
            <p:nvPr/>
          </p:nvSpPr>
          <p:spPr>
            <a:xfrm>
              <a:off x="6374816" y="2094851"/>
              <a:ext cx="1193752" cy="761541"/>
            </a:xfrm>
            <a:prstGeom prst="triangle">
              <a:avLst>
                <a:gd name="adj" fmla="val 25319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Isosceles Triangle 58">
              <a:extLst>
                <a:ext uri="{FF2B5EF4-FFF2-40B4-BE49-F238E27FC236}">
                  <a16:creationId xmlns:a16="http://schemas.microsoft.com/office/drawing/2014/main" id="{08AFCF9C-455A-0369-9C89-03E4F771F730}"/>
                </a:ext>
              </a:extLst>
            </p:cNvPr>
            <p:cNvSpPr/>
            <p:nvPr/>
          </p:nvSpPr>
          <p:spPr>
            <a:xfrm flipV="1">
              <a:off x="6674268" y="2111397"/>
              <a:ext cx="1488921" cy="761543"/>
            </a:xfrm>
            <a:prstGeom prst="triangle">
              <a:avLst>
                <a:gd name="adj" fmla="val 59573"/>
              </a:avLst>
            </a:prstGeom>
            <a:solidFill>
              <a:schemeClr val="accent5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Isosceles Triangle 59">
              <a:extLst>
                <a:ext uri="{FF2B5EF4-FFF2-40B4-BE49-F238E27FC236}">
                  <a16:creationId xmlns:a16="http://schemas.microsoft.com/office/drawing/2014/main" id="{84F76E0A-88F8-F02A-4C73-75C7E67C1509}"/>
                </a:ext>
              </a:extLst>
            </p:cNvPr>
            <p:cNvSpPr/>
            <p:nvPr/>
          </p:nvSpPr>
          <p:spPr>
            <a:xfrm>
              <a:off x="7562079" y="2093027"/>
              <a:ext cx="987190" cy="770245"/>
            </a:xfrm>
            <a:prstGeom prst="triangle">
              <a:avLst>
                <a:gd name="adj" fmla="val 63913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6FEA364F-13CA-876B-1B7E-7E16557357AE}"/>
              </a:ext>
            </a:extLst>
          </p:cNvPr>
          <p:cNvGrpSpPr/>
          <p:nvPr/>
        </p:nvGrpSpPr>
        <p:grpSpPr>
          <a:xfrm>
            <a:off x="392731" y="1464849"/>
            <a:ext cx="2711309" cy="1730791"/>
            <a:chOff x="336692" y="2111396"/>
            <a:chExt cx="2711309" cy="1730791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8536381-FA30-6781-D71E-BBDBA7715903}"/>
                </a:ext>
              </a:extLst>
            </p:cNvPr>
            <p:cNvGrpSpPr/>
            <p:nvPr/>
          </p:nvGrpSpPr>
          <p:grpSpPr>
            <a:xfrm>
              <a:off x="1697149" y="2111396"/>
              <a:ext cx="1350852" cy="862861"/>
              <a:chOff x="2644877" y="1243782"/>
              <a:chExt cx="6823588" cy="4370436"/>
            </a:xfrm>
          </p:grpSpPr>
          <p:sp>
            <p:nvSpPr>
              <p:cNvPr id="9" name="L-Shape 8">
                <a:extLst>
                  <a:ext uri="{FF2B5EF4-FFF2-40B4-BE49-F238E27FC236}">
                    <a16:creationId xmlns:a16="http://schemas.microsoft.com/office/drawing/2014/main" id="{9ACFB637-4905-1946-C328-625B1F71E180}"/>
                  </a:ext>
                </a:extLst>
              </p:cNvPr>
              <p:cNvSpPr/>
              <p:nvPr/>
            </p:nvSpPr>
            <p:spPr>
              <a:xfrm flipH="1" flipV="1">
                <a:off x="2644877" y="1779639"/>
                <a:ext cx="6213987" cy="3834579"/>
              </a:xfrm>
              <a:prstGeom prst="corner">
                <a:avLst>
                  <a:gd name="adj1" fmla="val 19231"/>
                  <a:gd name="adj2" fmla="val 20769"/>
                </a:avLst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A57A7855-2074-06B1-7B46-6899E6385D1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268361"/>
                <a:ext cx="422788" cy="4345857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082E9A23-B0C5-A008-F60A-FC1042B806B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35510"/>
                <a:ext cx="1730478" cy="4178708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ABC7A89A-8725-AE91-F35F-D3671E425A3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995948"/>
                <a:ext cx="6823588" cy="3593691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FA09633C-AE3E-7D2A-AD18-CA08A6AE138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3087329"/>
                <a:ext cx="6744929" cy="2502310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CFF85400-4CA9-DC0F-9E53-BBA4B49B030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4719484"/>
                <a:ext cx="6823588" cy="870155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B6265365-383F-25F3-2939-A87AD8A053D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01405"/>
                <a:ext cx="6213987" cy="4188234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F44FAD83-FFCD-1B46-2C44-290A61CC557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243782"/>
                <a:ext cx="4916129" cy="4345857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3C28C8F0-F69E-25AF-6DCF-3D3C0C8D90A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35510"/>
                <a:ext cx="3372464" cy="4154129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FD43C48C-6160-5B53-1D28-D68708E5C9C7}"/>
                  </a:ext>
                </a:extLst>
              </p:cNvPr>
              <p:cNvSpPr/>
              <p:nvPr/>
            </p:nvSpPr>
            <p:spPr>
              <a:xfrm>
                <a:off x="6041311" y="245849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A84D82AA-AB60-6F61-9021-9F216A565DBD}"/>
                  </a:ext>
                </a:extLst>
              </p:cNvPr>
              <p:cNvSpPr/>
              <p:nvPr/>
            </p:nvSpPr>
            <p:spPr>
              <a:xfrm>
                <a:off x="7138591" y="245849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856E9DCA-93D3-E520-4554-598CECA9A0DB}"/>
                  </a:ext>
                </a:extLst>
              </p:cNvPr>
              <p:cNvSpPr/>
              <p:nvPr/>
            </p:nvSpPr>
            <p:spPr>
              <a:xfrm>
                <a:off x="7988281" y="2677662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D356F355-50DF-1CD6-109B-5ECD91FB3481}"/>
                  </a:ext>
                </a:extLst>
              </p:cNvPr>
              <p:cNvSpPr/>
              <p:nvPr/>
            </p:nvSpPr>
            <p:spPr>
              <a:xfrm>
                <a:off x="7988281" y="3524864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55E96889-C92D-B429-1A62-040EE064D6BD}"/>
                  </a:ext>
                </a:extLst>
              </p:cNvPr>
              <p:cNvSpPr/>
              <p:nvPr/>
            </p:nvSpPr>
            <p:spPr>
              <a:xfrm>
                <a:off x="7988281" y="4845029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C2EAC53A-D8F2-4AE5-2C80-244EE518D5B7}"/>
                  </a:ext>
                </a:extLst>
              </p:cNvPr>
              <p:cNvSpPr/>
              <p:nvPr/>
            </p:nvSpPr>
            <p:spPr>
              <a:xfrm>
                <a:off x="6902985" y="1719201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4C04833E-7B43-B0D1-52B4-979B30BC1E5B}"/>
                  </a:ext>
                </a:extLst>
              </p:cNvPr>
              <p:cNvSpPr/>
              <p:nvPr/>
            </p:nvSpPr>
            <p:spPr>
              <a:xfrm>
                <a:off x="8236300" y="1719201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21DEADA8-459C-EAB2-CF52-E0D0AAB3AD5F}"/>
                  </a:ext>
                </a:extLst>
              </p:cNvPr>
              <p:cNvSpPr/>
              <p:nvPr/>
            </p:nvSpPr>
            <p:spPr>
              <a:xfrm>
                <a:off x="8792189" y="2269746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7F63AFF1-B2EA-4B16-AA72-6098CC4D27E1}"/>
                  </a:ext>
                </a:extLst>
              </p:cNvPr>
              <p:cNvSpPr/>
              <p:nvPr/>
            </p:nvSpPr>
            <p:spPr>
              <a:xfrm>
                <a:off x="8792189" y="3231372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47D9AEB3-F60F-62C1-7C79-A116721B15FD}"/>
                  </a:ext>
                </a:extLst>
              </p:cNvPr>
              <p:cNvSpPr/>
              <p:nvPr/>
            </p:nvSpPr>
            <p:spPr>
              <a:xfrm>
                <a:off x="8804174" y="4732634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Isosceles Triangle 34">
                <a:extLst>
                  <a:ext uri="{FF2B5EF4-FFF2-40B4-BE49-F238E27FC236}">
                    <a16:creationId xmlns:a16="http://schemas.microsoft.com/office/drawing/2014/main" id="{F1768E91-CFDB-0966-B53C-5934866C9A07}"/>
                  </a:ext>
                </a:extLst>
              </p:cNvPr>
              <p:cNvSpPr/>
              <p:nvPr/>
            </p:nvSpPr>
            <p:spPr>
              <a:xfrm>
                <a:off x="2946300" y="1767685"/>
                <a:ext cx="972920" cy="761541"/>
              </a:xfrm>
              <a:prstGeom prst="triangle">
                <a:avLst>
                  <a:gd name="adj" fmla="val 7446"/>
                </a:avLst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Isosceles Triangle 35">
                <a:extLst>
                  <a:ext uri="{FF2B5EF4-FFF2-40B4-BE49-F238E27FC236}">
                    <a16:creationId xmlns:a16="http://schemas.microsoft.com/office/drawing/2014/main" id="{A7802531-256A-525B-EA31-E1217324934E}"/>
                  </a:ext>
                </a:extLst>
              </p:cNvPr>
              <p:cNvSpPr/>
              <p:nvPr/>
            </p:nvSpPr>
            <p:spPr>
              <a:xfrm flipV="1">
                <a:off x="3018054" y="1770220"/>
                <a:ext cx="1223745" cy="770959"/>
              </a:xfrm>
              <a:prstGeom prst="triangle">
                <a:avLst>
                  <a:gd name="adj" fmla="val 74073"/>
                </a:avLst>
              </a:prstGeom>
              <a:solidFill>
                <a:schemeClr val="accent5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F0C49D6B-6F32-D243-6F78-73DCA0A3CE64}"/>
                  </a:ext>
                </a:extLst>
              </p:cNvPr>
              <p:cNvSpPr/>
              <p:nvPr/>
            </p:nvSpPr>
            <p:spPr>
              <a:xfrm>
                <a:off x="2946300" y="1711643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9855F845-25E4-F673-DAA1-6976AB521247}"/>
                  </a:ext>
                </a:extLst>
              </p:cNvPr>
              <p:cNvSpPr/>
              <p:nvPr/>
            </p:nvSpPr>
            <p:spPr>
              <a:xfrm>
                <a:off x="2872740" y="2462735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1" name="Isosceles Triangle 60">
                <a:extLst>
                  <a:ext uri="{FF2B5EF4-FFF2-40B4-BE49-F238E27FC236}">
                    <a16:creationId xmlns:a16="http://schemas.microsoft.com/office/drawing/2014/main" id="{B0DA87C7-4AC4-95EE-59F0-D1BFB3AC99A0}"/>
                  </a:ext>
                </a:extLst>
              </p:cNvPr>
              <p:cNvSpPr/>
              <p:nvPr/>
            </p:nvSpPr>
            <p:spPr>
              <a:xfrm>
                <a:off x="3944407" y="1760554"/>
                <a:ext cx="1193752" cy="761541"/>
              </a:xfrm>
              <a:prstGeom prst="triangle">
                <a:avLst>
                  <a:gd name="adj" fmla="val 25319"/>
                </a:avLst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ADDC20D0-984E-0E8B-84DE-84BAD0E7E347}"/>
                  </a:ext>
                </a:extLst>
              </p:cNvPr>
              <p:cNvSpPr/>
              <p:nvPr/>
            </p:nvSpPr>
            <p:spPr>
              <a:xfrm>
                <a:off x="3857625" y="2462736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Isosceles Triangle 62">
                <a:extLst>
                  <a:ext uri="{FF2B5EF4-FFF2-40B4-BE49-F238E27FC236}">
                    <a16:creationId xmlns:a16="http://schemas.microsoft.com/office/drawing/2014/main" id="{4115B7CE-0959-153E-D5C5-B033CFBCB7C0}"/>
                  </a:ext>
                </a:extLst>
              </p:cNvPr>
              <p:cNvSpPr/>
              <p:nvPr/>
            </p:nvSpPr>
            <p:spPr>
              <a:xfrm flipV="1">
                <a:off x="4243859" y="1777100"/>
                <a:ext cx="1488921" cy="761543"/>
              </a:xfrm>
              <a:prstGeom prst="triangle">
                <a:avLst>
                  <a:gd name="adj" fmla="val 59573"/>
                </a:avLst>
              </a:prstGeom>
              <a:solidFill>
                <a:schemeClr val="accent5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349BEDD8-624B-0EAD-C03D-D4571BCBB1F3}"/>
                  </a:ext>
                </a:extLst>
              </p:cNvPr>
              <p:cNvSpPr/>
              <p:nvPr/>
            </p:nvSpPr>
            <p:spPr>
              <a:xfrm>
                <a:off x="5662830" y="171778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F42A9DF5-299E-0839-0754-2E8E88CF3BBA}"/>
                  </a:ext>
                </a:extLst>
              </p:cNvPr>
              <p:cNvSpPr/>
              <p:nvPr/>
            </p:nvSpPr>
            <p:spPr>
              <a:xfrm>
                <a:off x="5062998" y="2462735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48D34963-C41C-B6F6-2302-C195B7579F0B}"/>
                  </a:ext>
                </a:extLst>
              </p:cNvPr>
              <p:cNvSpPr/>
              <p:nvPr/>
            </p:nvSpPr>
            <p:spPr>
              <a:xfrm>
                <a:off x="4163595" y="1711488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Isosceles Triangle 66">
                <a:extLst>
                  <a:ext uri="{FF2B5EF4-FFF2-40B4-BE49-F238E27FC236}">
                    <a16:creationId xmlns:a16="http://schemas.microsoft.com/office/drawing/2014/main" id="{B312972C-FDFB-525C-D669-1366F344E921}"/>
                  </a:ext>
                </a:extLst>
              </p:cNvPr>
              <p:cNvSpPr/>
              <p:nvPr/>
            </p:nvSpPr>
            <p:spPr>
              <a:xfrm>
                <a:off x="5131670" y="1758730"/>
                <a:ext cx="987190" cy="770245"/>
              </a:xfrm>
              <a:prstGeom prst="triangle">
                <a:avLst>
                  <a:gd name="adj" fmla="val 63913"/>
                </a:avLst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6FC4791B-C9BA-E620-367C-D8657E7A41D3}"/>
                </a:ext>
              </a:extLst>
            </p:cNvPr>
            <p:cNvGrpSpPr/>
            <p:nvPr/>
          </p:nvGrpSpPr>
          <p:grpSpPr>
            <a:xfrm rot="10800000">
              <a:off x="337897" y="2979326"/>
              <a:ext cx="1350852" cy="862861"/>
              <a:chOff x="2644877" y="1243782"/>
              <a:chExt cx="6823588" cy="4370436"/>
            </a:xfrm>
          </p:grpSpPr>
          <p:sp>
            <p:nvSpPr>
              <p:cNvPr id="69" name="L-Shape 68">
                <a:extLst>
                  <a:ext uri="{FF2B5EF4-FFF2-40B4-BE49-F238E27FC236}">
                    <a16:creationId xmlns:a16="http://schemas.microsoft.com/office/drawing/2014/main" id="{A12AA477-2D29-9594-5904-C3A006FC5D27}"/>
                  </a:ext>
                </a:extLst>
              </p:cNvPr>
              <p:cNvSpPr/>
              <p:nvPr/>
            </p:nvSpPr>
            <p:spPr>
              <a:xfrm flipH="1" flipV="1">
                <a:off x="2644877" y="1779639"/>
                <a:ext cx="6213987" cy="3834579"/>
              </a:xfrm>
              <a:prstGeom prst="corner">
                <a:avLst>
                  <a:gd name="adj1" fmla="val 19231"/>
                  <a:gd name="adj2" fmla="val 20769"/>
                </a:avLst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57948A58-F633-0D43-E9AB-36CDB296430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268361"/>
                <a:ext cx="422788" cy="4345857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8ECB251B-BBF4-CDBD-DC58-BF2999FB738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35510"/>
                <a:ext cx="1730478" cy="4178708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F020BCCC-140A-1EB2-3A62-C6BF79051B6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995948"/>
                <a:ext cx="6823588" cy="3593691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EDC730E-C217-69AE-E826-C0EEF998982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3087329"/>
                <a:ext cx="6744929" cy="2502310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C883774F-C4B6-BD23-7863-E5A75DE5760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4719484"/>
                <a:ext cx="6823588" cy="870155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7B2FC870-37EF-3DAA-8763-DD6394FF82E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01405"/>
                <a:ext cx="6213987" cy="4188234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F0C9AE96-C742-0EC5-70F0-4E46668B50A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243782"/>
                <a:ext cx="4916129" cy="4345857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C5FB8057-6971-C5C6-1909-06D8185DA92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35510"/>
                <a:ext cx="3372464" cy="4154129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FCE63A0B-5C5B-C0BC-295B-CB59AF65AF68}"/>
                  </a:ext>
                </a:extLst>
              </p:cNvPr>
              <p:cNvSpPr/>
              <p:nvPr/>
            </p:nvSpPr>
            <p:spPr>
              <a:xfrm>
                <a:off x="6041311" y="245849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581D45CF-2438-DE15-9511-C223E53E1994}"/>
                  </a:ext>
                </a:extLst>
              </p:cNvPr>
              <p:cNvSpPr/>
              <p:nvPr/>
            </p:nvSpPr>
            <p:spPr>
              <a:xfrm>
                <a:off x="7138591" y="245849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F1E2C80E-C26F-B9E2-0A70-181BEC04D60B}"/>
                  </a:ext>
                </a:extLst>
              </p:cNvPr>
              <p:cNvSpPr/>
              <p:nvPr/>
            </p:nvSpPr>
            <p:spPr>
              <a:xfrm>
                <a:off x="7988281" y="2677662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350EF9B9-2E62-1BB9-EAA0-59B768304330}"/>
                  </a:ext>
                </a:extLst>
              </p:cNvPr>
              <p:cNvSpPr/>
              <p:nvPr/>
            </p:nvSpPr>
            <p:spPr>
              <a:xfrm>
                <a:off x="7988281" y="3524864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CC84BAC8-BFC0-1A46-6F6E-32655DF66DA7}"/>
                  </a:ext>
                </a:extLst>
              </p:cNvPr>
              <p:cNvSpPr/>
              <p:nvPr/>
            </p:nvSpPr>
            <p:spPr>
              <a:xfrm>
                <a:off x="7988281" y="4845029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7D4A2576-3F02-84F8-13ED-3BAA97C21AE1}"/>
                  </a:ext>
                </a:extLst>
              </p:cNvPr>
              <p:cNvSpPr/>
              <p:nvPr/>
            </p:nvSpPr>
            <p:spPr>
              <a:xfrm>
                <a:off x="6902985" y="1719201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D386C377-7C60-B6F9-D10C-975591E4AA00}"/>
                  </a:ext>
                </a:extLst>
              </p:cNvPr>
              <p:cNvSpPr/>
              <p:nvPr/>
            </p:nvSpPr>
            <p:spPr>
              <a:xfrm>
                <a:off x="8236300" y="1719201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D0051CFA-33EF-019B-5EC5-A75D33D8B205}"/>
                  </a:ext>
                </a:extLst>
              </p:cNvPr>
              <p:cNvSpPr/>
              <p:nvPr/>
            </p:nvSpPr>
            <p:spPr>
              <a:xfrm>
                <a:off x="8792189" y="2269746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05E087E1-5CAC-CB09-6049-CE15FFEBBBB0}"/>
                  </a:ext>
                </a:extLst>
              </p:cNvPr>
              <p:cNvSpPr/>
              <p:nvPr/>
            </p:nvSpPr>
            <p:spPr>
              <a:xfrm>
                <a:off x="8792189" y="3231372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78045F8A-ED40-9557-46B8-5F499DE3A812}"/>
                  </a:ext>
                </a:extLst>
              </p:cNvPr>
              <p:cNvSpPr/>
              <p:nvPr/>
            </p:nvSpPr>
            <p:spPr>
              <a:xfrm>
                <a:off x="8804174" y="4732634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745A299F-17AC-107D-22C7-61EA6E3A6A00}"/>
                  </a:ext>
                </a:extLst>
              </p:cNvPr>
              <p:cNvSpPr/>
              <p:nvPr/>
            </p:nvSpPr>
            <p:spPr>
              <a:xfrm>
                <a:off x="2946300" y="1711643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FCE2E2A6-443A-C655-9EDB-410EA669CDBE}"/>
                  </a:ext>
                </a:extLst>
              </p:cNvPr>
              <p:cNvSpPr/>
              <p:nvPr/>
            </p:nvSpPr>
            <p:spPr>
              <a:xfrm>
                <a:off x="2872740" y="2462735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6ED41CEA-6099-4AEA-7070-6ED232129B4E}"/>
                  </a:ext>
                </a:extLst>
              </p:cNvPr>
              <p:cNvSpPr/>
              <p:nvPr/>
            </p:nvSpPr>
            <p:spPr>
              <a:xfrm>
                <a:off x="3857625" y="2462736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8C6C2312-28B6-6640-1201-D2936F0AA10F}"/>
                  </a:ext>
                </a:extLst>
              </p:cNvPr>
              <p:cNvSpPr/>
              <p:nvPr/>
            </p:nvSpPr>
            <p:spPr>
              <a:xfrm>
                <a:off x="5662830" y="171778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A72BBB03-8B32-3061-422D-6C0084189394}"/>
                  </a:ext>
                </a:extLst>
              </p:cNvPr>
              <p:cNvSpPr/>
              <p:nvPr/>
            </p:nvSpPr>
            <p:spPr>
              <a:xfrm>
                <a:off x="5062998" y="2462735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DBA6CB56-5FAE-19FB-5ADC-B8A2D17C9236}"/>
                  </a:ext>
                </a:extLst>
              </p:cNvPr>
              <p:cNvSpPr/>
              <p:nvPr/>
            </p:nvSpPr>
            <p:spPr>
              <a:xfrm>
                <a:off x="4163595" y="1711488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DC01D134-4361-8895-8F39-A34080AE9A15}"/>
                </a:ext>
              </a:extLst>
            </p:cNvPr>
            <p:cNvGrpSpPr/>
            <p:nvPr/>
          </p:nvGrpSpPr>
          <p:grpSpPr>
            <a:xfrm flipV="1">
              <a:off x="1692797" y="2971490"/>
              <a:ext cx="1350852" cy="865844"/>
              <a:chOff x="2644877" y="1243782"/>
              <a:chExt cx="6823588" cy="4370436"/>
            </a:xfrm>
          </p:grpSpPr>
          <p:sp>
            <p:nvSpPr>
              <p:cNvPr id="100" name="L-Shape 99">
                <a:extLst>
                  <a:ext uri="{FF2B5EF4-FFF2-40B4-BE49-F238E27FC236}">
                    <a16:creationId xmlns:a16="http://schemas.microsoft.com/office/drawing/2014/main" id="{41FC731E-D08B-E5BA-6C6E-9BFFC2941B4C}"/>
                  </a:ext>
                </a:extLst>
              </p:cNvPr>
              <p:cNvSpPr/>
              <p:nvPr/>
            </p:nvSpPr>
            <p:spPr>
              <a:xfrm flipH="1" flipV="1">
                <a:off x="2644877" y="1779639"/>
                <a:ext cx="6213987" cy="3834579"/>
              </a:xfrm>
              <a:prstGeom prst="corner">
                <a:avLst>
                  <a:gd name="adj1" fmla="val 19231"/>
                  <a:gd name="adj2" fmla="val 20769"/>
                </a:avLst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BA62452F-2518-294A-7ACF-EC0E7A64B8A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268361"/>
                <a:ext cx="422788" cy="4345857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A100075D-2283-C4F4-A077-538150AA894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35510"/>
                <a:ext cx="1730478" cy="4178708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A6C5E2AD-2CE4-E8C6-E8F5-A5C0BF65259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995948"/>
                <a:ext cx="6823588" cy="3593691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EF9D9E7F-45A5-D8CB-1667-953CF70C8D5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3087329"/>
                <a:ext cx="6744929" cy="2502310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1EFF5CC7-50B0-F799-C829-F22C1A54688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4719484"/>
                <a:ext cx="6823588" cy="870155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62771B35-8DDD-0B76-FF04-7AB47AEC7B0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01405"/>
                <a:ext cx="6213987" cy="4188234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F65242B4-0409-6F89-BF0D-357D8FFA498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243782"/>
                <a:ext cx="4916129" cy="4345857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0631CE3E-8296-1D33-B9CF-FAF1360749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35510"/>
                <a:ext cx="3372464" cy="4154129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8E6B9373-70B7-E7BE-88CA-ECA2E12CB95C}"/>
                  </a:ext>
                </a:extLst>
              </p:cNvPr>
              <p:cNvSpPr/>
              <p:nvPr/>
            </p:nvSpPr>
            <p:spPr>
              <a:xfrm>
                <a:off x="6041311" y="245849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A3909CE7-67EF-6768-723D-13FE82254656}"/>
                  </a:ext>
                </a:extLst>
              </p:cNvPr>
              <p:cNvSpPr/>
              <p:nvPr/>
            </p:nvSpPr>
            <p:spPr>
              <a:xfrm>
                <a:off x="7138591" y="245849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161A3BBE-034C-5B4A-5BF9-FBA3B29AA78E}"/>
                  </a:ext>
                </a:extLst>
              </p:cNvPr>
              <p:cNvSpPr/>
              <p:nvPr/>
            </p:nvSpPr>
            <p:spPr>
              <a:xfrm>
                <a:off x="7988281" y="2677662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F6396EC2-EB36-D8A8-A614-F8471D65ADD4}"/>
                  </a:ext>
                </a:extLst>
              </p:cNvPr>
              <p:cNvSpPr/>
              <p:nvPr/>
            </p:nvSpPr>
            <p:spPr>
              <a:xfrm>
                <a:off x="7988281" y="3524864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4370C6E7-BB55-5FF5-417C-C33148FF12DF}"/>
                  </a:ext>
                </a:extLst>
              </p:cNvPr>
              <p:cNvSpPr/>
              <p:nvPr/>
            </p:nvSpPr>
            <p:spPr>
              <a:xfrm>
                <a:off x="7988281" y="4845029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C0A93BC7-707A-6CEE-5908-2FCCB91EA872}"/>
                  </a:ext>
                </a:extLst>
              </p:cNvPr>
              <p:cNvSpPr/>
              <p:nvPr/>
            </p:nvSpPr>
            <p:spPr>
              <a:xfrm>
                <a:off x="6902985" y="1719201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E0C99A45-6988-9611-FC22-D5C7117EF937}"/>
                  </a:ext>
                </a:extLst>
              </p:cNvPr>
              <p:cNvSpPr/>
              <p:nvPr/>
            </p:nvSpPr>
            <p:spPr>
              <a:xfrm>
                <a:off x="8236300" y="1719201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AD8BC7ED-5671-F0F4-9C21-6FC0F04FFD53}"/>
                  </a:ext>
                </a:extLst>
              </p:cNvPr>
              <p:cNvSpPr/>
              <p:nvPr/>
            </p:nvSpPr>
            <p:spPr>
              <a:xfrm>
                <a:off x="8792189" y="2269746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C2C1633D-CFB9-AB71-494F-25B7FAA6E3D3}"/>
                  </a:ext>
                </a:extLst>
              </p:cNvPr>
              <p:cNvSpPr/>
              <p:nvPr/>
            </p:nvSpPr>
            <p:spPr>
              <a:xfrm>
                <a:off x="8792189" y="3231372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4A7BC006-659E-486E-4FA2-7A450A7BC076}"/>
                  </a:ext>
                </a:extLst>
              </p:cNvPr>
              <p:cNvSpPr/>
              <p:nvPr/>
            </p:nvSpPr>
            <p:spPr>
              <a:xfrm>
                <a:off x="8804174" y="4732634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1ECCDCB9-566A-D101-8F46-71FC60B22970}"/>
                  </a:ext>
                </a:extLst>
              </p:cNvPr>
              <p:cNvSpPr/>
              <p:nvPr/>
            </p:nvSpPr>
            <p:spPr>
              <a:xfrm>
                <a:off x="2946300" y="1711643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E0C6FBE4-12B1-2523-5E90-0273E9C0062C}"/>
                  </a:ext>
                </a:extLst>
              </p:cNvPr>
              <p:cNvSpPr/>
              <p:nvPr/>
            </p:nvSpPr>
            <p:spPr>
              <a:xfrm>
                <a:off x="2872740" y="2462735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2BD41B8E-C662-F069-4EDF-0214295DD94D}"/>
                  </a:ext>
                </a:extLst>
              </p:cNvPr>
              <p:cNvSpPr/>
              <p:nvPr/>
            </p:nvSpPr>
            <p:spPr>
              <a:xfrm>
                <a:off x="3857625" y="2462736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E2B8E181-6CAF-6F23-D0B9-C6E52086E207}"/>
                  </a:ext>
                </a:extLst>
              </p:cNvPr>
              <p:cNvSpPr/>
              <p:nvPr/>
            </p:nvSpPr>
            <p:spPr>
              <a:xfrm>
                <a:off x="5662830" y="171778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9B31C1F9-AAB7-56DE-EE1E-227BD7264A01}"/>
                  </a:ext>
                </a:extLst>
              </p:cNvPr>
              <p:cNvSpPr/>
              <p:nvPr/>
            </p:nvSpPr>
            <p:spPr>
              <a:xfrm>
                <a:off x="5062998" y="2462735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FB84F5D5-2068-6478-C1F6-3CAD3303CEAA}"/>
                  </a:ext>
                </a:extLst>
              </p:cNvPr>
              <p:cNvSpPr/>
              <p:nvPr/>
            </p:nvSpPr>
            <p:spPr>
              <a:xfrm>
                <a:off x="4163595" y="1711488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CB3AB738-D1DD-CA58-A223-5E27B114F4F4}"/>
                </a:ext>
              </a:extLst>
            </p:cNvPr>
            <p:cNvGrpSpPr/>
            <p:nvPr/>
          </p:nvGrpSpPr>
          <p:grpSpPr>
            <a:xfrm rot="10800000" flipV="1">
              <a:off x="336692" y="2114094"/>
              <a:ext cx="1350852" cy="865844"/>
              <a:chOff x="2644877" y="1243782"/>
              <a:chExt cx="6823588" cy="4370436"/>
            </a:xfrm>
          </p:grpSpPr>
          <p:sp>
            <p:nvSpPr>
              <p:cNvPr id="152" name="L-Shape 151">
                <a:extLst>
                  <a:ext uri="{FF2B5EF4-FFF2-40B4-BE49-F238E27FC236}">
                    <a16:creationId xmlns:a16="http://schemas.microsoft.com/office/drawing/2014/main" id="{DC46C77C-BB32-73DB-00D9-5438B1B1751F}"/>
                  </a:ext>
                </a:extLst>
              </p:cNvPr>
              <p:cNvSpPr/>
              <p:nvPr/>
            </p:nvSpPr>
            <p:spPr>
              <a:xfrm flipH="1" flipV="1">
                <a:off x="2644877" y="1779639"/>
                <a:ext cx="6213987" cy="3834579"/>
              </a:xfrm>
              <a:prstGeom prst="corner">
                <a:avLst>
                  <a:gd name="adj1" fmla="val 19231"/>
                  <a:gd name="adj2" fmla="val 20769"/>
                </a:avLst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64090E81-1176-B718-FEB6-4FF0A3E1FFE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268361"/>
                <a:ext cx="422788" cy="4345857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2507D4F3-ACF6-2ABF-8FBA-98359F6CAF2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35510"/>
                <a:ext cx="1730478" cy="4178708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E9EAD2B9-08B6-2491-DC37-FC3082F6967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995948"/>
                <a:ext cx="6823588" cy="3593691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26C8097F-9CCB-2033-AF00-D22DA7C7219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3087329"/>
                <a:ext cx="6744929" cy="2502310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840F2CF4-11AC-9FAE-515F-6ACEDF20837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4719484"/>
                <a:ext cx="6823588" cy="870155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A0AFED8C-6428-5F92-47B5-61333096800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01405"/>
                <a:ext cx="6213987" cy="4188234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>
                <a:extLst>
                  <a:ext uri="{FF2B5EF4-FFF2-40B4-BE49-F238E27FC236}">
                    <a16:creationId xmlns:a16="http://schemas.microsoft.com/office/drawing/2014/main" id="{19D43A5C-F771-826B-85D7-2CA921CB285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243782"/>
                <a:ext cx="4916129" cy="4345857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>
                <a:extLst>
                  <a:ext uri="{FF2B5EF4-FFF2-40B4-BE49-F238E27FC236}">
                    <a16:creationId xmlns:a16="http://schemas.microsoft.com/office/drawing/2014/main" id="{9668A593-8FB8-B5E5-CD09-EE412CC7343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44877" y="1435510"/>
                <a:ext cx="3372464" cy="4154129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ED5E6C67-895D-964E-7E53-1D0538ACCC75}"/>
                  </a:ext>
                </a:extLst>
              </p:cNvPr>
              <p:cNvSpPr/>
              <p:nvPr/>
            </p:nvSpPr>
            <p:spPr>
              <a:xfrm>
                <a:off x="6041311" y="245849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1BB837BB-F9EE-C3CC-9229-0764BF433D7F}"/>
                  </a:ext>
                </a:extLst>
              </p:cNvPr>
              <p:cNvSpPr/>
              <p:nvPr/>
            </p:nvSpPr>
            <p:spPr>
              <a:xfrm>
                <a:off x="7138591" y="245849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562BF19F-2E89-BB46-3A49-9ABFB880D34B}"/>
                  </a:ext>
                </a:extLst>
              </p:cNvPr>
              <p:cNvSpPr/>
              <p:nvPr/>
            </p:nvSpPr>
            <p:spPr>
              <a:xfrm>
                <a:off x="7988281" y="2677662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C83D564F-C6A2-AF7A-D24F-EBD05CD85A34}"/>
                  </a:ext>
                </a:extLst>
              </p:cNvPr>
              <p:cNvSpPr/>
              <p:nvPr/>
            </p:nvSpPr>
            <p:spPr>
              <a:xfrm>
                <a:off x="7988281" y="3524864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0300502E-9675-1CCC-77CF-B25A82C47578}"/>
                  </a:ext>
                </a:extLst>
              </p:cNvPr>
              <p:cNvSpPr/>
              <p:nvPr/>
            </p:nvSpPr>
            <p:spPr>
              <a:xfrm>
                <a:off x="7988281" y="4845029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3DDFF04E-C593-0C70-D759-7B4DF5D61B61}"/>
                  </a:ext>
                </a:extLst>
              </p:cNvPr>
              <p:cNvSpPr/>
              <p:nvPr/>
            </p:nvSpPr>
            <p:spPr>
              <a:xfrm>
                <a:off x="6902985" y="1719201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54A29B82-561B-8FCF-3350-D1EC767A2A5D}"/>
                  </a:ext>
                </a:extLst>
              </p:cNvPr>
              <p:cNvSpPr/>
              <p:nvPr/>
            </p:nvSpPr>
            <p:spPr>
              <a:xfrm>
                <a:off x="8236300" y="1719201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DDE51552-B8C0-28A8-51CF-DEA35094CBD4}"/>
                  </a:ext>
                </a:extLst>
              </p:cNvPr>
              <p:cNvSpPr/>
              <p:nvPr/>
            </p:nvSpPr>
            <p:spPr>
              <a:xfrm>
                <a:off x="8792189" y="2269746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73915BAF-1E4A-45FE-334D-53DA754FEA54}"/>
                  </a:ext>
                </a:extLst>
              </p:cNvPr>
              <p:cNvSpPr/>
              <p:nvPr/>
            </p:nvSpPr>
            <p:spPr>
              <a:xfrm>
                <a:off x="8792189" y="3231372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695D8A67-ADF7-5940-A8B2-C59813F51604}"/>
                  </a:ext>
                </a:extLst>
              </p:cNvPr>
              <p:cNvSpPr/>
              <p:nvPr/>
            </p:nvSpPr>
            <p:spPr>
              <a:xfrm>
                <a:off x="8804174" y="4732634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34D3F172-F555-78E0-7E4E-EDD6A53FF166}"/>
                  </a:ext>
                </a:extLst>
              </p:cNvPr>
              <p:cNvSpPr/>
              <p:nvPr/>
            </p:nvSpPr>
            <p:spPr>
              <a:xfrm>
                <a:off x="2946300" y="1711643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7E0AF29E-605B-FC24-02D7-404634DFFC74}"/>
                  </a:ext>
                </a:extLst>
              </p:cNvPr>
              <p:cNvSpPr/>
              <p:nvPr/>
            </p:nvSpPr>
            <p:spPr>
              <a:xfrm>
                <a:off x="2872740" y="2462735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F68865E4-9216-1F2D-FF05-7DA1EA47F298}"/>
                  </a:ext>
                </a:extLst>
              </p:cNvPr>
              <p:cNvSpPr/>
              <p:nvPr/>
            </p:nvSpPr>
            <p:spPr>
              <a:xfrm>
                <a:off x="3857625" y="2462736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23372334-8BC5-3F29-D600-DA6EEDD24048}"/>
                  </a:ext>
                </a:extLst>
              </p:cNvPr>
              <p:cNvSpPr/>
              <p:nvPr/>
            </p:nvSpPr>
            <p:spPr>
              <a:xfrm>
                <a:off x="5662830" y="1717787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D2674A77-789F-9A82-CDEC-D596118E4E14}"/>
                  </a:ext>
                </a:extLst>
              </p:cNvPr>
              <p:cNvSpPr/>
              <p:nvPr/>
            </p:nvSpPr>
            <p:spPr>
              <a:xfrm>
                <a:off x="5062998" y="2462735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54604122-382E-BD10-5157-F4F5BDD65F90}"/>
                  </a:ext>
                </a:extLst>
              </p:cNvPr>
              <p:cNvSpPr/>
              <p:nvPr/>
            </p:nvSpPr>
            <p:spPr>
              <a:xfrm>
                <a:off x="4163595" y="1711488"/>
                <a:ext cx="133350" cy="112395"/>
              </a:xfrm>
              <a:prstGeom prst="ellipse">
                <a:avLst/>
              </a:prstGeom>
            </p:spPr>
            <p:style>
              <a:lnRef idx="2">
                <a:schemeClr val="accent5">
                  <a:shade val="15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201" name="Picture 200">
            <a:extLst>
              <a:ext uri="{FF2B5EF4-FFF2-40B4-BE49-F238E27FC236}">
                <a16:creationId xmlns:a16="http://schemas.microsoft.com/office/drawing/2014/main" id="{252A6ACC-EC3E-7DFE-3297-9D68DB2E49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8661" b="93110" l="9712" r="89985">
                        <a14:foregroundMark x1="18665" y1="27165" x2="18665" y2="27165"/>
                        <a14:foregroundMark x1="18361" y1="23228" x2="18361" y2="23228"/>
                        <a14:foregroundMark x1="33912" y1="11888" x2="37936" y2="9449"/>
                        <a14:foregroundMark x1="25919" y1="16732" x2="26371" y2="16458"/>
                        <a14:foregroundMark x1="25269" y1="17126" x2="25919" y2="16732"/>
                        <a14:foregroundMark x1="19423" y1="20669" x2="25269" y2="17126"/>
                        <a14:foregroundMark x1="50694" y1="21340" x2="55387" y2="26772"/>
                        <a14:foregroundMark x1="39909" y1="8858" x2="44539" y2="14217"/>
                        <a14:foregroundMark x1="54932" y1="40945" x2="54173" y2="48228"/>
                        <a14:foregroundMark x1="44158" y1="56693" x2="35555" y2="59358"/>
                        <a14:foregroundMark x1="19879" y1="45866" x2="23824" y2="50787"/>
                        <a14:foregroundMark x1="52656" y1="52953" x2="64795" y2="66142"/>
                        <a14:foregroundMark x1="59636" y1="59252" x2="70865" y2="72244"/>
                        <a14:foregroundMark x1="70865" y1="72244" x2="73445" y2="73622"/>
                        <a14:foregroundMark x1="79666" y1="81102" x2="85281" y2="89370"/>
                        <a14:foregroundMark x1="86495" y1="88780" x2="83005" y2="85039"/>
                        <a14:foregroundMark x1="83915" y1="93110" x2="85888" y2="90157"/>
                        <a14:backgroundMark x1="33839" y1="60630" x2="34750" y2="60827"/>
                        <a14:backgroundMark x1="34598" y1="60630" x2="33384" y2="60433"/>
                        <a14:backgroundMark x1="46586" y1="18504" x2="48255" y2="19291"/>
                        <a14:backgroundMark x1="48255" y1="19488" x2="49165" y2="20866"/>
                        <a14:backgroundMark x1="49317" y1="20866" x2="48407" y2="19094"/>
                        <a14:backgroundMark x1="47496" y1="18504" x2="45524" y2="16929"/>
                        <a14:backgroundMark x1="45827" y1="16929" x2="47496" y2="18504"/>
                        <a14:backgroundMark x1="48103" y1="19291" x2="49924" y2="22047"/>
                        <a14:backgroundMark x1="30804" y1="14961" x2="29135" y2="15157"/>
                        <a14:backgroundMark x1="28680" y1="16142" x2="28983" y2="15748"/>
                        <a14:backgroundMark x1="25948" y1="17520" x2="33080" y2="13976"/>
                        <a14:backgroundMark x1="26404" y1="17126" x2="26404" y2="17126"/>
                        <a14:backgroundMark x1="26555" y1="16732" x2="26555" y2="1673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09561" y="1106485"/>
            <a:ext cx="3194196" cy="2462294"/>
          </a:xfrm>
          <a:prstGeom prst="rect">
            <a:avLst/>
          </a:prstGeom>
        </p:spPr>
      </p:pic>
      <p:sp>
        <p:nvSpPr>
          <p:cNvPr id="202" name="Arrow: Right 201">
            <a:extLst>
              <a:ext uri="{FF2B5EF4-FFF2-40B4-BE49-F238E27FC236}">
                <a16:creationId xmlns:a16="http://schemas.microsoft.com/office/drawing/2014/main" id="{81358BAD-6594-6172-E854-CEF1B39DD7E8}"/>
              </a:ext>
            </a:extLst>
          </p:cNvPr>
          <p:cNvSpPr/>
          <p:nvPr/>
        </p:nvSpPr>
        <p:spPr>
          <a:xfrm rot="561210">
            <a:off x="3668366" y="1795613"/>
            <a:ext cx="789171" cy="543439"/>
          </a:xfrm>
          <a:prstGeom prst="rightArrow">
            <a:avLst>
              <a:gd name="adj1" fmla="val 50000"/>
              <a:gd name="adj2" fmla="val 6491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024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5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E36340-85AB-4A9B-881D-1B23E0CC5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veloped Algorith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30322C62-43B7-FE0C-B811-6E8BB328D73A}"/>
                  </a:ext>
                </a:extLst>
              </p:cNvPr>
              <p:cNvSpPr txBox="1"/>
              <p:nvPr/>
            </p:nvSpPr>
            <p:spPr>
              <a:xfrm>
                <a:off x="721360" y="1402080"/>
                <a:ext cx="5709920" cy="14419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Calculation of area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l-GR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d>
                        <m:dPr>
                          <m:begChr m:val="|"/>
                          <m:endChr m:val="|"/>
                          <m:ctrlPr>
                            <a:rPr lang="el-GR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l-GR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lang="el-GR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l-GR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 − </m:t>
                              </m:r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</m:e>
                          </m:d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l-GR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d>
                            <m:dPr>
                              <m:ctrlPr>
                                <a:rPr lang="el-G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l-GR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 − 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l-GR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  <m:d>
                            <m:dPr>
                              <m:ctrlPr>
                                <a:rPr lang="el-G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l-GR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 − 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en-US" dirty="0"/>
              </a:p>
              <a:p>
                <a:endParaRPr lang="en-US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30322C62-43B7-FE0C-B811-6E8BB328D7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360" y="1402080"/>
                <a:ext cx="5709920" cy="1441933"/>
              </a:xfrm>
              <a:prstGeom prst="rect">
                <a:avLst/>
              </a:prstGeom>
              <a:blipFill>
                <a:blip r:embed="rId2"/>
                <a:stretch>
                  <a:fillRect l="-854" t="-168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178A9714-9FC5-7601-AE41-007C66318D78}"/>
              </a:ext>
            </a:extLst>
          </p:cNvPr>
          <p:cNvSpPr/>
          <p:nvPr/>
        </p:nvSpPr>
        <p:spPr>
          <a:xfrm rot="2083781">
            <a:off x="7697074" y="1728973"/>
            <a:ext cx="2804160" cy="2560320"/>
          </a:xfrm>
          <a:prstGeom prst="triangle">
            <a:avLst>
              <a:gd name="adj" fmla="val 31121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7D812FB-E413-8F23-B6F6-025299DD5757}"/>
              </a:ext>
            </a:extLst>
          </p:cNvPr>
          <p:cNvCxnSpPr>
            <a:cxnSpLocks/>
            <a:stCxn id="13" idx="2"/>
            <a:endCxn id="26" idx="1"/>
          </p:cNvCxnSpPr>
          <p:nvPr/>
        </p:nvCxnSpPr>
        <p:spPr>
          <a:xfrm flipV="1">
            <a:off x="7217542" y="3235667"/>
            <a:ext cx="2229155" cy="26792"/>
          </a:xfrm>
          <a:prstGeom prst="line">
            <a:avLst/>
          </a:prstGeom>
          <a:ln w="3810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1477C02B-4D30-6B0C-3C6E-ACFC73906D77}"/>
              </a:ext>
            </a:extLst>
          </p:cNvPr>
          <p:cNvSpPr txBox="1"/>
          <p:nvPr/>
        </p:nvSpPr>
        <p:spPr>
          <a:xfrm>
            <a:off x="9463296" y="4831420"/>
            <a:ext cx="6950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2647A8A-6438-3692-AD66-302BD7673C8B}"/>
              </a:ext>
            </a:extLst>
          </p:cNvPr>
          <p:cNvSpPr txBox="1"/>
          <p:nvPr/>
        </p:nvSpPr>
        <p:spPr>
          <a:xfrm>
            <a:off x="6934780" y="3213345"/>
            <a:ext cx="223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E9C60E4-D676-4D7B-6001-19D704D9FDB4}"/>
              </a:ext>
            </a:extLst>
          </p:cNvPr>
          <p:cNvSpPr txBox="1"/>
          <p:nvPr/>
        </p:nvSpPr>
        <p:spPr>
          <a:xfrm>
            <a:off x="9278313" y="1287916"/>
            <a:ext cx="5325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FFD20F0-F1EE-8EAD-4C03-69DBBAF31926}"/>
              </a:ext>
            </a:extLst>
          </p:cNvPr>
          <p:cNvSpPr txBox="1"/>
          <p:nvPr/>
        </p:nvSpPr>
        <p:spPr>
          <a:xfrm>
            <a:off x="9446697" y="3051001"/>
            <a:ext cx="3029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88D4120B-A481-695E-683D-08D7DABBF4F3}"/>
                  </a:ext>
                </a:extLst>
              </p:cNvPr>
              <p:cNvSpPr txBox="1"/>
              <p:nvPr/>
            </p:nvSpPr>
            <p:spPr>
              <a:xfrm>
                <a:off x="721360" y="2477729"/>
                <a:ext cx="5391035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Calculation of moment of inertia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𝐵𝐷</m:t>
                          </m:r>
                        </m:sub>
                      </m:sSub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2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88D4120B-A481-695E-683D-08D7DABBF4F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360" y="2477729"/>
                <a:ext cx="5391035" cy="923330"/>
              </a:xfrm>
              <a:prstGeom prst="rect">
                <a:avLst/>
              </a:prstGeom>
              <a:blipFill>
                <a:blip r:embed="rId3"/>
                <a:stretch>
                  <a:fillRect l="-904" t="-26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2FE83E6-759D-BC0D-00D7-77EB907CC3E2}"/>
              </a:ext>
            </a:extLst>
          </p:cNvPr>
          <p:cNvCxnSpPr>
            <a:cxnSpLocks/>
          </p:cNvCxnSpPr>
          <p:nvPr/>
        </p:nvCxnSpPr>
        <p:spPr>
          <a:xfrm flipV="1">
            <a:off x="6685935" y="1158262"/>
            <a:ext cx="0" cy="4042490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71CD63D-FC41-5E20-BD5E-92A3243B71BB}"/>
              </a:ext>
            </a:extLst>
          </p:cNvPr>
          <p:cNvCxnSpPr/>
          <p:nvPr/>
        </p:nvCxnSpPr>
        <p:spPr>
          <a:xfrm>
            <a:off x="6685935" y="5200752"/>
            <a:ext cx="4129549" cy="0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9E638203-E739-2521-1EB5-730A588562CD}"/>
              </a:ext>
            </a:extLst>
          </p:cNvPr>
          <p:cNvSpPr txBox="1"/>
          <p:nvPr/>
        </p:nvSpPr>
        <p:spPr>
          <a:xfrm>
            <a:off x="10504181" y="4831420"/>
            <a:ext cx="3113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X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E3A5862E-0ABE-D815-53BD-5BB36F6E9851}"/>
              </a:ext>
            </a:extLst>
          </p:cNvPr>
          <p:cNvSpPr txBox="1"/>
          <p:nvPr/>
        </p:nvSpPr>
        <p:spPr>
          <a:xfrm>
            <a:off x="6704940" y="1101306"/>
            <a:ext cx="3113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7ED14112-B8F8-2CBD-7D52-7137DD15C702}"/>
                  </a:ext>
                </a:extLst>
              </p:cNvPr>
              <p:cNvSpPr txBox="1"/>
              <p:nvPr/>
            </p:nvSpPr>
            <p:spPr>
              <a:xfrm>
                <a:off x="798383" y="3672656"/>
                <a:ext cx="5236988" cy="9671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d>
                        <m:dPr>
                          <m:begChr m:val="|"/>
                          <m:endChr m:val="|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𝐵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𝐵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− 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7ED14112-B8F8-2CBD-7D52-7137DD15C7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8383" y="3672656"/>
                <a:ext cx="5236988" cy="967188"/>
              </a:xfrm>
              <a:prstGeom prst="rect">
                <a:avLst/>
              </a:prstGeom>
              <a:blipFill>
                <a:blip r:embed="rId4"/>
                <a:stretch>
                  <a:fillRect b="-6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91D58A75-EB37-5C80-2125-E1B61839B94C}"/>
                  </a:ext>
                </a:extLst>
              </p:cNvPr>
              <p:cNvSpPr txBox="1"/>
              <p:nvPr/>
            </p:nvSpPr>
            <p:spPr>
              <a:xfrm>
                <a:off x="619269" y="4476708"/>
                <a:ext cx="5595215" cy="13217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en-US" dirty="0"/>
              </a:p>
              <a:p>
                <a:endParaRPr lang="en-US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|"/>
                              <m:endChr m:val="|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sub>
                              </m:s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𝐵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sub>
                              </m:sSub>
                            </m:e>
                          </m:d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𝐵</m:t>
                                      </m:r>
                                    </m:e>
                                    <m:sub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sub>
                                  </m:sSub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 +</m:t>
                              </m:r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  <m:t>𝐶</m:t>
                                          </m:r>
                                        </m:e>
                                        <m:sub>
                                          <m: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sub>
                                      </m:sSub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 − </m:t>
                                      </m:r>
                                      <m:sSub>
                                        <m:sSubPr>
                                          <m:ctrlP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  <m:t>𝐷</m:t>
                                          </m:r>
                                        </m:e>
                                        <m:sub>
                                          <m: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p>
                              </m:sSup>
                            </m:e>
                          </m:d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2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𝑡𝑒𝑖𝑛𝑒𝑟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91D58A75-EB37-5C80-2125-E1B61839B9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269" y="4476708"/>
                <a:ext cx="5595215" cy="132170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56364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135" grpId="0"/>
      <p:bldP spid="13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E36340-85AB-4A9B-881D-1B23E0CC5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alysis of the algorithm's performance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EBDAF99-8D39-56F2-BC89-BD7CA6E48C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4288258"/>
              </p:ext>
            </p:extLst>
          </p:nvPr>
        </p:nvGraphicFramePr>
        <p:xfrm>
          <a:off x="560031" y="940269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Table Placeholder 1">
            <a:extLst>
              <a:ext uri="{FF2B5EF4-FFF2-40B4-BE49-F238E27FC236}">
                <a16:creationId xmlns:a16="http://schemas.microsoft.com/office/drawing/2014/main" id="{5D3B7542-D6DB-0C32-75B2-EC30C9B554A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5387979"/>
              </p:ext>
            </p:extLst>
          </p:nvPr>
        </p:nvGraphicFramePr>
        <p:xfrm>
          <a:off x="5488724" y="1166411"/>
          <a:ext cx="5631560" cy="24015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9346">
                  <a:extLst>
                    <a:ext uri="{9D8B030D-6E8A-4147-A177-3AD203B41FA5}">
                      <a16:colId xmlns:a16="http://schemas.microsoft.com/office/drawing/2014/main" val="3721270187"/>
                    </a:ext>
                  </a:extLst>
                </a:gridCol>
                <a:gridCol w="1221761">
                  <a:extLst>
                    <a:ext uri="{9D8B030D-6E8A-4147-A177-3AD203B41FA5}">
                      <a16:colId xmlns:a16="http://schemas.microsoft.com/office/drawing/2014/main" val="3848764923"/>
                    </a:ext>
                  </a:extLst>
                </a:gridCol>
                <a:gridCol w="2369574">
                  <a:extLst>
                    <a:ext uri="{9D8B030D-6E8A-4147-A177-3AD203B41FA5}">
                      <a16:colId xmlns:a16="http://schemas.microsoft.com/office/drawing/2014/main" val="3035535878"/>
                    </a:ext>
                  </a:extLst>
                </a:gridCol>
                <a:gridCol w="1120879">
                  <a:extLst>
                    <a:ext uri="{9D8B030D-6E8A-4147-A177-3AD203B41FA5}">
                      <a16:colId xmlns:a16="http://schemas.microsoft.com/office/drawing/2014/main" val="926912435"/>
                    </a:ext>
                  </a:extLst>
                </a:gridCol>
              </a:tblGrid>
              <a:tr h="728917">
                <a:tc>
                  <a:txBody>
                    <a:bodyPr/>
                    <a:lstStyle/>
                    <a:p>
                      <a:r>
                        <a:rPr lang="en-US" dirty="0"/>
                        <a:t># poi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rea (erro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lt1"/>
                          </a:solidFill>
                          <a:effectLst/>
                        </a:rPr>
                        <a:t>Moment of inertia </a:t>
                      </a:r>
                      <a:r>
                        <a:rPr lang="en-US" dirty="0"/>
                        <a:t>(erro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7308333"/>
                  </a:ext>
                </a:extLst>
              </a:tr>
              <a:tr h="392494"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.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0.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464 </a:t>
                      </a:r>
                      <a:r>
                        <a:rPr lang="en-US" dirty="0" err="1"/>
                        <a:t>m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008809"/>
                  </a:ext>
                </a:extLst>
              </a:tr>
              <a:tr h="560705"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0.05%</a:t>
                      </a:r>
                    </a:p>
                    <a:p>
                      <a:pPr algn="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0.0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125 </a:t>
                      </a:r>
                      <a:r>
                        <a:rPr lang="en-US" dirty="0" err="1"/>
                        <a:t>m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012502"/>
                  </a:ext>
                </a:extLst>
              </a:tr>
              <a:tr h="560705"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0.003%</a:t>
                      </a:r>
                    </a:p>
                    <a:p>
                      <a:pPr algn="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0.0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287 </a:t>
                      </a:r>
                      <a:r>
                        <a:rPr lang="en-US" dirty="0" err="1"/>
                        <a:t>m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32173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0601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025a154-137b-4d4b-a1b8-467b0008579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7fd8437-bb63-45d6-becf-43a869fab90b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b8a0564-f1c0-44d7-9df7-93857789567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a424e22-c709-4072-b0a6-b001117c2f6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c0110ed-a539-42c6-9577-3e2e49265748"/>
  <p:tag name="MIO_EKGUID" val="3f8d388c-f88c-4e37-b7e1-be84a1c8fcdb"/>
  <p:tag name="MIO_UPDATE" val="True"/>
  <p:tag name="MIO_VERSION" val="09.04.2021 13:00:41"/>
  <p:tag name="MIO_DBID" val="0F45B44C-9BC7-4D85-81C4-7155EE70A7B9"/>
  <p:tag name="MIO_LASTDOWNLOADED" val="10.06.2022 21:22:45.700"/>
  <p:tag name="MIO_OBJECTNAME" val="Presentator"/>
  <p:tag name="MIO_LASTEDITORNAME" val="empower Brandi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dc5e527-dca9-4e26-9dc5-d637bf5bfe8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6700d05-e178-47ba-a7f4-7b1abb00f9b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b79ede5-e0c9-4fe1-9b79-3d78fcfc540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28275cf-8c5a-4aa0-807e-0e3d48538249"/>
  <p:tag name="MIO_EKGUID" val="01d57759-18cc-4888-b288-fce4ea902c4c"/>
  <p:tag name="MIO_UPDATE" val="True"/>
  <p:tag name="MIO_VERSION" val="09.04.2021 12:55:07"/>
  <p:tag name="MIO_DBID" val="0F45B44C-9BC7-4D85-81C4-7155EE70A7B9"/>
  <p:tag name="MIO_LASTDOWNLOADED" val="10.06.2022 21:17:30.135"/>
  <p:tag name="MIO_OBJECTNAME" val="Books 01"/>
  <p:tag name="MIO_LASTEDITORNAME" val="empower Brandi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ede37a0-1469-43b2-8b97-79b729a6ac12"/>
  <p:tag name="MIO_EKGUID" val="f9a0258b-9a2e-4df7-b31c-e6fa914139e9"/>
  <p:tag name="MIO_UPDATE" val="True"/>
  <p:tag name="MIO_VERSION" val="09.04.2021 13:00:40"/>
  <p:tag name="MIO_DBID" val="0F45B44C-9BC7-4D85-81C4-7155EE70A7B9"/>
  <p:tag name="MIO_LASTDOWNLOADED" val="10.06.2022 21:22:47.256"/>
  <p:tag name="MIO_OBJECTNAME" val="Growth"/>
  <p:tag name="MIO_LASTEDITORNAME" val="empower Brand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8817560-f50a-45d2-937f-054d22fdcbe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314f032-5690-4bb9-b618-7d11f2be1c9c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39e2d9c-d65c-4ea5-9287-b3f2ac6d746c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9ee5ba-fcaa-444c-add3-0900b199105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5a8d03f-5dff-4789-aeb1-f2b3f51bfb6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2584be-d6bb-440b-b4db-d2083b793a0e"/>
  <p:tag name="MIO_EKGUID" val="15e4863a-2480-4f5f-bb5d-001ce9a72aee"/>
  <p:tag name="MIO_UPDATE" val="True"/>
  <p:tag name="MIO_VERSION" val="09.04.2021 12:55:10"/>
  <p:tag name="MIO_DBID" val="0F45B44C-9BC7-4D85-81C4-7155EE70A7B9"/>
  <p:tag name="MIO_LASTDOWNLOADED" val="10.06.2022 21:17:28.765"/>
  <p:tag name="MIO_OBJECTNAME" val="Checklist"/>
  <p:tag name="MIO_LASTEDITORNAME" val="empower Brandi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d497bab-a5f6-42d0-8c1e-d8f5cc11757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7d57fd7-daca-4cf0-b56d-95e5126b5d1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87eda42-6609-400f-97c3-c466b2f5ba9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677c8ba-9d9c-4c06-83b6-c4cd0f12d5e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a0d19e-fb72-4529-8cd8-cc7f45bebea2"/>
</p:tagLst>
</file>

<file path=ppt/theme/theme1.xml><?xml version="1.0" encoding="utf-8"?>
<a:theme xmlns:a="http://schemas.openxmlformats.org/drawingml/2006/main" name="IPeG_Präsentation">
  <a:themeElements>
    <a:clrScheme name="Benutzerdefiniert 1">
      <a:dk1>
        <a:srgbClr val="000000"/>
      </a:dk1>
      <a:lt1>
        <a:srgbClr val="FFFFFF"/>
      </a:lt1>
      <a:dk2>
        <a:srgbClr val="B5D334"/>
      </a:dk2>
      <a:lt2>
        <a:srgbClr val="323476"/>
      </a:lt2>
      <a:accent1>
        <a:srgbClr val="323476"/>
      </a:accent1>
      <a:accent2>
        <a:srgbClr val="B5D334"/>
      </a:accent2>
      <a:accent3>
        <a:srgbClr val="CC6600"/>
      </a:accent3>
      <a:accent4>
        <a:srgbClr val="666699"/>
      </a:accent4>
      <a:accent5>
        <a:srgbClr val="CC0066"/>
      </a:accent5>
      <a:accent6>
        <a:srgbClr val="595959"/>
      </a:accent6>
      <a:hlink>
        <a:srgbClr val="004F93"/>
      </a:hlink>
      <a:folHlink>
        <a:srgbClr val="99CC00"/>
      </a:folHlink>
    </a:clrScheme>
    <a:fontScheme name="iPeG_Vorlage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sterfolie_05.2015_neu_3.pptx" id="{D001AC5A-5974-4D5E-9D06-39DB2AE96DCE}" vid="{F6975D32-5AA3-48B2-A8AB-51432DE029AC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91</TotalTime>
  <Words>368</Words>
  <Application>Microsoft Office PowerPoint</Application>
  <PresentationFormat>Widescreen</PresentationFormat>
  <Paragraphs>105</Paragraphs>
  <Slides>16</Slides>
  <Notes>0</Notes>
  <HiddenSlides>5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Arial Narrow</vt:lpstr>
      <vt:lpstr>Calibri</vt:lpstr>
      <vt:lpstr>Cambria Math</vt:lpstr>
      <vt:lpstr>Nunito Sans ExtraLight</vt:lpstr>
      <vt:lpstr>Rotis Sans Serif Std</vt:lpstr>
      <vt:lpstr>Segoe UI Light</vt:lpstr>
      <vt:lpstr>Wingdings</vt:lpstr>
      <vt:lpstr>IPeG_Präsentation</vt:lpstr>
      <vt:lpstr>PowerPoint Presentation</vt:lpstr>
      <vt:lpstr>Motivation</vt:lpstr>
      <vt:lpstr>State of the art</vt:lpstr>
      <vt:lpstr>Demonstration part for the algorithm development and testing</vt:lpstr>
      <vt:lpstr>Developed Algorithm</vt:lpstr>
      <vt:lpstr>Developed Algorithm</vt:lpstr>
      <vt:lpstr>Developed Algorithm</vt:lpstr>
      <vt:lpstr>Developed Algorithm</vt:lpstr>
      <vt:lpstr>Analysis of the algorithm's performance</vt:lpstr>
      <vt:lpstr>Conclusion and future work</vt:lpstr>
      <vt:lpstr>PowerPoint Presentation</vt:lpstr>
      <vt:lpstr>Other solvable shapes</vt:lpstr>
      <vt:lpstr>Motivation</vt:lpstr>
      <vt:lpstr>State of the art</vt:lpstr>
      <vt:lpstr>Developed Algorithm</vt:lpstr>
      <vt:lpstr>Analysis of the algorithm's performanc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ohanna Wurst</dc:creator>
  <cp:lastModifiedBy>Vaclav Kasal</cp:lastModifiedBy>
  <cp:revision>161</cp:revision>
  <dcterms:created xsi:type="dcterms:W3CDTF">2021-04-07T10:37:26Z</dcterms:created>
  <dcterms:modified xsi:type="dcterms:W3CDTF">2024-04-15T12:56:58Z</dcterms:modified>
</cp:coreProperties>
</file>